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58" r:id="rId2"/>
  </p:sldMasterIdLst>
  <p:notesMasterIdLst>
    <p:notesMasterId r:id="rId29"/>
  </p:notesMasterIdLst>
  <p:handoutMasterIdLst>
    <p:handoutMasterId r:id="rId30"/>
  </p:handoutMasterIdLst>
  <p:sldIdLst>
    <p:sldId id="736" r:id="rId3"/>
    <p:sldId id="763" r:id="rId4"/>
    <p:sldId id="764" r:id="rId5"/>
    <p:sldId id="776" r:id="rId6"/>
    <p:sldId id="765" r:id="rId7"/>
    <p:sldId id="766" r:id="rId8"/>
    <p:sldId id="767" r:id="rId9"/>
    <p:sldId id="777" r:id="rId10"/>
    <p:sldId id="778" r:id="rId11"/>
    <p:sldId id="779" r:id="rId12"/>
    <p:sldId id="782" r:id="rId13"/>
    <p:sldId id="783" r:id="rId14"/>
    <p:sldId id="784" r:id="rId15"/>
    <p:sldId id="768" r:id="rId16"/>
    <p:sldId id="769" r:id="rId17"/>
    <p:sldId id="737" r:id="rId18"/>
    <p:sldId id="738" r:id="rId19"/>
    <p:sldId id="770" r:id="rId20"/>
    <p:sldId id="771" r:id="rId21"/>
    <p:sldId id="749" r:id="rId22"/>
    <p:sldId id="773" r:id="rId23"/>
    <p:sldId id="774" r:id="rId24"/>
    <p:sldId id="775" r:id="rId25"/>
    <p:sldId id="762" r:id="rId26"/>
    <p:sldId id="748" r:id="rId27"/>
    <p:sldId id="761" r:id="rId28"/>
  </p:sldIdLst>
  <p:sldSz cx="9144000" cy="5143500" type="screen16x9"/>
  <p:notesSz cx="9939338" cy="6807200"/>
  <p:defaultTextStyle>
    <a:defPPr>
      <a:defRPr lang="ru-RU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8000"/>
    <a:srgbClr val="FFFF99"/>
    <a:srgbClr val="FFB7B7"/>
    <a:srgbClr val="FFCCCC"/>
    <a:srgbClr val="993300"/>
    <a:srgbClr val="7EB0DE"/>
    <a:srgbClr val="4E93D2"/>
    <a:srgbClr val="2B6EAB"/>
    <a:srgbClr val="EA6B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12" autoAdjust="0"/>
    <p:restoredTop sz="89100" autoAdjust="0"/>
  </p:normalViewPr>
  <p:slideViewPr>
    <p:cSldViewPr snapToGrid="0" showGuides="1">
      <p:cViewPr varScale="1">
        <p:scale>
          <a:sx n="148" d="100"/>
          <a:sy n="148" d="100"/>
        </p:scale>
        <p:origin x="870" y="108"/>
      </p:cViewPr>
      <p:guideLst>
        <p:guide orient="horz" pos="2160"/>
        <p:guide pos="3840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185057313502438"/>
          <c:y val="6.8799043808138019E-2"/>
          <c:w val="0.57236024961021814"/>
          <c:h val="0.90964396813052517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 w="635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rgbClr val="00B050"/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F8C-49AC-9DDD-627F0F77AE70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F8C-49AC-9DDD-627F0F77AE70}"/>
              </c:ext>
            </c:extLst>
          </c:dPt>
          <c:dPt>
            <c:idx val="2"/>
            <c:bubble3D val="0"/>
            <c:spPr>
              <a:solidFill>
                <a:srgbClr val="9966FF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F8C-49AC-9DDD-627F0F77AE70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F8C-49AC-9DDD-627F0F77AE70}"/>
              </c:ext>
            </c:extLst>
          </c:dPt>
          <c:dPt>
            <c:idx val="4"/>
            <c:bubble3D val="0"/>
            <c:spPr>
              <a:solidFill>
                <a:srgbClr val="948A54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F8C-49AC-9DDD-627F0F77AE70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F8C-49AC-9DDD-627F0F77AE70}"/>
              </c:ext>
            </c:extLst>
          </c:dPt>
          <c:dPt>
            <c:idx val="6"/>
            <c:bubble3D val="0"/>
            <c:spPr>
              <a:solidFill>
                <a:srgbClr val="B8B400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F8C-49AC-9DDD-627F0F77AE70}"/>
              </c:ext>
            </c:extLst>
          </c:dPt>
          <c:dLbls>
            <c:dLbl>
              <c:idx val="0"/>
              <c:layout>
                <c:manualLayout>
                  <c:x val="-0.1251893980557203"/>
                  <c:y val="0.17793562188183432"/>
                </c:manualLayout>
              </c:layout>
              <c:spPr/>
              <c:txPr>
                <a:bodyPr/>
                <a:lstStyle/>
                <a:p>
                  <a:pPr>
                    <a:defRPr sz="2400" b="1">
                      <a:solidFill>
                        <a:srgbClr val="FFFF00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" pitchFamily="34" charset="0"/>
                      <a:cs typeface="Arial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CF8C-49AC-9DDD-627F0F77AE70}"/>
                </c:ext>
              </c:extLst>
            </c:dLbl>
            <c:dLbl>
              <c:idx val="1"/>
              <c:layout>
                <c:manualLayout>
                  <c:x val="-0.14815391231180508"/>
                  <c:y val="3.687674962435622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CF8C-49AC-9DDD-627F0F77AE70}"/>
                </c:ext>
              </c:extLst>
            </c:dLbl>
            <c:dLbl>
              <c:idx val="2"/>
              <c:layout>
                <c:manualLayout>
                  <c:x val="-0.12096510340823353"/>
                  <c:y val="-0.1139942550810622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CF8C-49AC-9DDD-627F0F77AE70}"/>
                </c:ext>
              </c:extLst>
            </c:dLbl>
            <c:dLbl>
              <c:idx val="3"/>
              <c:layout>
                <c:manualLayout>
                  <c:x val="-4.3351390833755082E-2"/>
                  <c:y val="-0.1088029305855422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CF8C-49AC-9DDD-627F0F77AE70}"/>
                </c:ext>
              </c:extLst>
            </c:dLbl>
            <c:dLbl>
              <c:idx val="4"/>
              <c:layout>
                <c:manualLayout>
                  <c:x val="5.3088119774088484E-2"/>
                  <c:y val="-0.113067031396137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CF8C-49AC-9DDD-627F0F77AE70}"/>
                </c:ext>
              </c:extLst>
            </c:dLbl>
            <c:dLbl>
              <c:idx val="5"/>
              <c:layout>
                <c:manualLayout>
                  <c:x val="8.713028568057557E-2"/>
                  <c:y val="-0.1173781380424406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CF8C-49AC-9DDD-627F0F77AE70}"/>
                </c:ext>
              </c:extLst>
            </c:dLbl>
            <c:dLbl>
              <c:idx val="6"/>
              <c:layout>
                <c:manualLayout>
                  <c:x val="0.19282798464944284"/>
                  <c:y val="3.49653580421075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CF8C-49AC-9DDD-627F0F77AE70}"/>
                </c:ext>
              </c:extLst>
            </c:dLbl>
            <c:dLbl>
              <c:idx val="7"/>
              <c:layout>
                <c:manualLayout>
                  <c:x val="0.16506061619656831"/>
                  <c:y val="0.14218633809613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CF8C-49AC-9DDD-627F0F77AE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6"/>
                <c:pt idx="0">
                  <c:v>РТ</c:v>
                </c:pt>
                <c:pt idx="1">
                  <c:v>Башкирия</c:v>
                </c:pt>
                <c:pt idx="2">
                  <c:v>Саратов</c:v>
                </c:pt>
                <c:pt idx="3">
                  <c:v>Оренбург</c:v>
                </c:pt>
                <c:pt idx="4">
                  <c:v>Самара</c:v>
                </c:pt>
                <c:pt idx="5">
                  <c:v>Нижегородская</c:v>
                </c:pt>
              </c:strCache>
            </c:strRef>
          </c:cat>
          <c:val>
            <c:numRef>
              <c:f>Лист1!$B$2:$B$8</c:f>
              <c:numCache>
                <c:formatCode>0.0</c:formatCode>
                <c:ptCount val="7"/>
                <c:pt idx="0">
                  <c:v>19</c:v>
                </c:pt>
                <c:pt idx="1">
                  <c:v>12.6</c:v>
                </c:pt>
                <c:pt idx="2">
                  <c:v>10.6</c:v>
                </c:pt>
                <c:pt idx="3">
                  <c:v>8.4</c:v>
                </c:pt>
                <c:pt idx="4">
                  <c:v>7.9</c:v>
                </c:pt>
                <c:pt idx="5">
                  <c:v>5.9</c:v>
                </c:pt>
                <c:pt idx="6">
                  <c:v>3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CF8C-49AC-9DDD-627F0F77AE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spPr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noFill/>
        <a:ln w="6350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sx="102000" sy="102000" algn="tl" rotWithShape="0">
                <a:prstClr val="black">
                  <a:alpha val="58000"/>
                </a:prstClr>
              </a:outerShdw>
            </a:effectLst>
          </c:spPr>
          <c:invertIfNegative val="0"/>
          <c:dLbls>
            <c:dLbl>
              <c:idx val="1"/>
              <c:layout>
                <c:manualLayout>
                  <c:x val="2.798102577999863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3634-4E3C-83F1-265156AA0451}"/>
                </c:ext>
              </c:extLst>
            </c:dLbl>
            <c:dLbl>
              <c:idx val="2"/>
              <c:layout>
                <c:manualLayout>
                  <c:x val="1.4379816625257072E-2"/>
                  <c:y val="-9.971091685365734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634-4E3C-83F1-265156AA0451}"/>
                </c:ext>
              </c:extLst>
            </c:dLbl>
            <c:dLbl>
              <c:idx val="3"/>
              <c:layout>
                <c:manualLayout>
                  <c:x val="2.0779106325694734E-2"/>
                  <c:y val="-1.89715398554704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3634-4E3C-83F1-265156AA04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 Narrow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16г.</c:v>
                </c:pt>
                <c:pt idx="1">
                  <c:v>2017г.</c:v>
                </c:pt>
                <c:pt idx="2">
                  <c:v>2018г.</c:v>
                </c:pt>
                <c:pt idx="3">
                  <c:v>2019г.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94.6</c:v>
                </c:pt>
                <c:pt idx="1">
                  <c:v>82.6</c:v>
                </c:pt>
                <c:pt idx="2">
                  <c:v>110.1</c:v>
                </c:pt>
                <c:pt idx="3">
                  <c:v>10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6A-49CC-8A37-30C184C223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shape val="box"/>
        <c:axId val="42113664"/>
        <c:axId val="42123648"/>
        <c:axId val="0"/>
      </c:bar3DChart>
      <c:catAx>
        <c:axId val="4211366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42123648"/>
        <c:crosses val="autoZero"/>
        <c:auto val="1"/>
        <c:lblAlgn val="ctr"/>
        <c:lblOffset val="100"/>
        <c:noMultiLvlLbl val="0"/>
      </c:catAx>
      <c:valAx>
        <c:axId val="421236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21136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ощадь, га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858</c:v>
                </c:pt>
                <c:pt idx="1">
                  <c:v>3229</c:v>
                </c:pt>
                <c:pt idx="2">
                  <c:v>3127</c:v>
                </c:pt>
                <c:pt idx="3">
                  <c:v>2603</c:v>
                </c:pt>
                <c:pt idx="4">
                  <c:v>2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49-431F-893D-20C24A723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5"/>
        <c:axId val="84383616"/>
        <c:axId val="84385152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урожайность, ц/га</c:v>
                </c:pt>
              </c:strCache>
            </c:strRef>
          </c:tx>
          <c:spPr>
            <a:ln w="38100"/>
          </c:spPr>
          <c:marker>
            <c:symbol val="none"/>
          </c:marker>
          <c:dLbls>
            <c:dLbl>
              <c:idx val="0"/>
              <c:layout>
                <c:manualLayout>
                  <c:x val="-8.964426877470355E-2"/>
                  <c:y val="-8.29435553824459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82DC-4726-B7AA-03D65D8A7D16}"/>
                </c:ext>
              </c:extLst>
            </c:dLbl>
            <c:dLbl>
              <c:idx val="1"/>
              <c:layout>
                <c:manualLayout>
                  <c:x val="-8.1739130434782606E-2"/>
                  <c:y val="-5.43786650321756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82DC-4726-B7AA-03D65D8A7D16}"/>
                </c:ext>
              </c:extLst>
            </c:dLbl>
            <c:dLbl>
              <c:idx val="2"/>
              <c:layout>
                <c:manualLayout>
                  <c:x val="-7.6469038208168638E-2"/>
                  <c:y val="-0.1729598170378135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2DC-4726-B7AA-03D65D8A7D16}"/>
                </c:ext>
              </c:extLst>
            </c:dLbl>
            <c:dLbl>
              <c:idx val="3"/>
              <c:layout>
                <c:manualLayout>
                  <c:x val="-7.3833992094861661E-2"/>
                  <c:y val="-6.57976007814235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2DC-4726-B7AA-03D65D8A7D16}"/>
                </c:ext>
              </c:extLst>
            </c:dLbl>
            <c:dLbl>
              <c:idx val="4"/>
              <c:layout>
                <c:manualLayout>
                  <c:x val="-7.3833992094861564E-2"/>
                  <c:y val="-0.1300949305352575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82DC-4726-B7AA-03D65D8A7D16}"/>
                </c:ext>
              </c:extLst>
            </c:dLbl>
            <c:spPr>
              <a:noFill/>
            </c:spPr>
            <c:txPr>
              <a:bodyPr/>
              <a:lstStyle/>
              <a:p>
                <a:pPr>
                  <a:defRPr b="1" u="none">
                    <a:solidFill>
                      <a:schemeClr val="accent2">
                        <a:lumMod val="75000"/>
                      </a:schemeClr>
                    </a:solidFill>
                    <a:effectLst/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40.6</c:v>
                </c:pt>
                <c:pt idx="1">
                  <c:v>147.30000000000001</c:v>
                </c:pt>
                <c:pt idx="2">
                  <c:v>135.6</c:v>
                </c:pt>
                <c:pt idx="3" formatCode="0.0">
                  <c:v>141</c:v>
                </c:pt>
                <c:pt idx="4" formatCode="0.0">
                  <c:v>1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A49-431F-893D-20C24A723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413056"/>
        <c:axId val="84411520"/>
      </c:lineChart>
      <c:catAx>
        <c:axId val="84383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84385152"/>
        <c:crosses val="autoZero"/>
        <c:auto val="1"/>
        <c:lblAlgn val="ctr"/>
        <c:lblOffset val="100"/>
        <c:noMultiLvlLbl val="0"/>
      </c:catAx>
      <c:valAx>
        <c:axId val="8438515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84383616"/>
        <c:crosses val="autoZero"/>
        <c:crossBetween val="between"/>
      </c:valAx>
      <c:valAx>
        <c:axId val="8441152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84413056"/>
        <c:crosses val="max"/>
        <c:crossBetween val="between"/>
      </c:valAx>
      <c:catAx>
        <c:axId val="844130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4411520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  <c:txPr>
        <a:bodyPr/>
        <a:lstStyle/>
        <a:p>
          <a:pPr>
            <a:defRPr sz="1400" b="1" i="1">
              <a:latin typeface="Arial" pitchFamily="34" charset="0"/>
              <a:cs typeface="Arial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ощадь, га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3.4905145952981945E-3"/>
                  <c:y val="8.699654344555284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0B7F-40E1-8FC2-6F0AA0464092}"/>
                </c:ext>
              </c:extLst>
            </c:dLbl>
            <c:dLbl>
              <c:idx val="1"/>
              <c:layout>
                <c:manualLayout>
                  <c:x val="-1.0471543785894584E-2"/>
                  <c:y val="1.310445481403071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0B7F-40E1-8FC2-6F0AA0464092}"/>
                </c:ext>
              </c:extLst>
            </c:dLbl>
            <c:dLbl>
              <c:idx val="2"/>
              <c:layout>
                <c:manualLayout>
                  <c:x val="-3.4905145952981945E-3"/>
                  <c:y val="1.310445481403071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0B7F-40E1-8FC2-6F0AA0464092}"/>
                </c:ext>
              </c:extLst>
            </c:dLbl>
            <c:dLbl>
              <c:idx val="3"/>
              <c:layout>
                <c:manualLayout>
                  <c:x val="0"/>
                  <c:y val="1.750925528350613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0B7F-40E1-8FC2-6F0AA0464092}"/>
                </c:ext>
              </c:extLst>
            </c:dLbl>
            <c:dLbl>
              <c:idx val="4"/>
              <c:layout>
                <c:manualLayout>
                  <c:x val="0"/>
                  <c:y val="1.750925528350614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B7F-40E1-8FC2-6F0AA04640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06</c:v>
                </c:pt>
                <c:pt idx="1">
                  <c:v>392</c:v>
                </c:pt>
                <c:pt idx="2">
                  <c:v>468</c:v>
                </c:pt>
                <c:pt idx="3">
                  <c:v>475</c:v>
                </c:pt>
                <c:pt idx="4">
                  <c:v>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3E-4187-9400-7DF346F332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5"/>
        <c:axId val="84452480"/>
        <c:axId val="84454016"/>
      </c:barChart>
      <c:catAx>
        <c:axId val="84452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84454016"/>
        <c:crosses val="autoZero"/>
        <c:auto val="1"/>
        <c:lblAlgn val="ctr"/>
        <c:lblOffset val="100"/>
        <c:noMultiLvlLbl val="0"/>
      </c:catAx>
      <c:valAx>
        <c:axId val="844540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44524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8" y="8"/>
            <a:ext cx="4308054" cy="340250"/>
          </a:xfrm>
          <a:prstGeom prst="rect">
            <a:avLst/>
          </a:prstGeom>
        </p:spPr>
        <p:txBody>
          <a:bodyPr vert="horz" lIns="91357" tIns="45678" rIns="91357" bIns="4567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8981" y="8"/>
            <a:ext cx="4308052" cy="340250"/>
          </a:xfrm>
          <a:prstGeom prst="rect">
            <a:avLst/>
          </a:prstGeom>
        </p:spPr>
        <p:txBody>
          <a:bodyPr vert="horz" lIns="91357" tIns="45678" rIns="91357" bIns="45678" rtlCol="0"/>
          <a:lstStyle>
            <a:lvl1pPr algn="r">
              <a:defRPr sz="1200"/>
            </a:lvl1pPr>
          </a:lstStyle>
          <a:p>
            <a:fld id="{4C58D488-F5B3-405A-8E8E-120FA6DE6A52}" type="datetimeFigureOut">
              <a:rPr lang="ru-RU" smtClean="0"/>
              <a:pPr/>
              <a:t>27.0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8" y="6465871"/>
            <a:ext cx="4308054" cy="340250"/>
          </a:xfrm>
          <a:prstGeom prst="rect">
            <a:avLst/>
          </a:prstGeom>
        </p:spPr>
        <p:txBody>
          <a:bodyPr vert="horz" lIns="91357" tIns="45678" rIns="91357" bIns="4567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8981" y="6465871"/>
            <a:ext cx="4308052" cy="340250"/>
          </a:xfrm>
          <a:prstGeom prst="rect">
            <a:avLst/>
          </a:prstGeom>
        </p:spPr>
        <p:txBody>
          <a:bodyPr vert="horz" lIns="91357" tIns="45678" rIns="91357" bIns="45678" rtlCol="0" anchor="b"/>
          <a:lstStyle>
            <a:lvl1pPr algn="r">
              <a:defRPr sz="1200"/>
            </a:lvl1pPr>
          </a:lstStyle>
          <a:p>
            <a:fld id="{18D694FC-21DA-4FB5-8580-66EA71E99E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473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7" y="8"/>
            <a:ext cx="4308054" cy="340250"/>
          </a:xfrm>
          <a:prstGeom prst="rect">
            <a:avLst/>
          </a:prstGeom>
        </p:spPr>
        <p:txBody>
          <a:bodyPr vert="horz" lIns="91357" tIns="45678" rIns="91357" bIns="4567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8981" y="8"/>
            <a:ext cx="4308052" cy="340250"/>
          </a:xfrm>
          <a:prstGeom prst="rect">
            <a:avLst/>
          </a:prstGeom>
        </p:spPr>
        <p:txBody>
          <a:bodyPr vert="horz" lIns="91357" tIns="45678" rIns="91357" bIns="45678" rtlCol="0"/>
          <a:lstStyle>
            <a:lvl1pPr algn="r">
              <a:defRPr sz="1200"/>
            </a:lvl1pPr>
          </a:lstStyle>
          <a:p>
            <a:fld id="{BBFA6C56-2A64-4089-BAE3-4EA59C255D26}" type="datetimeFigureOut">
              <a:rPr lang="ru-RU" smtClean="0"/>
              <a:pPr/>
              <a:t>27.0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698750" y="511175"/>
            <a:ext cx="4541838" cy="25542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57" tIns="45678" rIns="91357" bIns="4567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4182" y="3232935"/>
            <a:ext cx="7951003" cy="3063350"/>
          </a:xfrm>
          <a:prstGeom prst="rect">
            <a:avLst/>
          </a:prstGeom>
        </p:spPr>
        <p:txBody>
          <a:bodyPr vert="horz" lIns="91357" tIns="45678" rIns="91357" bIns="4567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7" y="6465871"/>
            <a:ext cx="4308054" cy="340250"/>
          </a:xfrm>
          <a:prstGeom prst="rect">
            <a:avLst/>
          </a:prstGeom>
        </p:spPr>
        <p:txBody>
          <a:bodyPr vert="horz" lIns="91357" tIns="45678" rIns="91357" bIns="4567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8981" y="6465871"/>
            <a:ext cx="4308052" cy="340250"/>
          </a:xfrm>
          <a:prstGeom prst="rect">
            <a:avLst/>
          </a:prstGeom>
        </p:spPr>
        <p:txBody>
          <a:bodyPr vert="horz" lIns="91357" tIns="45678" rIns="91357" bIns="45678" rtlCol="0" anchor="b"/>
          <a:lstStyle>
            <a:lvl1pPr algn="r">
              <a:defRPr sz="1200"/>
            </a:lvl1pPr>
          </a:lstStyle>
          <a:p>
            <a:fld id="{692472F7-48B4-41CE-AC68-1E02AFB2335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009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2472F7-48B4-41CE-AC68-1E02AFB2335D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76932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gi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3AF8D-3FDE-46A5-852E-6C0661EAA1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7517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FEFCE-E81F-4034-A5DF-C960AA9C54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10762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3843"/>
            <a:ext cx="1971675" cy="435887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3843"/>
            <a:ext cx="5800725" cy="435887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E59AB-4512-4C8A-9F99-54DA07A262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98113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55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2" y="2046952"/>
            <a:ext cx="5036084" cy="361830"/>
          </a:xfrm>
          <a:prstGeom prst="rect">
            <a:avLst/>
          </a:prstGeom>
        </p:spPr>
        <p:txBody>
          <a:bodyPr lIns="68555" tIns="34279" rIns="68555" bIns="34279" anchor="t"/>
          <a:lstStyle>
            <a:lvl1pPr>
              <a:defRPr sz="2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91" y="3917900"/>
            <a:ext cx="1788304" cy="338554"/>
          </a:xfrm>
        </p:spPr>
        <p:txBody>
          <a:bodyPr>
            <a:spAutoFit/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55" tIns="34279" rIns="68555" bIns="34279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623" y="3305636"/>
            <a:ext cx="7771995" cy="449546"/>
          </a:xfrm>
          <a:prstGeom prst="rect">
            <a:avLst/>
          </a:prstGeom>
        </p:spPr>
        <p:txBody>
          <a:bodyPr lIns="68555" tIns="34279" rIns="68555" bIns="34279" anchor="t"/>
          <a:lstStyle>
            <a:lvl1pPr algn="l">
              <a:defRPr sz="3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623" y="2180582"/>
            <a:ext cx="7771995" cy="1124913"/>
          </a:xfrm>
        </p:spPr>
        <p:txBody>
          <a:bodyPr anchor="b"/>
          <a:lstStyle>
            <a:lvl1pPr marL="0" indent="0">
              <a:buNone/>
              <a:defRPr sz="1500"/>
            </a:lvl1pPr>
            <a:lvl2pPr marL="344111" indent="0">
              <a:buNone/>
              <a:defRPr sz="1400"/>
            </a:lvl2pPr>
            <a:lvl3pPr marL="688282" indent="0">
              <a:buNone/>
              <a:defRPr sz="1200"/>
            </a:lvl3pPr>
            <a:lvl4pPr marL="1032433" indent="0">
              <a:buNone/>
              <a:defRPr sz="1100"/>
            </a:lvl4pPr>
            <a:lvl5pPr marL="1376578" indent="0">
              <a:buNone/>
              <a:defRPr sz="1100"/>
            </a:lvl5pPr>
            <a:lvl6pPr marL="1720724" indent="0">
              <a:buNone/>
              <a:defRPr sz="1100"/>
            </a:lvl6pPr>
            <a:lvl7pPr marL="2064869" indent="0">
              <a:buNone/>
              <a:defRPr sz="1100"/>
            </a:lvl7pPr>
            <a:lvl8pPr marL="2409014" indent="0">
              <a:buNone/>
              <a:defRPr sz="1100"/>
            </a:lvl8pPr>
            <a:lvl9pPr marL="2753159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55" tIns="34279" rIns="68555" bIns="34279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2197" y="1493000"/>
            <a:ext cx="2117131" cy="935403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754806" y="1493000"/>
            <a:ext cx="2117132" cy="935403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850402"/>
            <a:ext cx="8230410" cy="212558"/>
          </a:xfrm>
          <a:prstGeom prst="rect">
            <a:avLst/>
          </a:prstGeom>
        </p:spPr>
        <p:txBody>
          <a:bodyPr lIns="68555" tIns="34279" rIns="68555" bIns="34279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8" y="1151656"/>
            <a:ext cx="4039882" cy="47985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4111" indent="0">
              <a:buNone/>
              <a:defRPr sz="1500" b="1"/>
            </a:lvl2pPr>
            <a:lvl3pPr marL="688282" indent="0">
              <a:buNone/>
              <a:defRPr sz="1400" b="1"/>
            </a:lvl3pPr>
            <a:lvl4pPr marL="1032433" indent="0">
              <a:buNone/>
              <a:defRPr sz="1200" b="1"/>
            </a:lvl4pPr>
            <a:lvl5pPr marL="1376578" indent="0">
              <a:buNone/>
              <a:defRPr sz="1200" b="1"/>
            </a:lvl5pPr>
            <a:lvl6pPr marL="1720724" indent="0">
              <a:buNone/>
              <a:defRPr sz="1200" b="1"/>
            </a:lvl6pPr>
            <a:lvl7pPr marL="2064869" indent="0">
              <a:buNone/>
              <a:defRPr sz="1200" b="1"/>
            </a:lvl7pPr>
            <a:lvl8pPr marL="2409014" indent="0">
              <a:buNone/>
              <a:defRPr sz="1200" b="1"/>
            </a:lvl8pPr>
            <a:lvl9pPr marL="2753159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818" y="1631489"/>
            <a:ext cx="4039882" cy="296291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4" y="1151656"/>
            <a:ext cx="4041502" cy="47985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4111" indent="0">
              <a:buNone/>
              <a:defRPr sz="1500" b="1"/>
            </a:lvl2pPr>
            <a:lvl3pPr marL="688282" indent="0">
              <a:buNone/>
              <a:defRPr sz="1400" b="1"/>
            </a:lvl3pPr>
            <a:lvl4pPr marL="1032433" indent="0">
              <a:buNone/>
              <a:defRPr sz="1200" b="1"/>
            </a:lvl4pPr>
            <a:lvl5pPr marL="1376578" indent="0">
              <a:buNone/>
              <a:defRPr sz="1200" b="1"/>
            </a:lvl5pPr>
            <a:lvl6pPr marL="1720724" indent="0">
              <a:buNone/>
              <a:defRPr sz="1200" b="1"/>
            </a:lvl6pPr>
            <a:lvl7pPr marL="2064869" indent="0">
              <a:buNone/>
              <a:defRPr sz="1200" b="1"/>
            </a:lvl7pPr>
            <a:lvl8pPr marL="2409014" indent="0">
              <a:buNone/>
              <a:defRPr sz="1200" b="1"/>
            </a:lvl8pPr>
            <a:lvl9pPr marL="2753159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4" y="1631489"/>
            <a:ext cx="4041502" cy="296291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55" tIns="34279" rIns="68555" bIns="34279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852600"/>
            <a:ext cx="3008044" cy="223745"/>
          </a:xfrm>
          <a:prstGeom prst="rect">
            <a:avLst/>
          </a:prstGeom>
        </p:spPr>
        <p:txBody>
          <a:bodyPr lIns="68555" tIns="34279" rIns="68555" bIns="34279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05" y="205310"/>
            <a:ext cx="5112217" cy="4389104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076325"/>
            <a:ext cx="3008044" cy="3518086"/>
          </a:xfrm>
        </p:spPr>
        <p:txBody>
          <a:bodyPr/>
          <a:lstStyle>
            <a:lvl1pPr marL="0" indent="0">
              <a:buNone/>
              <a:defRPr sz="1100"/>
            </a:lvl1pPr>
            <a:lvl2pPr marL="344111" indent="0">
              <a:buNone/>
              <a:defRPr sz="900"/>
            </a:lvl2pPr>
            <a:lvl3pPr marL="688282" indent="0">
              <a:buNone/>
              <a:defRPr sz="800"/>
            </a:lvl3pPr>
            <a:lvl4pPr marL="1032433" indent="0">
              <a:buNone/>
              <a:defRPr sz="700"/>
            </a:lvl4pPr>
            <a:lvl5pPr marL="1376578" indent="0">
              <a:buNone/>
              <a:defRPr sz="700"/>
            </a:lvl5pPr>
            <a:lvl6pPr marL="1720724" indent="0">
              <a:buNone/>
              <a:defRPr sz="700"/>
            </a:lvl6pPr>
            <a:lvl7pPr marL="2064869" indent="0">
              <a:buNone/>
              <a:defRPr sz="700"/>
            </a:lvl7pPr>
            <a:lvl8pPr marL="2409014" indent="0">
              <a:buNone/>
              <a:defRPr sz="700"/>
            </a:lvl8pPr>
            <a:lvl9pPr marL="2753159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C686A-82AE-4D37-A73D-BD8606A403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60515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3802167"/>
            <a:ext cx="5486400" cy="223745"/>
          </a:xfrm>
          <a:prstGeom prst="rect">
            <a:avLst/>
          </a:prstGeom>
        </p:spPr>
        <p:txBody>
          <a:bodyPr lIns="68555" tIns="34279" rIns="68555" bIns="34279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459199"/>
            <a:ext cx="5486400" cy="3086829"/>
          </a:xfrm>
        </p:spPr>
        <p:txBody>
          <a:bodyPr/>
          <a:lstStyle>
            <a:lvl1pPr marL="0" indent="0">
              <a:buNone/>
              <a:defRPr sz="2500"/>
            </a:lvl1pPr>
            <a:lvl2pPr marL="344111" indent="0">
              <a:buNone/>
              <a:defRPr sz="2200"/>
            </a:lvl2pPr>
            <a:lvl3pPr marL="688282" indent="0">
              <a:buNone/>
              <a:defRPr sz="1800"/>
            </a:lvl3pPr>
            <a:lvl4pPr marL="1032433" indent="0">
              <a:buNone/>
              <a:defRPr sz="1500"/>
            </a:lvl4pPr>
            <a:lvl5pPr marL="1376578" indent="0">
              <a:buNone/>
              <a:defRPr sz="1500"/>
            </a:lvl5pPr>
            <a:lvl6pPr marL="1720724" indent="0">
              <a:buNone/>
              <a:defRPr sz="1500"/>
            </a:lvl6pPr>
            <a:lvl7pPr marL="2064869" indent="0">
              <a:buNone/>
              <a:defRPr sz="1500"/>
            </a:lvl7pPr>
            <a:lvl8pPr marL="2409014" indent="0">
              <a:buNone/>
              <a:defRPr sz="1500"/>
            </a:lvl8pPr>
            <a:lvl9pPr marL="2753159" indent="0">
              <a:buNone/>
              <a:defRPr sz="15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4025878"/>
            <a:ext cx="5486400" cy="603761"/>
          </a:xfrm>
        </p:spPr>
        <p:txBody>
          <a:bodyPr/>
          <a:lstStyle>
            <a:lvl1pPr marL="0" indent="0">
              <a:buNone/>
              <a:defRPr sz="1100"/>
            </a:lvl1pPr>
            <a:lvl2pPr marL="344111" indent="0">
              <a:buNone/>
              <a:defRPr sz="900"/>
            </a:lvl2pPr>
            <a:lvl3pPr marL="688282" indent="0">
              <a:buNone/>
              <a:defRPr sz="800"/>
            </a:lvl3pPr>
            <a:lvl4pPr marL="1032433" indent="0">
              <a:buNone/>
              <a:defRPr sz="700"/>
            </a:lvl4pPr>
            <a:lvl5pPr marL="1376578" indent="0">
              <a:buNone/>
              <a:defRPr sz="700"/>
            </a:lvl5pPr>
            <a:lvl6pPr marL="1720724" indent="0">
              <a:buNone/>
              <a:defRPr sz="700"/>
            </a:lvl6pPr>
            <a:lvl7pPr marL="2064869" indent="0">
              <a:buNone/>
              <a:defRPr sz="700"/>
            </a:lvl7pPr>
            <a:lvl8pPr marL="2409014" indent="0">
              <a:buNone/>
              <a:defRPr sz="700"/>
            </a:lvl8pPr>
            <a:lvl9pPr marL="2753159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55" tIns="34279" rIns="68555" bIns="34279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5266104" y="284266"/>
            <a:ext cx="277768" cy="2144138"/>
          </a:xfrm>
          <a:prstGeom prst="rect">
            <a:avLst/>
          </a:prstGeom>
        </p:spPr>
        <p:txBody>
          <a:bodyPr vert="eaVert" lIns="68555" tIns="34279" rIns="68555" bIns="34279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496" y="284266"/>
            <a:ext cx="4989109" cy="21441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0" y="1288913"/>
            <a:ext cx="6331957" cy="942084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4960927"/>
            <a:ext cx="8445848" cy="117761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4782111"/>
            <a:ext cx="8445848" cy="117761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383794"/>
            <a:ext cx="6916719" cy="208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879BE-5C38-4839-A9AE-DFFA73C9C2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071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A659BC-D9C3-49C5-9748-8AFA72425F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6083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6FEA2-06CB-4154-A894-1EC772999C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4618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DE324-4868-4088-A638-A4E23080D2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59251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5CEAF-D863-43C6-91E2-CEF9EE3785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C:\Users\user\Desktop\Презентация Э.А. Зарипова\Слайд1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20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962" r="93651" b="803"/>
          <a:stretch/>
        </p:blipFill>
        <p:spPr bwMode="auto">
          <a:xfrm>
            <a:off x="265468" y="1"/>
            <a:ext cx="374336" cy="51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5"/>
          <p:cNvGrpSpPr/>
          <p:nvPr userDrawn="1"/>
        </p:nvGrpSpPr>
        <p:grpSpPr>
          <a:xfrm>
            <a:off x="504944" y="80524"/>
            <a:ext cx="4822733" cy="848303"/>
            <a:chOff x="-142531" y="43960"/>
            <a:chExt cx="6430311" cy="1131071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-142531" y="43960"/>
              <a:ext cx="1508094" cy="1131071"/>
              <a:chOff x="-142531" y="43960"/>
              <a:chExt cx="1531129" cy="1148347"/>
            </a:xfrm>
          </p:grpSpPr>
          <p:sp>
            <p:nvSpPr>
              <p:cNvPr id="9" name="Овал 8"/>
              <p:cNvSpPr/>
              <p:nvPr/>
            </p:nvSpPr>
            <p:spPr>
              <a:xfrm>
                <a:off x="158261" y="158877"/>
                <a:ext cx="914399" cy="914399"/>
              </a:xfrm>
              <a:prstGeom prst="ellipse">
                <a:avLst/>
              </a:prstGeom>
              <a:solidFill>
                <a:srgbClr val="FFF8E5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black"/>
                  </a:solidFill>
                </a:endParaRPr>
              </a:p>
            </p:txBody>
          </p:sp>
          <p:pic>
            <p:nvPicPr>
              <p:cNvPr id="10" name="Рисунок 9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42531" y="43960"/>
                <a:ext cx="1531129" cy="1148347"/>
              </a:xfrm>
              <a:prstGeom prst="rect">
                <a:avLst/>
              </a:prstGeom>
            </p:spPr>
          </p:pic>
        </p:grpSp>
        <p:sp>
          <p:nvSpPr>
            <p:cNvPr id="8" name="TextBox 7"/>
            <p:cNvSpPr txBox="1"/>
            <p:nvPr/>
          </p:nvSpPr>
          <p:spPr>
            <a:xfrm>
              <a:off x="1101402" y="182920"/>
              <a:ext cx="5186378" cy="7044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650"/>
                </a:lnSpc>
              </a:pPr>
              <a:r>
                <a:rPr lang="ru-RU" sz="1400" b="1" dirty="0" smtClean="0">
                  <a:solidFill>
                    <a:srgbClr val="68AC04"/>
                  </a:solidFill>
                  <a:latin typeface="Arial" pitchFamily="34" charset="0"/>
                  <a:cs typeface="Arial" pitchFamily="34" charset="0"/>
                </a:rPr>
                <a:t>Министерство сельского хозяйства</a:t>
              </a:r>
            </a:p>
            <a:p>
              <a:pPr>
                <a:lnSpc>
                  <a:spcPts val="1650"/>
                </a:lnSpc>
              </a:pPr>
              <a:r>
                <a:rPr lang="ru-RU" sz="1400" b="1" dirty="0" smtClean="0">
                  <a:solidFill>
                    <a:srgbClr val="68AC04"/>
                  </a:solidFill>
                  <a:latin typeface="Arial" pitchFamily="34" charset="0"/>
                  <a:cs typeface="Arial" pitchFamily="34" charset="0"/>
                </a:rPr>
                <a:t>и продовольствия Республики Татарстан</a:t>
              </a:r>
              <a:endParaRPr lang="ru-RU" sz="1400" b="1" dirty="0">
                <a:solidFill>
                  <a:srgbClr val="68AC0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1" name="Picture 2" descr="C:\Users\user\Desktop\1.jpg"/>
          <p:cNvPicPr>
            <a:picLocks noChangeAspect="1"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10499" y="99060"/>
            <a:ext cx="1174040" cy="411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918569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AB486-5958-4AFE-8E5C-4530DEC822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41553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55FAA-BBF2-4E5C-92FC-B5D667F1E72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05328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FEB23-167B-43AF-A99E-02F0E16300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181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>
    <p:fade/>
  </p:transition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1665" y="2430"/>
            <a:ext cx="490519" cy="1231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68555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94042"/>
            <a:ext cx="3730492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21489" y="4691586"/>
            <a:ext cx="8722840" cy="335287"/>
            <a:chOff x="75" y="3862"/>
            <a:chExt cx="5385" cy="276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2"/>
              <a:ext cx="5385" cy="10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7"/>
              <a:ext cx="4323" cy="10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587921" indent="-587921" defTabSz="673948" fontAlgn="base">
                <a:spcBef>
                  <a:spcPct val="0"/>
                </a:spcBef>
                <a:spcAft>
                  <a:spcPct val="0"/>
                </a:spcAft>
                <a:tabLst>
                  <a:tab pos="586722" algn="l"/>
                </a:tabLst>
                <a:defRPr/>
              </a:pPr>
              <a:r>
                <a:rPr lang="ru-RU" sz="8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482165" y="863744"/>
            <a:ext cx="4350892" cy="387523"/>
            <a:chOff x="915" y="711"/>
            <a:chExt cx="2686" cy="319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68555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68555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08861" y="4949131"/>
            <a:ext cx="199241" cy="11662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685553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68555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68555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935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8246619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673948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909" y="70459"/>
            <a:ext cx="2070156" cy="385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21490" y="526041"/>
            <a:ext cx="8973916" cy="32800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553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21490" y="5048747"/>
            <a:ext cx="8973916" cy="32801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553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73948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673948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2pPr>
      <a:lvl3pPr algn="l" defTabSz="673948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3pPr>
      <a:lvl4pPr algn="l" defTabSz="673948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4pPr>
      <a:lvl5pPr algn="l" defTabSz="673948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5pPr>
      <a:lvl6pPr marL="344111" algn="l" defTabSz="673948" rtl="0" fontAlgn="base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6pPr>
      <a:lvl7pPr marL="688282" algn="l" defTabSz="673948" rtl="0" fontAlgn="base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7pPr>
      <a:lvl8pPr marL="1032433" algn="l" defTabSz="673948" rtl="0" fontAlgn="base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8pPr>
      <a:lvl9pPr marL="1376578" algn="l" defTabSz="673948" rtl="0" fontAlgn="base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9pPr>
    </p:titleStyle>
    <p:bodyStyle>
      <a:lvl1pPr algn="l" defTabSz="673948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45786" indent="-144593" algn="l" defTabSz="67394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44111" indent="-197170" algn="l" defTabSz="67394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62446" indent="-117107" algn="l" defTabSz="67394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61625" indent="-97987" algn="l" defTabSz="67394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905774" indent="-97987" algn="l" defTabSz="67394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6pPr>
      <a:lvl7pPr marL="1249916" indent="-97987" algn="l" defTabSz="67394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7pPr>
      <a:lvl8pPr marL="1594069" indent="-97987" algn="l" defTabSz="67394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8pPr>
      <a:lvl9pPr marL="1938210" indent="-97987" algn="l" defTabSz="67394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8828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4111" algn="l" defTabSz="68828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8282" algn="l" defTabSz="68828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433" algn="l" defTabSz="68828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6578" algn="l" defTabSz="68828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20724" algn="l" defTabSz="68828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4869" algn="l" defTabSz="68828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9014" algn="l" defTabSz="68828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53159" algn="l" defTabSz="68828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2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66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chart" Target="../charts/chart2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jp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jpe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11" Type="http://schemas.openxmlformats.org/officeDocument/2006/relationships/image" Target="../media/image32.jpe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05119" y="1698738"/>
            <a:ext cx="8538882" cy="159274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33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«Развитие и поддержка </a:t>
            </a:r>
            <a:br>
              <a:rPr lang="ru-RU" sz="33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</a:br>
            <a:r>
              <a:rPr lang="ru-RU" sz="33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отрасли </a:t>
            </a:r>
            <a:r>
              <a:rPr lang="ru-RU" sz="33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ягодоводства</a:t>
            </a:r>
            <a:r>
              <a:rPr lang="ru-RU" sz="33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ru-RU" sz="33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 Республике Татарстан»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81854" y="4104661"/>
            <a:ext cx="8217588" cy="888702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r"/>
            <a:r>
              <a:rPr lang="ru-RU" sz="1700" b="1" dirty="0">
                <a:latin typeface="Arial" panose="020B0604020202020204" pitchFamily="34" charset="0"/>
                <a:cs typeface="Arial" panose="020B0604020202020204" pitchFamily="34" charset="0"/>
              </a:rPr>
              <a:t>Заместитель министра сельского хозяйства </a:t>
            </a:r>
            <a:br>
              <a:rPr lang="ru-RU" sz="17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700" b="1" dirty="0">
                <a:latin typeface="Arial" panose="020B0604020202020204" pitchFamily="34" charset="0"/>
                <a:cs typeface="Arial" panose="020B0604020202020204" pitchFamily="34" charset="0"/>
              </a:rPr>
              <a:t>и продовольствия Республики Татарстан</a:t>
            </a:r>
          </a:p>
          <a:p>
            <a:pPr algn="r"/>
            <a:r>
              <a:rPr lang="ru-RU" sz="17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Габдрахманов</a:t>
            </a:r>
            <a:r>
              <a:rPr lang="ru-RU" sz="1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Ильдус Харисович</a:t>
            </a:r>
          </a:p>
        </p:txBody>
      </p:sp>
    </p:spTree>
    <p:extLst>
      <p:ext uri="{BB962C8B-B14F-4D97-AF65-F5344CB8AC3E}">
        <p14:creationId xmlns:p14="http://schemas.microsoft.com/office/powerpoint/2010/main" val="29073082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1445288" y="586644"/>
            <a:ext cx="7698712" cy="467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витие сети первичной медико-санитарной помощи </a:t>
            </a:r>
          </a:p>
        </p:txBody>
      </p:sp>
      <p:sp>
        <p:nvSpPr>
          <p:cNvPr id="18" name="TextBox 15"/>
          <p:cNvSpPr txBox="1">
            <a:spLocks noChangeArrowheads="1"/>
          </p:cNvSpPr>
          <p:nvPr/>
        </p:nvSpPr>
        <p:spPr bwMode="auto">
          <a:xfrm>
            <a:off x="1831087" y="977653"/>
            <a:ext cx="617535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6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1400" dirty="0"/>
              <a:t>В рамках ФЦП открыто </a:t>
            </a:r>
            <a:r>
              <a:rPr lang="ru-RU" sz="1400" dirty="0">
                <a:solidFill>
                  <a:srgbClr val="0070C0"/>
                </a:solidFill>
              </a:rPr>
              <a:t>110</a:t>
            </a:r>
            <a:r>
              <a:rPr lang="ru-RU" sz="1400" dirty="0"/>
              <a:t> фельдшерско-акушерских пунктов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100284" y="3038396"/>
            <a:ext cx="237626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ru-RU" sz="1200" b="1" i="1" dirty="0" err="1">
                <a:latin typeface="Arial" pitchFamily="34" charset="0"/>
                <a:cs typeface="Arial" pitchFamily="34" charset="0"/>
              </a:rPr>
              <a:t>ФАПы</a:t>
            </a:r>
            <a:r>
              <a:rPr lang="ru-RU" sz="1200" b="1" i="1" dirty="0">
                <a:latin typeface="Arial" pitchFamily="34" charset="0"/>
                <a:cs typeface="Arial" pitchFamily="34" charset="0"/>
              </a:rPr>
              <a:t> модульного типа 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455704" y="3038396"/>
            <a:ext cx="32551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1200" b="1" i="1" dirty="0">
                <a:latin typeface="Arial" pitchFamily="34" charset="0"/>
                <a:cs typeface="Arial" pitchFamily="34" charset="0"/>
              </a:rPr>
              <a:t>ФАП в </a:t>
            </a:r>
            <a:r>
              <a:rPr lang="ru-RU" sz="1200" b="1" i="1" dirty="0" err="1">
                <a:latin typeface="Arial" pitchFamily="34" charset="0"/>
                <a:cs typeface="Arial" pitchFamily="34" charset="0"/>
              </a:rPr>
              <a:t>н.п.Бикмуразово</a:t>
            </a:r>
            <a:r>
              <a:rPr lang="ru-RU" sz="1200" b="1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i="1" dirty="0" err="1">
                <a:latin typeface="Arial" pitchFamily="34" charset="0"/>
                <a:cs typeface="Arial" pitchFamily="34" charset="0"/>
              </a:rPr>
              <a:t>Буинского</a:t>
            </a:r>
            <a:r>
              <a:rPr lang="ru-RU" sz="1200" b="1" i="1" dirty="0">
                <a:latin typeface="Arial" pitchFamily="34" charset="0"/>
                <a:cs typeface="Arial" pitchFamily="34" charset="0"/>
              </a:rPr>
              <a:t> р-на</a:t>
            </a:r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01" t="11623" b="8487"/>
          <a:stretch/>
        </p:blipFill>
        <p:spPr bwMode="auto">
          <a:xfrm>
            <a:off x="1542467" y="1788752"/>
            <a:ext cx="3168430" cy="1261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Прямоугольник 24"/>
          <p:cNvSpPr/>
          <p:nvPr/>
        </p:nvSpPr>
        <p:spPr>
          <a:xfrm>
            <a:off x="1816101" y="1227661"/>
            <a:ext cx="61848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Arial" pitchFamily="34" charset="0"/>
                <a:cs typeface="Arial" pitchFamily="34" charset="0"/>
              </a:rPr>
              <a:t>За 2003-2019 годы выделено </a:t>
            </a:r>
            <a:r>
              <a:rPr lang="ru-RU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266,4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млн </a:t>
            </a:r>
            <a:r>
              <a:rPr lang="ru-RU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,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b="1" dirty="0" smtClean="0">
                <a:latin typeface="Arial" pitchFamily="34" charset="0"/>
                <a:cs typeface="Arial" pitchFamily="34" charset="0"/>
              </a:rPr>
            </a:br>
            <a:r>
              <a:rPr lang="ru-RU" b="1" dirty="0" smtClean="0">
                <a:latin typeface="Arial" pitchFamily="34" charset="0"/>
                <a:cs typeface="Arial" pitchFamily="34" charset="0"/>
              </a:rPr>
              <a:t>в 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т.ч.: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бюджет 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РФ - </a:t>
            </a:r>
            <a:r>
              <a:rPr lang="ru-RU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76,7</a:t>
            </a:r>
            <a:r>
              <a:rPr lang="ru-RU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млн </a:t>
            </a:r>
            <a:r>
              <a:rPr lang="ru-RU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,  бюджет РТ - </a:t>
            </a:r>
            <a:r>
              <a:rPr lang="ru-RU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189,7</a:t>
            </a:r>
            <a:r>
              <a:rPr lang="ru-RU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млн </a:t>
            </a:r>
            <a:r>
              <a:rPr lang="ru-RU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  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Picture 2" descr="C:\Users\рустам хисамиев\Desktop\ФАП\Фотки ФАП\мамадыш пос.Ферма№2.jpg"/>
          <p:cNvPicPr>
            <a:picLocks noChangeAspect="1" noChangeArrowheads="1"/>
          </p:cNvPicPr>
          <p:nvPr/>
        </p:nvPicPr>
        <p:blipFill rotWithShape="1">
          <a:blip r:embed="rId3" cstate="print"/>
          <a:srcRect b="9602"/>
          <a:stretch/>
        </p:blipFill>
        <p:spPr bwMode="auto">
          <a:xfrm>
            <a:off x="5156323" y="1788753"/>
            <a:ext cx="3240137" cy="1261472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Прямоугольник 26"/>
          <p:cNvSpPr/>
          <p:nvPr/>
        </p:nvSpPr>
        <p:spPr>
          <a:xfrm>
            <a:off x="1542467" y="3307584"/>
            <a:ext cx="67004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Кроме ФЦП действует республиканская программа модернизации первичной медико-санитарной помощи: </a:t>
            </a:r>
          </a:p>
        </p:txBody>
      </p:sp>
      <p:graphicFrame>
        <p:nvGraphicFramePr>
          <p:cNvPr id="28" name="Таблица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6733990"/>
              </p:ext>
            </p:extLst>
          </p:nvPr>
        </p:nvGraphicFramePr>
        <p:xfrm>
          <a:off x="1489655" y="3815965"/>
          <a:ext cx="6731587" cy="11564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95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358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1299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Годы реализации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12-2019 гг.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299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Финансирование, млрд </a:t>
                      </a:r>
                      <a:r>
                        <a:rPr lang="ru-RU" sz="1400" b="1" strike="sng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,7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299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Построено объектов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5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1299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Ремонт объектов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53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1299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Оснащены медицинским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оборудованием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5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9" name="Скругленный прямоугольник 28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5122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1461714" y="629053"/>
            <a:ext cx="7682286" cy="9661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pPr>
              <a:lnSpc>
                <a:spcPts val="2200"/>
              </a:lnSpc>
            </a:pP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оительство и реконструкция автомобильных дорог </a:t>
            </a:r>
            <a:r>
              <a:rPr lang="ru-RU" sz="21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вязывающие сельские </a:t>
            </a: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селенные пункты </a:t>
            </a:r>
            <a:endParaRPr lang="ru-RU" sz="2100" b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2200"/>
              </a:lnSpc>
            </a:pPr>
            <a:r>
              <a:rPr lang="ru-RU" sz="21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 </a:t>
            </a: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втомобильными дорогами общего пользования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184" y="95702"/>
            <a:ext cx="464967" cy="464967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714166" y="1555824"/>
            <a:ext cx="824946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00"/>
              </a:lnSpc>
            </a:pPr>
            <a:r>
              <a:rPr lang="ru-RU" sz="1600" b="1" dirty="0">
                <a:latin typeface="Arial" pitchFamily="34" charset="0"/>
                <a:cs typeface="Arial" pitchFamily="34" charset="0"/>
              </a:rPr>
              <a:t>За 2011-2019 годы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профинансировано - </a:t>
            </a:r>
            <a:r>
              <a:rPr lang="ru-RU" sz="20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10,2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млрд </a:t>
            </a:r>
            <a:r>
              <a:rPr lang="ru-RU" sz="1600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, 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600" b="1" dirty="0" smtClean="0">
                <a:latin typeface="Arial" pitchFamily="34" charset="0"/>
                <a:cs typeface="Arial" pitchFamily="34" charset="0"/>
              </a:rPr>
            </a:b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в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т.ч. бюджет РФ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- </a:t>
            </a:r>
            <a:r>
              <a:rPr lang="ru-RU" sz="20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4,7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млрд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, бюджет РТ -  </a:t>
            </a:r>
            <a:r>
              <a:rPr lang="ru-RU" sz="20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5,5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млрд.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, </a:t>
            </a:r>
          </a:p>
          <a:p>
            <a:pPr algn="ctr">
              <a:lnSpc>
                <a:spcPts val="2000"/>
              </a:lnSpc>
            </a:pPr>
            <a:r>
              <a:rPr lang="ru-RU" sz="1600" b="1" dirty="0">
                <a:latin typeface="Arial" pitchFamily="34" charset="0"/>
                <a:cs typeface="Arial" pitchFamily="34" charset="0"/>
              </a:rPr>
              <a:t>что позволило соединить </a:t>
            </a:r>
            <a:r>
              <a:rPr lang="ru-RU" sz="20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178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населенных пунктов протяженностью </a:t>
            </a:r>
            <a:r>
              <a:rPr lang="ru-RU" sz="20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460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км 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086" y="2476622"/>
            <a:ext cx="2956407" cy="1688214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3435" y="2476622"/>
            <a:ext cx="2745235" cy="1688214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311" y="3270897"/>
            <a:ext cx="2916225" cy="1688214"/>
          </a:xfrm>
          <a:prstGeom prst="rect">
            <a:avLst/>
          </a:prstGeom>
          <a:ln w="57150">
            <a:solidFill>
              <a:schemeClr val="bg1"/>
            </a:solidFill>
          </a:ln>
        </p:spPr>
      </p:pic>
      <p:sp>
        <p:nvSpPr>
          <p:cNvPr id="15" name="Скругленный прямоугольник 14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33517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67184" y="741877"/>
            <a:ext cx="7676816" cy="601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Федеральный проект «Система поддержки фермеров </a:t>
            </a:r>
            <a:endParaRPr lang="ru-RU" sz="2100" b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21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витие сельской кооперации»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082257" y="1466450"/>
            <a:ext cx="7552874" cy="307777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Предусмотрено на 2019 год -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418,8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, освоено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418,8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Текст 2"/>
          <p:cNvSpPr txBox="1">
            <a:spLocks/>
          </p:cNvSpPr>
          <p:nvPr/>
        </p:nvSpPr>
        <p:spPr>
          <a:xfrm>
            <a:off x="1323212" y="1821520"/>
            <a:ext cx="2569735" cy="324743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68580" tIns="34290" rIns="68580" bIns="34290">
            <a:noAutofit/>
          </a:bodyPr>
          <a:lstStyle>
            <a:defPPr>
              <a:defRPr lang="ru-RU"/>
            </a:defPPr>
            <a:lvl1pPr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dirty="0" err="1"/>
              <a:t>Агростартап</a:t>
            </a:r>
            <a:endParaRPr lang="ru-RU" sz="1800" dirty="0"/>
          </a:p>
        </p:txBody>
      </p:sp>
      <p:sp>
        <p:nvSpPr>
          <p:cNvPr id="26" name="Текст 4"/>
          <p:cNvSpPr txBox="1">
            <a:spLocks/>
          </p:cNvSpPr>
          <p:nvPr/>
        </p:nvSpPr>
        <p:spPr>
          <a:xfrm>
            <a:off x="5214510" y="1821520"/>
            <a:ext cx="3122674" cy="324036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68580" tIns="34290" rIns="68580" bIns="34290">
            <a:noAutofit/>
          </a:bodyPr>
          <a:lstStyle>
            <a:defPPr>
              <a:defRPr lang="ru-RU"/>
            </a:defPPr>
            <a:lvl1pPr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800" dirty="0"/>
              <a:t>Субсидии кооперативам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160215" y="2139250"/>
            <a:ext cx="3150991" cy="761747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Господдержка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5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2,7</a:t>
            </a:r>
            <a:r>
              <a:rPr lang="ru-RU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  <a:r>
              <a:rPr lang="ru-RU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оличество заявителе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5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2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чел.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обедителе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5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3</a:t>
            </a:r>
            <a:r>
              <a:rPr lang="ru-RU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чел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22910" y="2139250"/>
            <a:ext cx="3885760" cy="74635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Господдержка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5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8,8</a:t>
            </a:r>
            <a:r>
              <a:rPr lang="ru-RU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  <a:r>
              <a:rPr lang="ru-RU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оличество заявителе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9 по 61 заявке </a:t>
            </a:r>
          </a:p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5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8,8</a:t>
            </a:r>
            <a:r>
              <a:rPr lang="ru-RU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  <a:r>
              <a:rPr lang="ru-RU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/>
          </p:nvPr>
        </p:nvGraphicFramePr>
        <p:xfrm>
          <a:off x="902211" y="2907270"/>
          <a:ext cx="3542038" cy="204368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183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81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0307">
                <a:tc>
                  <a:txBody>
                    <a:bodyPr/>
                    <a:lstStyle/>
                    <a:p>
                      <a:pPr algn="ctr" fontAlgn="ctr">
                        <a:lnSpc>
                          <a:spcPct val="90000"/>
                        </a:lnSpc>
                      </a:pPr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правления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90000"/>
                        </a:lnSpc>
                      </a:pPr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К-во участников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олочное ското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3</a:t>
                      </a:r>
                      <a:endParaRPr lang="ru-RU" sz="12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ясное ското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  <a:endParaRPr lang="ru-RU" sz="12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чело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</a:t>
                      </a:r>
                      <a:endParaRPr lang="ru-RU" sz="12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одово-ягодны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ru-RU" sz="12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тице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ru-RU" sz="12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ерновые и зернобобовы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ru-RU" sz="12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оне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вце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воще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руги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ИТОГ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0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0973122"/>
              </p:ext>
            </p:extLst>
          </p:nvPr>
        </p:nvGraphicFramePr>
        <p:xfrm>
          <a:off x="4738792" y="2912435"/>
          <a:ext cx="4028691" cy="202203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085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54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76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717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правления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-во заявителей, ед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умма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субсидии, млн </a:t>
                      </a:r>
                      <a:r>
                        <a:rPr lang="ru-RU" sz="1200" b="1" i="0" u="none" strike="sng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</a:t>
                      </a:r>
                      <a:endParaRPr lang="ru-RU" sz="1200" b="1" i="0" u="none" strike="sng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11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акуп продукции у членов кооперативов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7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7,8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11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иобретение имущества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для передачи членам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,4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11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Приобретение техники </a:t>
                      </a:r>
                      <a:b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и оборудования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8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5,6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286" marR="4286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9670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2"/>
          <p:cNvSpPr txBox="1">
            <a:spLocks/>
          </p:cNvSpPr>
          <p:nvPr/>
        </p:nvSpPr>
        <p:spPr>
          <a:xfrm>
            <a:off x="726435" y="1328362"/>
            <a:ext cx="3973524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>
            <a:defPPr>
              <a:defRPr lang="ru-RU"/>
            </a:defPPr>
            <a:lvl1pPr>
              <a:defRPr sz="1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1700" dirty="0"/>
              <a:t>Поддержка начинающих фермеров</a:t>
            </a:r>
          </a:p>
        </p:txBody>
      </p:sp>
      <p:sp>
        <p:nvSpPr>
          <p:cNvPr id="13" name="Текст 4"/>
          <p:cNvSpPr txBox="1">
            <a:spLocks/>
          </p:cNvSpPr>
          <p:nvPr/>
        </p:nvSpPr>
        <p:spPr>
          <a:xfrm>
            <a:off x="5275350" y="1328363"/>
            <a:ext cx="3454279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>
            <a:defPPr>
              <a:defRPr lang="ru-RU"/>
            </a:defPPr>
            <a:lvl1pPr>
              <a:defRPr sz="1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1700" dirty="0"/>
              <a:t>Развитие семейных </a:t>
            </a:r>
            <a:r>
              <a:rPr lang="ru-RU" sz="1700" dirty="0" err="1"/>
              <a:t>жив.ферм</a:t>
            </a:r>
            <a:endParaRPr lang="ru-RU" sz="1700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15" b="7546"/>
          <a:stretch/>
        </p:blipFill>
        <p:spPr bwMode="auto">
          <a:xfrm>
            <a:off x="3878526" y="3773511"/>
            <a:ext cx="1305835" cy="978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803" b="5682"/>
          <a:stretch/>
        </p:blipFill>
        <p:spPr bwMode="auto">
          <a:xfrm>
            <a:off x="3889158" y="2636019"/>
            <a:ext cx="1305836" cy="960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9" descr="C:\Users\User\Desktop\СЖФ\ФОТОГРАФИИ СЖФ\_MG_974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96"/>
          <a:stretch/>
        </p:blipFill>
        <p:spPr bwMode="auto">
          <a:xfrm>
            <a:off x="7629060" y="2631508"/>
            <a:ext cx="1372418" cy="960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1" descr="C:\Users\User\Desktop\СЖФ\ФОТОГРАФИИ СЖФ\_MG_975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24"/>
          <a:stretch/>
        </p:blipFill>
        <p:spPr bwMode="auto">
          <a:xfrm>
            <a:off x="7625112" y="3770104"/>
            <a:ext cx="1372421" cy="958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900843" y="1593297"/>
            <a:ext cx="3289040" cy="807911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>
              <a:tabLst>
                <a:tab pos="2016919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Господдержка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</a:p>
          <a:p>
            <a:pPr>
              <a:tabLst>
                <a:tab pos="2016919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ол-во заявителей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2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чел.</a:t>
            </a:r>
          </a:p>
          <a:p>
            <a:pPr>
              <a:tabLst>
                <a:tab pos="2016919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бедителей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5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чел.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287589" y="1594769"/>
            <a:ext cx="3402853" cy="807911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>
              <a:tabLst>
                <a:tab pos="2016919" algn="l"/>
                <a:tab pos="2487216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Господдержка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0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  <a:r>
              <a:rPr lang="ru-RU" sz="16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tabLst>
                <a:tab pos="2016919" algn="l"/>
                <a:tab pos="2487216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ол-во заявителей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чел.</a:t>
            </a:r>
          </a:p>
          <a:p>
            <a:pPr>
              <a:tabLst>
                <a:tab pos="2016919" algn="l"/>
                <a:tab pos="2487216" algn="l"/>
              </a:tabLst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бедителей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чел.</a:t>
            </a:r>
          </a:p>
        </p:txBody>
      </p:sp>
      <p:graphicFrame>
        <p:nvGraphicFramePr>
          <p:cNvPr id="28" name="Таблица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3265892"/>
              </p:ext>
            </p:extLst>
          </p:nvPr>
        </p:nvGraphicFramePr>
        <p:xfrm>
          <a:off x="848016" y="2387603"/>
          <a:ext cx="2890266" cy="261747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9220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81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правления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Кол-во </a:t>
                      </a:r>
                    </a:p>
                    <a:p>
                      <a:pPr algn="ctr" fontAlgn="ctr"/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участников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31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олочное ското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3</a:t>
                      </a:r>
                      <a:endParaRPr lang="ru-RU" sz="15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31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ясное ското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1</a:t>
                      </a:r>
                      <a:endParaRPr lang="ru-RU" sz="15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147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Зерновые </a:t>
                      </a:r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и </a:t>
                      </a:r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зернобобовы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ru-RU" sz="15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31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Плодово-ягодные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ru-RU" sz="15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31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Птице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ru-RU" sz="15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31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воще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431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Коне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431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руги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431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ИТОГ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05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119184"/>
              </p:ext>
            </p:extLst>
          </p:nvPr>
        </p:nvGraphicFramePr>
        <p:xfrm>
          <a:off x="5289027" y="2383826"/>
          <a:ext cx="2229843" cy="2604039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2549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49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67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правления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Кол-во участников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242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олочное ското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ru-RU" sz="15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060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тице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ru-RU" sz="15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242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Мясное ското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ru-RU" sz="15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0604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вце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060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Рыбоводств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060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ИТОГ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482" marR="3482" marT="57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2" name="Скругленный прямоугольник 21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56104" y="734161"/>
            <a:ext cx="7687896" cy="574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ализация программ </a:t>
            </a:r>
            <a:r>
              <a:rPr lang="ru-RU" sz="2100" b="1" dirty="0" err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рантовой</a:t>
            </a: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поддержки КФХ </a:t>
            </a:r>
            <a:endParaRPr lang="ru-RU" sz="2100" b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21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019 году</a:t>
            </a:r>
          </a:p>
        </p:txBody>
      </p:sp>
    </p:spTree>
    <p:extLst>
      <p:ext uri="{BB962C8B-B14F-4D97-AF65-F5344CB8AC3E}">
        <p14:creationId xmlns:p14="http://schemas.microsoft.com/office/powerpoint/2010/main" val="184969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62250" y="741300"/>
            <a:ext cx="7241236" cy="642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сударственная поддержка на 2020 год </a:t>
            </a:r>
            <a:endParaRPr lang="ru-RU" sz="2100" b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21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о </a:t>
            </a:r>
            <a:r>
              <a:rPr lang="ru-RU" sz="2100" b="1" dirty="0" err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офинансируемым</a:t>
            </a: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статьям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396331" y="1864124"/>
            <a:ext cx="6976419" cy="3141886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>
            <a:spAutoFit/>
          </a:bodyPr>
          <a:lstStyle/>
          <a:p>
            <a:pPr>
              <a:lnSpc>
                <a:spcPts val="2100"/>
              </a:lnSpc>
              <a:spcAft>
                <a:spcPts val="150"/>
              </a:spcAft>
            </a:pPr>
            <a:r>
              <a:rPr lang="ru-RU" sz="17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Компенсирующие субсидии:</a:t>
            </a:r>
          </a:p>
          <a:p>
            <a:pPr>
              <a:lnSpc>
                <a:spcPts val="2100"/>
              </a:lnSpc>
              <a:spcAft>
                <a:spcPts val="150"/>
              </a:spcAft>
              <a:tabLst>
                <a:tab pos="5044679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По направлению несвязанной поддержки	-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925,0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</a:p>
          <a:p>
            <a:pPr>
              <a:lnSpc>
                <a:spcPts val="2100"/>
              </a:lnSpc>
              <a:spcAft>
                <a:spcPts val="150"/>
              </a:spcAft>
              <a:tabLst>
                <a:tab pos="5044679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На развитие элитного семеноводства	-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50,0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2100"/>
              </a:lnSpc>
              <a:spcAft>
                <a:spcPts val="150"/>
              </a:spcAft>
              <a:tabLst>
                <a:tab pos="5044679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Страхование растениеводства	-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00,0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>
              <a:spcAft>
                <a:spcPts val="150"/>
              </a:spcAft>
              <a:tabLst>
                <a:tab pos="5044679" algn="l"/>
              </a:tabLst>
            </a:pPr>
            <a:endParaRPr lang="ru-RU" sz="800" b="1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2100"/>
              </a:lnSpc>
              <a:spcAft>
                <a:spcPts val="150"/>
              </a:spcAft>
              <a:tabLst>
                <a:tab pos="5044679" algn="l"/>
              </a:tabLst>
            </a:pPr>
            <a:r>
              <a:rPr lang="ru-RU" sz="17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тимулирующие субсидии:</a:t>
            </a:r>
          </a:p>
          <a:p>
            <a:pPr>
              <a:lnSpc>
                <a:spcPts val="2100"/>
              </a:lnSpc>
              <a:spcAft>
                <a:spcPts val="150"/>
              </a:spcAft>
              <a:tabLst>
                <a:tab pos="5044679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На поддержку многолетних насаждений	-  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68,9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2100"/>
              </a:lnSpc>
              <a:spcAft>
                <a:spcPts val="150"/>
              </a:spcAft>
              <a:tabLst>
                <a:tab pos="5044679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Приоритетные </a:t>
            </a:r>
            <a:r>
              <a:rPr lang="ru-RU" sz="1700" b="1" dirty="0" err="1">
                <a:latin typeface="Arial" pitchFamily="34" charset="0"/>
                <a:cs typeface="Arial" pitchFamily="34" charset="0"/>
              </a:rPr>
              <a:t>подотрасли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растениеводства	-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300,0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2100"/>
              </a:lnSpc>
              <a:spcAft>
                <a:spcPts val="150"/>
              </a:spcAft>
              <a:tabLst>
                <a:tab pos="5044679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Развитие мелиорации земель	-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241,0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</a:p>
          <a:p>
            <a:pPr>
              <a:lnSpc>
                <a:spcPts val="2100"/>
              </a:lnSpc>
              <a:spcAft>
                <a:spcPts val="150"/>
              </a:spcAft>
              <a:tabLst>
                <a:tab pos="5044679" algn="l"/>
              </a:tabLst>
            </a:pPr>
            <a:r>
              <a:rPr lang="ru-RU" sz="1700" b="1" dirty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в </a:t>
            </a:r>
            <a:r>
              <a:rPr lang="ru-RU" sz="1700" b="1" dirty="0" err="1">
                <a:latin typeface="Arial" pitchFamily="34" charset="0"/>
                <a:cs typeface="Arial" pitchFamily="34" charset="0"/>
              </a:rPr>
              <a:t>т.ч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. известкование кислых почв</a:t>
            </a:r>
            <a:r>
              <a:rPr lang="ru-RU" sz="1700" b="1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-  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70,0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2100"/>
              </a:lnSpc>
              <a:spcAft>
                <a:spcPts val="150"/>
              </a:spcAft>
              <a:tabLst>
                <a:tab pos="5044679" algn="l"/>
              </a:tabLst>
            </a:pPr>
            <a:r>
              <a:rPr lang="ru-RU" sz="1700" b="1" dirty="0" err="1">
                <a:latin typeface="Arial" pitchFamily="34" charset="0"/>
                <a:cs typeface="Arial" pitchFamily="34" charset="0"/>
              </a:rPr>
              <a:t>Фед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. проект «Экспорт продукции АПК»	-  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72,6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48006" y="1518251"/>
            <a:ext cx="7335222" cy="35042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 lIns="68580" tIns="0" rIns="68580" bIns="27000" rtlCol="0">
            <a:spAutoFit/>
          </a:bodyPr>
          <a:lstStyle/>
          <a:p>
            <a:r>
              <a:rPr lang="ru-RU" sz="1700" b="1" dirty="0">
                <a:latin typeface="Arial" pitchFamily="34" charset="0"/>
                <a:cs typeface="Arial" pitchFamily="34" charset="0"/>
              </a:rPr>
              <a:t>   </a:t>
            </a:r>
            <a:r>
              <a:rPr lang="ru-RU" sz="17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Итого по </a:t>
            </a:r>
            <a:r>
              <a:rPr lang="ru-RU" sz="1700" b="1" dirty="0" err="1">
                <a:latin typeface="Arial" pitchFamily="34" charset="0"/>
                <a:cs typeface="Arial" pitchFamily="34" charset="0"/>
              </a:rPr>
              <a:t>софинансируемым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направлениям     </a:t>
            </a:r>
            <a:r>
              <a:rPr lang="ru-RU" sz="1700" b="1" dirty="0" smtClean="0">
                <a:latin typeface="Arial" pitchFamily="34" charset="0"/>
                <a:cs typeface="Arial" pitchFamily="34" charset="0"/>
              </a:rPr>
              <a:t> - </a:t>
            </a:r>
            <a:r>
              <a:rPr lang="ru-RU" sz="21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857,5</a:t>
            </a:r>
            <a:r>
              <a:rPr lang="ru-RU" sz="21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147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53976" y="727951"/>
            <a:ext cx="7690024" cy="642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сударственная поддержка </a:t>
            </a:r>
          </a:p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з республиканского бюджета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247631" y="1735289"/>
            <a:ext cx="7535938" cy="2634054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>
            <a:spAutoFit/>
          </a:bodyPr>
          <a:lstStyle/>
          <a:p>
            <a:pPr>
              <a:lnSpc>
                <a:spcPts val="2025"/>
              </a:lnSpc>
              <a:tabLst>
                <a:tab pos="4572000" algn="l"/>
                <a:tab pos="5379244" algn="l"/>
              </a:tabLst>
            </a:pPr>
            <a:r>
              <a:rPr lang="ru-RU" sz="17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о республиканским программам:</a:t>
            </a:r>
          </a:p>
          <a:p>
            <a:pPr>
              <a:lnSpc>
                <a:spcPts val="2025"/>
              </a:lnSpc>
              <a:tabLst>
                <a:tab pos="5473700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На приобретение минеральных удобрений		- </a:t>
            </a:r>
            <a:r>
              <a:rPr lang="ru-RU" sz="21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,5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рд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2025"/>
              </a:lnSpc>
              <a:tabLst>
                <a:tab pos="5473700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На развитие растениеводства </a:t>
            </a:r>
          </a:p>
          <a:p>
            <a:pPr>
              <a:lnSpc>
                <a:spcPts val="2025"/>
              </a:lnSpc>
              <a:tabLst>
                <a:tab pos="5473700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(овощи закрытого грунта, </a:t>
            </a:r>
            <a:r>
              <a:rPr lang="ru-RU" sz="1700" b="1" dirty="0" err="1">
                <a:latin typeface="Arial" pitchFamily="34" charset="0"/>
                <a:cs typeface="Arial" pitchFamily="34" charset="0"/>
              </a:rPr>
              <a:t>фитомониторинг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)	-   </a:t>
            </a:r>
            <a:r>
              <a:rPr lang="ru-RU" sz="21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45,0</a:t>
            </a:r>
            <a:r>
              <a:rPr lang="ru-RU" sz="17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2025"/>
              </a:lnSpc>
              <a:tabLst>
                <a:tab pos="5473700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На приобретение элитных семян		-   </a:t>
            </a:r>
            <a:r>
              <a:rPr lang="ru-RU" sz="21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30,0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2025"/>
              </a:lnSpc>
              <a:tabLst>
                <a:tab pos="5473700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Уничтожение борщевика Сосновского		-   </a:t>
            </a:r>
            <a:r>
              <a:rPr lang="ru-RU" sz="21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20,0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2025"/>
              </a:lnSpc>
              <a:tabLst>
                <a:tab pos="5473700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Капитальный ремонт ГТС		- </a:t>
            </a:r>
            <a:r>
              <a:rPr lang="ru-RU" sz="21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60,0</a:t>
            </a:r>
            <a:r>
              <a:rPr lang="ru-RU" sz="17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2025"/>
              </a:lnSpc>
              <a:tabLst>
                <a:tab pos="5473700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На проведение мелиоративных работ (скважины</a:t>
            </a:r>
            <a:r>
              <a:rPr lang="ru-RU" sz="1700" b="1" dirty="0" smtClean="0">
                <a:latin typeface="Arial" pitchFamily="34" charset="0"/>
                <a:cs typeface="Arial" pitchFamily="34" charset="0"/>
              </a:rPr>
              <a:t>)	-   </a:t>
            </a:r>
            <a:r>
              <a:rPr lang="ru-RU" sz="21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33,0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2025"/>
              </a:lnSpc>
              <a:tabLst>
                <a:tab pos="5473700" algn="l"/>
              </a:tabLst>
            </a:pPr>
            <a:r>
              <a:rPr lang="ru-RU" sz="1700" b="1" dirty="0">
                <a:latin typeface="Arial" pitchFamily="34" charset="0"/>
                <a:cs typeface="Arial" pitchFamily="34" charset="0"/>
              </a:rPr>
              <a:t>Финансовое обеспечение закупки </a:t>
            </a:r>
            <a:br>
              <a:rPr lang="ru-RU" sz="1700" b="1" dirty="0">
                <a:latin typeface="Arial" pitchFamily="34" charset="0"/>
                <a:cs typeface="Arial" pitchFamily="34" charset="0"/>
              </a:rPr>
            </a:br>
            <a:r>
              <a:rPr lang="ru-RU" sz="1700" b="1" dirty="0">
                <a:latin typeface="Arial" pitchFamily="34" charset="0"/>
                <a:cs typeface="Arial" pitchFamily="34" charset="0"/>
              </a:rPr>
              <a:t>мелиоративной техники		- </a:t>
            </a:r>
            <a:r>
              <a:rPr lang="ru-RU" sz="21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00,0</a:t>
            </a:r>
            <a:r>
              <a:rPr lang="ru-RU" sz="17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7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06883" y="1439080"/>
            <a:ext cx="7549754" cy="32316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 lIns="68580" tIns="0" rIns="68580" bIns="0" rtlCol="0">
            <a:spAutoFit/>
          </a:bodyPr>
          <a:lstStyle>
            <a:defPPr>
              <a:defRPr lang="ru-RU"/>
            </a:defPPr>
            <a:lvl1pPr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1700" dirty="0"/>
              <a:t>    Итого по республиканским программам                   </a:t>
            </a:r>
            <a:r>
              <a:rPr lang="ru-RU" sz="1700" dirty="0" smtClean="0"/>
              <a:t>- </a:t>
            </a:r>
            <a:r>
              <a:rPr lang="ru-RU" sz="2100" dirty="0">
                <a:solidFill>
                  <a:srgbClr val="006600"/>
                </a:solidFill>
              </a:rPr>
              <a:t>1888,0</a:t>
            </a:r>
            <a:r>
              <a:rPr lang="ru-RU" sz="1700" dirty="0"/>
              <a:t> млн </a:t>
            </a:r>
            <a:r>
              <a:rPr lang="ru-RU" sz="1700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dirty="0"/>
          </a:p>
        </p:txBody>
      </p:sp>
      <p:sp>
        <p:nvSpPr>
          <p:cNvPr id="14" name="TextBox 13"/>
          <p:cNvSpPr txBox="1"/>
          <p:nvPr/>
        </p:nvSpPr>
        <p:spPr>
          <a:xfrm>
            <a:off x="1006881" y="4326801"/>
            <a:ext cx="7543281" cy="32316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 lIns="68580" tIns="0" rIns="68580" bIns="0" rtlCol="0">
            <a:spAutoFit/>
          </a:bodyPr>
          <a:lstStyle>
            <a:defPPr>
              <a:defRPr lang="ru-RU"/>
            </a:defPPr>
            <a:lvl1pPr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1700" dirty="0"/>
              <a:t>    Итого по растениеводству                                           </a:t>
            </a:r>
            <a:r>
              <a:rPr lang="ru-RU" sz="1700" dirty="0" smtClean="0"/>
              <a:t> -    </a:t>
            </a:r>
            <a:r>
              <a:rPr lang="ru-RU" sz="2100" dirty="0" smtClean="0">
                <a:solidFill>
                  <a:srgbClr val="006600"/>
                </a:solidFill>
              </a:rPr>
              <a:t>3,7</a:t>
            </a:r>
            <a:r>
              <a:rPr lang="ru-RU" sz="1700" dirty="0" smtClean="0">
                <a:solidFill>
                  <a:srgbClr val="006600"/>
                </a:solidFill>
              </a:rPr>
              <a:t> </a:t>
            </a:r>
            <a:r>
              <a:rPr lang="ru-RU" sz="1700" dirty="0"/>
              <a:t>млрд </a:t>
            </a:r>
            <a:r>
              <a:rPr lang="ru-RU" sz="1700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dirty="0"/>
          </a:p>
        </p:txBody>
      </p:sp>
      <p:sp>
        <p:nvSpPr>
          <p:cNvPr id="17" name="TextBox 16"/>
          <p:cNvSpPr txBox="1"/>
          <p:nvPr/>
        </p:nvSpPr>
        <p:spPr>
          <a:xfrm>
            <a:off x="1006883" y="4692862"/>
            <a:ext cx="7543280" cy="32316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 lIns="68580" tIns="0" rIns="68580" bIns="0" rtlCol="0">
            <a:spAutoFit/>
          </a:bodyPr>
          <a:lstStyle>
            <a:defPPr>
              <a:defRPr lang="ru-RU"/>
            </a:defPPr>
            <a:lvl1pPr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1700" dirty="0" smtClean="0"/>
              <a:t>    Всего </a:t>
            </a:r>
            <a:r>
              <a:rPr lang="ru-RU" sz="1700" dirty="0"/>
              <a:t>господдержки по отрасли АПК                          </a:t>
            </a:r>
            <a:r>
              <a:rPr lang="ru-RU" sz="1700" dirty="0" smtClean="0"/>
              <a:t>- </a:t>
            </a:r>
            <a:r>
              <a:rPr lang="ru-RU" sz="2100" dirty="0">
                <a:solidFill>
                  <a:srgbClr val="006600"/>
                </a:solidFill>
              </a:rPr>
              <a:t>19,4</a:t>
            </a:r>
            <a:r>
              <a:rPr lang="ru-RU" sz="1700" dirty="0"/>
              <a:t> млрд </a:t>
            </a:r>
            <a:r>
              <a:rPr lang="ru-RU" sz="1700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700" dirty="0"/>
          </a:p>
        </p:txBody>
      </p:sp>
    </p:spTree>
    <p:extLst>
      <p:ext uri="{BB962C8B-B14F-4D97-AF65-F5344CB8AC3E}">
        <p14:creationId xmlns:p14="http://schemas.microsoft.com/office/powerpoint/2010/main" val="18483374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64499" y="701258"/>
            <a:ext cx="7241236" cy="5401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лощади ягодных культур Республики Татарстан, га</a:t>
            </a: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1412732622"/>
              </p:ext>
            </p:extLst>
          </p:nvPr>
        </p:nvGraphicFramePr>
        <p:xfrm>
          <a:off x="411501" y="1971675"/>
          <a:ext cx="5001479" cy="2962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8" name="Диаграмма 27"/>
          <p:cNvGraphicFramePr/>
          <p:nvPr>
            <p:extLst>
              <p:ext uri="{D42A27DB-BD31-4B8C-83A1-F6EECF244321}">
                <p14:modId xmlns:p14="http://schemas.microsoft.com/office/powerpoint/2010/main" val="3817957756"/>
              </p:ext>
            </p:extLst>
          </p:nvPr>
        </p:nvGraphicFramePr>
        <p:xfrm>
          <a:off x="5244887" y="1688782"/>
          <a:ext cx="3638432" cy="2883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1250911" y="1337659"/>
            <a:ext cx="3434723" cy="3462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18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о всех категориях хозяйств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320306" y="1337659"/>
            <a:ext cx="1383905" cy="3462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18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ХО и КФХ</a:t>
            </a:r>
          </a:p>
        </p:txBody>
      </p:sp>
    </p:spTree>
    <p:extLst>
      <p:ext uri="{BB962C8B-B14F-4D97-AF65-F5344CB8AC3E}">
        <p14:creationId xmlns:p14="http://schemas.microsoft.com/office/powerpoint/2010/main" val="2219564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53976" y="714604"/>
            <a:ext cx="7696698" cy="7600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ры государственной поддержки </a:t>
            </a:r>
            <a:endParaRPr lang="ru-RU" sz="2100" b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21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спублике Татарстан для ягодной отрасл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19450" y="1542699"/>
            <a:ext cx="7168181" cy="3462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1800" i="1" dirty="0"/>
              <a:t>Программы, </a:t>
            </a:r>
            <a:r>
              <a:rPr lang="ru-RU" sz="1800" i="1" dirty="0" err="1"/>
              <a:t>софинансируемые</a:t>
            </a:r>
            <a:r>
              <a:rPr lang="ru-RU" sz="1800" i="1" dirty="0"/>
              <a:t> из федерального бюджета: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87100" y="1917605"/>
            <a:ext cx="8423530" cy="884856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257175" indent="-2571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550" b="1" dirty="0">
                <a:latin typeface="Arial" panose="020B0604020202020204" pitchFamily="34" charset="0"/>
                <a:cs typeface="Arial" panose="020B0604020202020204" pitchFamily="34" charset="0"/>
              </a:rPr>
              <a:t>на закладку кустарниковых ягодных насаждений (70% от затрат без учета НДС),</a:t>
            </a:r>
          </a:p>
          <a:p>
            <a:pPr marL="257175" indent="-2571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550" b="1" dirty="0">
                <a:latin typeface="Arial" panose="020B0604020202020204" pitchFamily="34" charset="0"/>
                <a:cs typeface="Arial" panose="020B0604020202020204" pitchFamily="34" charset="0"/>
              </a:rPr>
              <a:t>на уход за кустарниковыми ягодными насаждениями </a:t>
            </a:r>
            <a:r>
              <a:rPr lang="ru-RU" sz="155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55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550" b="1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550" b="1" dirty="0">
                <a:latin typeface="Arial" panose="020B0604020202020204" pitchFamily="34" charset="0"/>
                <a:cs typeface="Arial" panose="020B0604020202020204" pitchFamily="34" charset="0"/>
              </a:rPr>
              <a:t>не более двух лет после года закладки) из расчета 30% от затрат без учета НДС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93773" y="2911186"/>
            <a:ext cx="8316738" cy="584773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just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За последние 3 года просубсидировано 90 га площади закладки кустарниковых ягодных насаждений в 5 муниципальных районах республики</a:t>
            </a:r>
          </a:p>
        </p:txBody>
      </p:sp>
      <p:pic>
        <p:nvPicPr>
          <p:cNvPr id="4098" name="Picture 2" descr="R:\2020\САДЫ\выступление Ягодный союз\7180ee27a0ed95658160273295ef8157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864" y="3762640"/>
            <a:ext cx="2430000" cy="138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R:\2020\САДЫ\выступление Ягодный союз\c49970f8baeccbb9c767af1de81b30a8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7295" y="3763850"/>
            <a:ext cx="2583014" cy="138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R:\2020\САДЫ\выступление Ягодный союз\1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46574" y="3762640"/>
            <a:ext cx="2594571" cy="138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42914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4000" y="3530653"/>
            <a:ext cx="2160000" cy="16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53976" y="714604"/>
            <a:ext cx="7676676" cy="7600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ры государственной поддержки </a:t>
            </a:r>
            <a:endParaRPr lang="ru-RU" sz="2100" b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21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спублике Татарстан для ягодной отрасли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93774" y="1944301"/>
            <a:ext cx="8217588" cy="56938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257175" indent="-257175" algn="just">
              <a:buFont typeface="Arial" pitchFamily="34" charset="0"/>
              <a:buChar char="•"/>
            </a:pPr>
            <a:r>
              <a:rPr lang="ru-RU" sz="1550" b="1" dirty="0">
                <a:latin typeface="Arial" panose="020B0604020202020204" pitchFamily="34" charset="0"/>
                <a:cs typeface="Arial" panose="020B0604020202020204" pitchFamily="34" charset="0"/>
              </a:rPr>
              <a:t>гранты по ведомственной программе «Поддержка начинающих фермеров </a:t>
            </a:r>
            <a:r>
              <a:rPr lang="ru-RU" sz="155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55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5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550" b="1" dirty="0">
                <a:latin typeface="Arial" panose="020B0604020202020204" pitchFamily="34" charset="0"/>
                <a:cs typeface="Arial" panose="020B0604020202020204" pitchFamily="34" charset="0"/>
              </a:rPr>
              <a:t>Республике Татарстан на 2017-2020 годы»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089" y="3533995"/>
            <a:ext cx="2160000" cy="16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44243" y="3528770"/>
            <a:ext cx="3819525" cy="16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747618" y="2571709"/>
            <a:ext cx="7199920" cy="838691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ru-RU" sz="15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Условия получения гранта:</a:t>
            </a:r>
          </a:p>
          <a:p>
            <a:pPr>
              <a:spcAft>
                <a:spcPts val="600"/>
              </a:spcAft>
            </a:pP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- выращивание 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плодовых и ягодных культур 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на площади не 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менее 1,3 га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;</a:t>
            </a:r>
          </a:p>
          <a:p>
            <a:r>
              <a:rPr lang="ru-RU" sz="1500" b="1" dirty="0" smtClean="0">
                <a:latin typeface="Arial" pitchFamily="34" charset="0"/>
                <a:cs typeface="Arial" pitchFamily="34" charset="0"/>
              </a:rPr>
              <a:t>- сумма не 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более 1,5 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млн </a:t>
            </a:r>
            <a:r>
              <a:rPr lang="ru-RU" sz="1500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но не более 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90% 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затрат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19450" y="1542699"/>
            <a:ext cx="7168181" cy="3462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1800" i="1" dirty="0"/>
              <a:t>Программы, </a:t>
            </a:r>
            <a:r>
              <a:rPr lang="ru-RU" sz="1800" i="1" dirty="0" err="1"/>
              <a:t>софинансируемые</a:t>
            </a:r>
            <a:r>
              <a:rPr lang="ru-RU" sz="1800" i="1" dirty="0"/>
              <a:t> из федерального бюджета:</a:t>
            </a:r>
          </a:p>
        </p:txBody>
      </p:sp>
    </p:spTree>
    <p:extLst>
      <p:ext uri="{BB962C8B-B14F-4D97-AF65-F5344CB8AC3E}">
        <p14:creationId xmlns:p14="http://schemas.microsoft.com/office/powerpoint/2010/main" val="4953041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53976" y="714604"/>
            <a:ext cx="7676676" cy="7600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ры государственной поддержки </a:t>
            </a:r>
            <a:endParaRPr lang="ru-RU" sz="2100" b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21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спублике Татарстан для ягодной отрасли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80426" y="1918642"/>
            <a:ext cx="8217588" cy="807911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257175" indent="-257175" algn="just">
              <a:buFont typeface="Arial" pitchFamily="34" charset="0"/>
              <a:buChar char="•"/>
            </a:pPr>
            <a:r>
              <a:rPr lang="ru-RU" sz="1550" b="1" dirty="0">
                <a:latin typeface="Arial" panose="020B0604020202020204" pitchFamily="34" charset="0"/>
                <a:cs typeface="Arial" panose="020B0604020202020204" pitchFamily="34" charset="0"/>
              </a:rPr>
              <a:t>гранты по ведомственной программе «Создание и развитие крестьянских (фермерских) хозяйств по проекту «</a:t>
            </a:r>
            <a:r>
              <a:rPr lang="ru-RU" sz="1550" b="1" dirty="0" err="1">
                <a:latin typeface="Arial" panose="020B0604020202020204" pitchFamily="34" charset="0"/>
                <a:cs typeface="Arial" panose="020B0604020202020204" pitchFamily="34" charset="0"/>
              </a:rPr>
              <a:t>Агростартап</a:t>
            </a:r>
            <a:r>
              <a:rPr lang="ru-RU" sz="1550" b="1" dirty="0">
                <a:latin typeface="Arial" panose="020B0604020202020204" pitchFamily="34" charset="0"/>
                <a:cs typeface="Arial" panose="020B0604020202020204" pitchFamily="34" charset="0"/>
              </a:rPr>
              <a:t>» в Республике Татарстан </a:t>
            </a:r>
            <a:r>
              <a:rPr lang="ru-RU" sz="155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55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5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550" b="1" dirty="0">
                <a:latin typeface="Arial" panose="020B0604020202020204" pitchFamily="34" charset="0"/>
                <a:cs typeface="Arial" panose="020B0604020202020204" pitchFamily="34" charset="0"/>
              </a:rPr>
              <a:t>2019-2024 годы» (не более 90% за счет средств Гранта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815523" y="2872262"/>
            <a:ext cx="8082491" cy="191590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5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Грант может быть использован:</a:t>
            </a:r>
          </a:p>
          <a:p>
            <a:pPr marL="180975" indent="-180975" algn="just">
              <a:spcAft>
                <a:spcPts val="600"/>
              </a:spcAft>
              <a:tabLst>
                <a:tab pos="180975" algn="l"/>
              </a:tabLst>
            </a:pP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-	на приобретение 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посадочного материала для закладки многолетних насаждений; </a:t>
            </a:r>
            <a:endParaRPr lang="ru-RU" sz="1500" b="1" dirty="0" smtClean="0">
              <a:latin typeface="Arial" pitchFamily="34" charset="0"/>
              <a:cs typeface="Arial" pitchFamily="34" charset="0"/>
            </a:endParaRPr>
          </a:p>
          <a:p>
            <a:pPr marL="180975" indent="-180975" algn="just">
              <a:spcAft>
                <a:spcPts val="600"/>
              </a:spcAft>
              <a:tabLst>
                <a:tab pos="180975" algn="l"/>
              </a:tabLst>
            </a:pP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-	оборудования 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для производственных 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объектов, предназначенных 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для заготовки, хранения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, переработки сельскохозяйственной продукции и ягод;</a:t>
            </a:r>
          </a:p>
          <a:p>
            <a:pPr marL="180975" indent="-180975" algn="just">
              <a:spcAft>
                <a:spcPts val="600"/>
              </a:spcAft>
              <a:tabLst>
                <a:tab pos="180975" algn="l"/>
              </a:tabLst>
            </a:pP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-	приобретение сельскохозяйственной 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техники, специализированного 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транспорта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для перевозки 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и реализации сельскохозяйственной 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продукции</a:t>
            </a:r>
            <a:endParaRPr lang="ru-RU" sz="15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19450" y="1542699"/>
            <a:ext cx="7168181" cy="3462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1800" i="1" dirty="0"/>
              <a:t>Программы, </a:t>
            </a:r>
            <a:r>
              <a:rPr lang="ru-RU" sz="1800" i="1" dirty="0" err="1"/>
              <a:t>софинансируемые</a:t>
            </a:r>
            <a:r>
              <a:rPr lang="ru-RU" sz="1800" i="1" dirty="0"/>
              <a:t> из федерального бюджета:</a:t>
            </a:r>
          </a:p>
        </p:txBody>
      </p:sp>
    </p:spTree>
    <p:extLst>
      <p:ext uri="{BB962C8B-B14F-4D97-AF65-F5344CB8AC3E}">
        <p14:creationId xmlns:p14="http://schemas.microsoft.com/office/powerpoint/2010/main" val="16975543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1465097" y="646381"/>
            <a:ext cx="7678903" cy="5035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гропромышленный комплекс Республики Татарстан</a:t>
            </a:r>
          </a:p>
        </p:txBody>
      </p:sp>
      <p:sp>
        <p:nvSpPr>
          <p:cNvPr id="51" name="object 2"/>
          <p:cNvSpPr txBox="1"/>
          <p:nvPr/>
        </p:nvSpPr>
        <p:spPr>
          <a:xfrm>
            <a:off x="814819" y="1221111"/>
            <a:ext cx="2752609" cy="122790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lnSpc>
                <a:spcPts val="1650"/>
              </a:lnSpc>
              <a:spcBef>
                <a:spcPts val="75"/>
              </a:spcBef>
            </a:pPr>
            <a:r>
              <a:rPr b="1" spc="-4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ТЕРРИТОРИЯ</a:t>
            </a:r>
            <a:r>
              <a:rPr lang="ru-RU" b="1" spc="-4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b="1" spc="-4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b="1" dirty="0">
                <a:latin typeface="Arial" pitchFamily="34" charset="0"/>
                <a:cs typeface="Arial" pitchFamily="34" charset="0"/>
              </a:rPr>
              <a:t>- </a:t>
            </a:r>
            <a:r>
              <a:rPr sz="1500" b="1" spc="-4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68</a:t>
            </a:r>
            <a:r>
              <a:rPr b="1" spc="-11" dirty="0">
                <a:latin typeface="Arial" pitchFamily="34" charset="0"/>
                <a:cs typeface="Arial" pitchFamily="34" charset="0"/>
              </a:rPr>
              <a:t> </a:t>
            </a:r>
            <a:r>
              <a:rPr b="1" spc="-4" dirty="0">
                <a:latin typeface="Arial" pitchFamily="34" charset="0"/>
                <a:cs typeface="Arial" pitchFamily="34" charset="0"/>
              </a:rPr>
              <a:t>тыс.кв.км.</a:t>
            </a:r>
            <a:endParaRPr dirty="0">
              <a:latin typeface="Arial" pitchFamily="34" charset="0"/>
              <a:cs typeface="Arial" pitchFamily="34" charset="0"/>
            </a:endParaRPr>
          </a:p>
          <a:p>
            <a:pPr marL="138589" marR="180975" indent="-129540">
              <a:lnSpc>
                <a:spcPts val="1650"/>
              </a:lnSpc>
              <a:spcBef>
                <a:spcPts val="90"/>
              </a:spcBef>
            </a:pPr>
            <a:r>
              <a:rPr b="1" dirty="0" err="1" smtClean="0">
                <a:latin typeface="Arial" pitchFamily="34" charset="0"/>
                <a:cs typeface="Arial" pitchFamily="34" charset="0"/>
              </a:rPr>
              <a:t>Сельхозугодий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	</a:t>
            </a:r>
            <a:r>
              <a:rPr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b="1" dirty="0">
                <a:latin typeface="Arial" pitchFamily="34" charset="0"/>
                <a:cs typeface="Arial" pitchFamily="34" charset="0"/>
              </a:rPr>
              <a:t>- </a:t>
            </a:r>
            <a:r>
              <a:rPr sz="1500" b="1" spc="-4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4,5</a:t>
            </a:r>
            <a:r>
              <a:rPr b="1" spc="-4" dirty="0">
                <a:latin typeface="Arial" pitchFamily="34" charset="0"/>
                <a:cs typeface="Arial" pitchFamily="34" charset="0"/>
              </a:rPr>
              <a:t> </a:t>
            </a:r>
            <a:r>
              <a:rPr b="1" dirty="0">
                <a:latin typeface="Arial" pitchFamily="34" charset="0"/>
                <a:cs typeface="Arial" pitchFamily="34" charset="0"/>
              </a:rPr>
              <a:t>млн.га  из </a:t>
            </a:r>
            <a:r>
              <a:rPr b="1" spc="-4" dirty="0" err="1">
                <a:latin typeface="Arial" pitchFamily="34" charset="0"/>
                <a:cs typeface="Arial" pitchFamily="34" charset="0"/>
              </a:rPr>
              <a:t>них</a:t>
            </a:r>
            <a:r>
              <a:rPr b="1" spc="-4" dirty="0">
                <a:latin typeface="Arial" pitchFamily="34" charset="0"/>
                <a:cs typeface="Arial" pitchFamily="34" charset="0"/>
              </a:rPr>
              <a:t> </a:t>
            </a:r>
            <a:r>
              <a:rPr b="1" spc="-4" dirty="0" err="1">
                <a:latin typeface="Arial" pitchFamily="34" charset="0"/>
                <a:cs typeface="Arial" pitchFamily="34" charset="0"/>
              </a:rPr>
              <a:t>пашни</a:t>
            </a:r>
            <a:r>
              <a:rPr lang="ru-RU" b="1" spc="-4" dirty="0">
                <a:latin typeface="Arial" pitchFamily="34" charset="0"/>
                <a:cs typeface="Arial" pitchFamily="34" charset="0"/>
              </a:rPr>
              <a:t>	</a:t>
            </a:r>
            <a:r>
              <a:rPr b="1" spc="-4" dirty="0">
                <a:latin typeface="Arial" pitchFamily="34" charset="0"/>
                <a:cs typeface="Arial" pitchFamily="34" charset="0"/>
              </a:rPr>
              <a:t> </a:t>
            </a:r>
            <a:r>
              <a:rPr b="1" dirty="0">
                <a:latin typeface="Arial" pitchFamily="34" charset="0"/>
                <a:cs typeface="Arial" pitchFamily="34" charset="0"/>
              </a:rPr>
              <a:t>- </a:t>
            </a:r>
            <a:r>
              <a:rPr sz="1500" b="1" spc="-4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3,4</a:t>
            </a:r>
            <a:r>
              <a:rPr b="1" spc="-94" dirty="0">
                <a:latin typeface="Arial" pitchFamily="34" charset="0"/>
                <a:cs typeface="Arial" pitchFamily="34" charset="0"/>
              </a:rPr>
              <a:t> </a:t>
            </a:r>
            <a:r>
              <a:rPr b="1" dirty="0">
                <a:latin typeface="Arial" pitchFamily="34" charset="0"/>
                <a:cs typeface="Arial" pitchFamily="34" charset="0"/>
              </a:rPr>
              <a:t>млн.га</a:t>
            </a:r>
            <a:endParaRPr dirty="0">
              <a:latin typeface="Arial" pitchFamily="34" charset="0"/>
              <a:cs typeface="Arial" pitchFamily="34" charset="0"/>
            </a:endParaRPr>
          </a:p>
          <a:p>
            <a:pPr marL="9525">
              <a:lnSpc>
                <a:spcPts val="1650"/>
              </a:lnSpc>
              <a:spcBef>
                <a:spcPts val="900"/>
              </a:spcBef>
            </a:pPr>
            <a:r>
              <a:rPr b="1" spc="-4" dirty="0">
                <a:solidFill>
                  <a:srgbClr val="0D7C38"/>
                </a:solidFill>
                <a:latin typeface="Arial" pitchFamily="34" charset="0"/>
                <a:cs typeface="Arial" pitchFamily="34" charset="0"/>
              </a:rPr>
              <a:t>НАСЕЛЕНИЕ</a:t>
            </a:r>
            <a:r>
              <a:rPr lang="ru-RU" b="1" spc="-4" dirty="0">
                <a:solidFill>
                  <a:srgbClr val="0D7C38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b="1" spc="-4" dirty="0">
                <a:solidFill>
                  <a:srgbClr val="0D7C3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b="1" dirty="0">
                <a:latin typeface="Arial" pitchFamily="34" charset="0"/>
                <a:cs typeface="Arial" pitchFamily="34" charset="0"/>
              </a:rPr>
              <a:t>- </a:t>
            </a:r>
            <a:r>
              <a:rPr sz="1500" b="1" spc="-4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3898</a:t>
            </a:r>
            <a:r>
              <a:rPr b="1" dirty="0">
                <a:latin typeface="Arial" pitchFamily="34" charset="0"/>
                <a:cs typeface="Arial" pitchFamily="34" charset="0"/>
              </a:rPr>
              <a:t> </a:t>
            </a:r>
            <a:r>
              <a:rPr b="1" spc="-4" dirty="0">
                <a:latin typeface="Arial" pitchFamily="34" charset="0"/>
                <a:cs typeface="Arial" pitchFamily="34" charset="0"/>
              </a:rPr>
              <a:t>тыс.чел.</a:t>
            </a:r>
            <a:endParaRPr dirty="0">
              <a:latin typeface="Arial" pitchFamily="34" charset="0"/>
              <a:cs typeface="Arial" pitchFamily="34" charset="0"/>
            </a:endParaRPr>
          </a:p>
          <a:p>
            <a:pPr marL="74295">
              <a:lnSpc>
                <a:spcPts val="1650"/>
              </a:lnSpc>
            </a:pPr>
            <a:r>
              <a:rPr b="1" dirty="0">
                <a:latin typeface="Arial" pitchFamily="34" charset="0"/>
                <a:cs typeface="Arial" pitchFamily="34" charset="0"/>
              </a:rPr>
              <a:t>в т.ч. </a:t>
            </a:r>
            <a:r>
              <a:rPr b="1" spc="-4" dirty="0" err="1">
                <a:latin typeface="Arial" pitchFamily="34" charset="0"/>
                <a:cs typeface="Arial" pitchFamily="34" charset="0"/>
              </a:rPr>
              <a:t>сельское</a:t>
            </a:r>
            <a:r>
              <a:rPr lang="ru-RU" b="1" spc="-4" dirty="0">
                <a:latin typeface="Arial" pitchFamily="34" charset="0"/>
                <a:cs typeface="Arial" pitchFamily="34" charset="0"/>
              </a:rPr>
              <a:t>	</a:t>
            </a:r>
            <a:r>
              <a:rPr b="1" spc="-4" dirty="0">
                <a:latin typeface="Arial" pitchFamily="34" charset="0"/>
                <a:cs typeface="Arial" pitchFamily="34" charset="0"/>
              </a:rPr>
              <a:t> </a:t>
            </a:r>
            <a:r>
              <a:rPr b="1" dirty="0">
                <a:latin typeface="Arial" pitchFamily="34" charset="0"/>
                <a:cs typeface="Arial" pitchFamily="34" charset="0"/>
              </a:rPr>
              <a:t>-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  </a:t>
            </a:r>
            <a:r>
              <a:rPr sz="1500" b="1" spc="-4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900</a:t>
            </a:r>
            <a:r>
              <a:rPr b="1" spc="-71" dirty="0">
                <a:latin typeface="Arial" pitchFamily="34" charset="0"/>
                <a:cs typeface="Arial" pitchFamily="34" charset="0"/>
              </a:rPr>
              <a:t> </a:t>
            </a:r>
            <a:r>
              <a:rPr b="1" spc="-4" dirty="0">
                <a:latin typeface="Arial" pitchFamily="34" charset="0"/>
                <a:cs typeface="Arial" pitchFamily="34" charset="0"/>
              </a:rPr>
              <a:t>тыс.чел.</a:t>
            </a:r>
            <a:endParaRPr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object 3"/>
          <p:cNvSpPr txBox="1"/>
          <p:nvPr/>
        </p:nvSpPr>
        <p:spPr>
          <a:xfrm>
            <a:off x="808750" y="2588827"/>
            <a:ext cx="2142556" cy="668773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b="1" dirty="0">
                <a:solidFill>
                  <a:srgbClr val="0D7C38"/>
                </a:solidFill>
                <a:latin typeface="Arial" pitchFamily="34" charset="0"/>
                <a:cs typeface="Arial" pitchFamily="34" charset="0"/>
              </a:rPr>
              <a:t>ВАЛОВАЯ</a:t>
            </a:r>
            <a:r>
              <a:rPr b="1" spc="-53" dirty="0">
                <a:solidFill>
                  <a:srgbClr val="0D7C3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b="1" spc="-4" dirty="0">
                <a:solidFill>
                  <a:srgbClr val="0D7C38"/>
                </a:solidFill>
                <a:latin typeface="Arial" pitchFamily="34" charset="0"/>
                <a:cs typeface="Arial" pitchFamily="34" charset="0"/>
              </a:rPr>
              <a:t>ПРОДУКЦИЯ</a:t>
            </a:r>
            <a:endParaRPr dirty="0">
              <a:latin typeface="Arial" pitchFamily="34" charset="0"/>
              <a:cs typeface="Arial" pitchFamily="34" charset="0"/>
            </a:endParaRPr>
          </a:p>
          <a:p>
            <a:pPr marL="9525" marR="148590">
              <a:spcBef>
                <a:spcPts val="90"/>
              </a:spcBef>
            </a:pPr>
            <a:r>
              <a:rPr b="1" spc="-4" dirty="0">
                <a:latin typeface="Arial" pitchFamily="34" charset="0"/>
                <a:cs typeface="Arial" pitchFamily="34" charset="0"/>
              </a:rPr>
              <a:t>сельского </a:t>
            </a:r>
            <a:r>
              <a:rPr b="1" spc="-4" dirty="0" err="1">
                <a:latin typeface="Arial" pitchFamily="34" charset="0"/>
                <a:cs typeface="Arial" pitchFamily="34" charset="0"/>
              </a:rPr>
              <a:t>хозяйства</a:t>
            </a:r>
            <a:r>
              <a:rPr b="1" spc="-4" dirty="0">
                <a:latin typeface="Arial" pitchFamily="34" charset="0"/>
                <a:cs typeface="Arial" pitchFamily="34" charset="0"/>
              </a:rPr>
              <a:t> </a:t>
            </a:r>
            <a:r>
              <a:rPr lang="ru-RU" b="1" spc="-4" dirty="0">
                <a:latin typeface="Arial" pitchFamily="34" charset="0"/>
                <a:cs typeface="Arial" pitchFamily="34" charset="0"/>
              </a:rPr>
              <a:t/>
            </a:r>
            <a:br>
              <a:rPr lang="ru-RU" b="1" spc="-4" dirty="0">
                <a:latin typeface="Arial" pitchFamily="34" charset="0"/>
                <a:cs typeface="Arial" pitchFamily="34" charset="0"/>
              </a:rPr>
            </a:br>
            <a:r>
              <a:rPr b="1" dirty="0" smtClean="0">
                <a:latin typeface="Arial" pitchFamily="34" charset="0"/>
                <a:cs typeface="Arial" pitchFamily="34" charset="0"/>
              </a:rPr>
              <a:t>в </a:t>
            </a:r>
            <a:r>
              <a:rPr b="1" spc="-4" dirty="0">
                <a:latin typeface="Arial" pitchFamily="34" charset="0"/>
                <a:cs typeface="Arial" pitchFamily="34" charset="0"/>
              </a:rPr>
              <a:t>2019г., </a:t>
            </a:r>
            <a:r>
              <a:rPr b="1" dirty="0" err="1">
                <a:latin typeface="Arial" pitchFamily="34" charset="0"/>
                <a:cs typeface="Arial" pitchFamily="34" charset="0"/>
              </a:rPr>
              <a:t>млрд</a:t>
            </a:r>
            <a:r>
              <a:rPr b="1" spc="-41" dirty="0">
                <a:latin typeface="Arial" pitchFamily="34" charset="0"/>
                <a:cs typeface="Arial" pitchFamily="34" charset="0"/>
              </a:rPr>
              <a:t> </a:t>
            </a:r>
            <a:r>
              <a:rPr lang="ru-RU" b="1" strike="sngStrike" spc="-41" dirty="0">
                <a:latin typeface="Times New Roman" pitchFamily="18" charset="0"/>
                <a:cs typeface="Times New Roman" pitchFamily="18" charset="0"/>
              </a:rPr>
              <a:t>Р</a:t>
            </a:r>
            <a:endParaRPr strike="sngStrike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3" name="object 5"/>
          <p:cNvSpPr txBox="1"/>
          <p:nvPr/>
        </p:nvSpPr>
        <p:spPr>
          <a:xfrm>
            <a:off x="5248601" y="1167991"/>
            <a:ext cx="3675150" cy="701635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 algn="r"/>
            <a:r>
              <a:rPr b="1" spc="-4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МУНИЦИПАЛЬНЫЕ ОБРАЗОВАНИЯ </a:t>
            </a:r>
            <a:r>
              <a:rPr b="1" spc="-4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b="1" spc="4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500" b="1" spc="-4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956</a:t>
            </a:r>
          </a:p>
          <a:p>
            <a:pPr marL="1000601" marR="3810" indent="307181"/>
            <a:r>
              <a:rPr lang="ru-RU" b="1" dirty="0" smtClean="0">
                <a:latin typeface="Arial" pitchFamily="34" charset="0"/>
                <a:cs typeface="Arial" pitchFamily="34" charset="0"/>
              </a:rPr>
              <a:t>           </a:t>
            </a:r>
            <a:r>
              <a:rPr b="1" dirty="0" err="1" smtClean="0">
                <a:latin typeface="Arial" pitchFamily="34" charset="0"/>
                <a:cs typeface="Arial" pitchFamily="34" charset="0"/>
              </a:rPr>
              <a:t>из</a:t>
            </a:r>
            <a:r>
              <a:rPr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b="1" spc="-4" dirty="0" err="1">
                <a:latin typeface="Arial" pitchFamily="34" charset="0"/>
                <a:cs typeface="Arial" pitchFamily="34" charset="0"/>
              </a:rPr>
              <a:t>них</a:t>
            </a:r>
            <a:r>
              <a:rPr b="1" spc="-4" dirty="0">
                <a:latin typeface="Arial" pitchFamily="34" charset="0"/>
                <a:cs typeface="Arial" pitchFamily="34" charset="0"/>
              </a:rPr>
              <a:t> </a:t>
            </a:r>
            <a:r>
              <a:rPr b="1" dirty="0" err="1" smtClean="0">
                <a:latin typeface="Arial" pitchFamily="34" charset="0"/>
                <a:cs typeface="Arial" pitchFamily="34" charset="0"/>
              </a:rPr>
              <a:t>районы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b="1" dirty="0" smtClean="0">
                <a:latin typeface="Arial" pitchFamily="34" charset="0"/>
                <a:cs typeface="Arial" pitchFamily="34" charset="0"/>
              </a:rPr>
              <a:t>-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   </a:t>
            </a:r>
            <a:r>
              <a:rPr sz="1500" b="1" spc="-4" dirty="0" smtClean="0">
                <a:latin typeface="Arial" pitchFamily="34" charset="0"/>
                <a:cs typeface="Arial" pitchFamily="34" charset="0"/>
              </a:rPr>
              <a:t>43</a:t>
            </a:r>
            <a:r>
              <a:rPr b="1" spc="-4" dirty="0" smtClean="0">
                <a:latin typeface="Arial" pitchFamily="34" charset="0"/>
                <a:cs typeface="Arial" pitchFamily="34" charset="0"/>
              </a:rPr>
              <a:t>  </a:t>
            </a:r>
            <a:r>
              <a:rPr lang="ru-RU" b="1" spc="-4" dirty="0" smtClean="0">
                <a:latin typeface="Arial" pitchFamily="34" charset="0"/>
                <a:cs typeface="Arial" pitchFamily="34" charset="0"/>
              </a:rPr>
              <a:t>         </a:t>
            </a:r>
            <a:r>
              <a:rPr lang="ru-RU" b="1" spc="-4" dirty="0">
                <a:latin typeface="Arial" pitchFamily="34" charset="0"/>
                <a:cs typeface="Arial" pitchFamily="34" charset="0"/>
              </a:rPr>
              <a:t/>
            </a:r>
            <a:br>
              <a:rPr lang="ru-RU" b="1" spc="-4" dirty="0">
                <a:latin typeface="Arial" pitchFamily="34" charset="0"/>
                <a:cs typeface="Arial" pitchFamily="34" charset="0"/>
              </a:rPr>
            </a:br>
            <a:r>
              <a:rPr lang="ru-RU" b="1" spc="-4" dirty="0">
                <a:latin typeface="Arial" pitchFamily="34" charset="0"/>
                <a:cs typeface="Arial" pitchFamily="34" charset="0"/>
              </a:rPr>
              <a:t>      </a:t>
            </a:r>
            <a:r>
              <a:rPr b="1" dirty="0" err="1" smtClean="0">
                <a:latin typeface="Arial" pitchFamily="34" charset="0"/>
                <a:cs typeface="Arial" pitchFamily="34" charset="0"/>
              </a:rPr>
              <a:t>сельские</a:t>
            </a:r>
            <a:r>
              <a:rPr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b="1" dirty="0" err="1" smtClean="0">
                <a:latin typeface="Arial" pitchFamily="34" charset="0"/>
                <a:cs typeface="Arial" pitchFamily="34" charset="0"/>
              </a:rPr>
              <a:t>поселения</a:t>
            </a:r>
            <a:r>
              <a:rPr b="1" dirty="0" smtClean="0">
                <a:latin typeface="Arial" pitchFamily="34" charset="0"/>
                <a:cs typeface="Arial" pitchFamily="34" charset="0"/>
              </a:rPr>
              <a:t>  -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b="1" spc="-161" dirty="0" smtClean="0">
                <a:latin typeface="Arial" pitchFamily="34" charset="0"/>
                <a:cs typeface="Arial" pitchFamily="34" charset="0"/>
              </a:rPr>
              <a:t> </a:t>
            </a:r>
            <a:r>
              <a:rPr sz="1500" b="1" spc="-4" dirty="0">
                <a:latin typeface="Arial" pitchFamily="34" charset="0"/>
                <a:cs typeface="Arial" pitchFamily="34" charset="0"/>
              </a:rPr>
              <a:t>872</a:t>
            </a:r>
          </a:p>
        </p:txBody>
      </p:sp>
      <p:sp>
        <p:nvSpPr>
          <p:cNvPr id="54" name="object 6"/>
          <p:cNvSpPr txBox="1"/>
          <p:nvPr/>
        </p:nvSpPr>
        <p:spPr>
          <a:xfrm>
            <a:off x="7494902" y="1902887"/>
            <a:ext cx="554064" cy="667971"/>
          </a:xfrm>
          <a:prstGeom prst="rect">
            <a:avLst/>
          </a:prstGeom>
        </p:spPr>
        <p:txBody>
          <a:bodyPr vert="horz" wrap="square" lIns="0" tIns="21431" rIns="0" bIns="0" rtlCol="0">
            <a:spAutoFit/>
          </a:bodyPr>
          <a:lstStyle/>
          <a:p>
            <a:pPr marL="9525" marR="3810" algn="just">
              <a:spcBef>
                <a:spcPts val="169"/>
              </a:spcBef>
            </a:pPr>
            <a:r>
              <a:rPr b="1" spc="-4" dirty="0">
                <a:latin typeface="Arial" pitchFamily="34" charset="0"/>
                <a:cs typeface="Arial" pitchFamily="34" charset="0"/>
              </a:rPr>
              <a:t>ЛПХ  КФХ  </a:t>
            </a:r>
            <a:r>
              <a:rPr b="1" dirty="0" err="1">
                <a:latin typeface="Arial" pitchFamily="34" charset="0"/>
                <a:cs typeface="Arial" pitchFamily="34" charset="0"/>
              </a:rPr>
              <a:t>С</a:t>
            </a:r>
            <a:r>
              <a:rPr b="1" spc="-8" dirty="0" err="1">
                <a:latin typeface="Arial" pitchFamily="34" charset="0"/>
                <a:cs typeface="Arial" pitchFamily="34" charset="0"/>
              </a:rPr>
              <a:t>П</a:t>
            </a:r>
            <a:r>
              <a:rPr b="1" dirty="0" err="1">
                <a:latin typeface="Arial" pitchFamily="34" charset="0"/>
                <a:cs typeface="Arial" pitchFamily="34" charset="0"/>
              </a:rPr>
              <a:t>оК</a:t>
            </a:r>
            <a:endParaRPr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object 7"/>
          <p:cNvSpPr txBox="1"/>
          <p:nvPr/>
        </p:nvSpPr>
        <p:spPr>
          <a:xfrm>
            <a:off x="8052594" y="1902886"/>
            <a:ext cx="870997" cy="656429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525">
              <a:spcBef>
                <a:spcPts val="79"/>
              </a:spcBef>
            </a:pPr>
            <a:r>
              <a:rPr b="1" dirty="0">
                <a:latin typeface="Arial" pitchFamily="34" charset="0"/>
                <a:cs typeface="Arial" pitchFamily="34" charset="0"/>
              </a:rPr>
              <a:t>- </a:t>
            </a:r>
            <a:r>
              <a:rPr b="1" spc="-4" dirty="0">
                <a:latin typeface="Arial" pitchFamily="34" charset="0"/>
                <a:cs typeface="Arial" pitchFamily="34" charset="0"/>
              </a:rPr>
              <a:t>455</a:t>
            </a:r>
            <a:r>
              <a:rPr b="1" spc="-53" dirty="0">
                <a:latin typeface="Arial" pitchFamily="34" charset="0"/>
                <a:cs typeface="Arial" pitchFamily="34" charset="0"/>
              </a:rPr>
              <a:t> </a:t>
            </a:r>
            <a:r>
              <a:rPr b="1" dirty="0">
                <a:latin typeface="Arial" pitchFamily="34" charset="0"/>
                <a:cs typeface="Arial" pitchFamily="34" charset="0"/>
              </a:rPr>
              <a:t>тыс.</a:t>
            </a:r>
            <a:endParaRPr dirty="0">
              <a:latin typeface="Arial" pitchFamily="34" charset="0"/>
              <a:cs typeface="Arial" pitchFamily="34" charset="0"/>
            </a:endParaRPr>
          </a:p>
          <a:p>
            <a:pPr marL="9525"/>
            <a:r>
              <a:rPr b="1" dirty="0">
                <a:latin typeface="Arial" pitchFamily="34" charset="0"/>
                <a:cs typeface="Arial" pitchFamily="34" charset="0"/>
              </a:rPr>
              <a:t>- </a:t>
            </a:r>
            <a:r>
              <a:rPr b="1" spc="-4" dirty="0">
                <a:latin typeface="Arial" pitchFamily="34" charset="0"/>
                <a:cs typeface="Arial" pitchFamily="34" charset="0"/>
              </a:rPr>
              <a:t>4263</a:t>
            </a:r>
            <a:r>
              <a:rPr b="1" spc="-53" dirty="0">
                <a:latin typeface="Arial" pitchFamily="34" charset="0"/>
                <a:cs typeface="Arial" pitchFamily="34" charset="0"/>
              </a:rPr>
              <a:t> </a:t>
            </a:r>
            <a:r>
              <a:rPr b="1" spc="-4" dirty="0">
                <a:latin typeface="Arial" pitchFamily="34" charset="0"/>
                <a:cs typeface="Arial" pitchFamily="34" charset="0"/>
              </a:rPr>
              <a:t>шт.</a:t>
            </a:r>
            <a:endParaRPr dirty="0">
              <a:latin typeface="Arial" pitchFamily="34" charset="0"/>
              <a:cs typeface="Arial" pitchFamily="34" charset="0"/>
            </a:endParaRPr>
          </a:p>
          <a:p>
            <a:pPr marL="9525"/>
            <a:r>
              <a:rPr b="1" dirty="0">
                <a:latin typeface="Arial" pitchFamily="34" charset="0"/>
                <a:cs typeface="Arial" pitchFamily="34" charset="0"/>
              </a:rPr>
              <a:t>-   </a:t>
            </a:r>
            <a:r>
              <a:rPr b="1" spc="-4" dirty="0">
                <a:latin typeface="Arial" pitchFamily="34" charset="0"/>
                <a:cs typeface="Arial" pitchFamily="34" charset="0"/>
              </a:rPr>
              <a:t>273</a:t>
            </a:r>
            <a:r>
              <a:rPr b="1" spc="-49" dirty="0">
                <a:latin typeface="Arial" pitchFamily="34" charset="0"/>
                <a:cs typeface="Arial" pitchFamily="34" charset="0"/>
              </a:rPr>
              <a:t> </a:t>
            </a:r>
            <a:r>
              <a:rPr b="1" dirty="0">
                <a:latin typeface="Arial" pitchFamily="34" charset="0"/>
                <a:cs typeface="Arial" pitchFamily="34" charset="0"/>
              </a:rPr>
              <a:t>шт.</a:t>
            </a:r>
            <a:endParaRPr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847618" y="3333931"/>
            <a:ext cx="2267678" cy="1732129"/>
            <a:chOff x="961076" y="3333931"/>
            <a:chExt cx="2267678" cy="1732129"/>
          </a:xfrm>
        </p:grpSpPr>
        <p:sp>
          <p:nvSpPr>
            <p:cNvPr id="56" name="object 8"/>
            <p:cNvSpPr/>
            <p:nvPr/>
          </p:nvSpPr>
          <p:spPr>
            <a:xfrm>
              <a:off x="1264033" y="3502557"/>
              <a:ext cx="907520" cy="750050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9"/>
            <p:cNvSpPr/>
            <p:nvPr/>
          </p:nvSpPr>
          <p:spPr>
            <a:xfrm>
              <a:off x="1556426" y="3333931"/>
              <a:ext cx="1446791" cy="1560806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10"/>
            <p:cNvSpPr/>
            <p:nvPr/>
          </p:nvSpPr>
          <p:spPr>
            <a:xfrm>
              <a:off x="1232310" y="3922099"/>
              <a:ext cx="1450929" cy="1143961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11"/>
            <p:cNvSpPr/>
            <p:nvPr/>
          </p:nvSpPr>
          <p:spPr>
            <a:xfrm>
              <a:off x="1294110" y="3530886"/>
              <a:ext cx="799941" cy="645277"/>
            </a:xfrm>
            <a:custGeom>
              <a:avLst/>
              <a:gdLst/>
              <a:ahLst/>
              <a:cxnLst/>
              <a:rect l="l" t="t" r="r" b="b"/>
              <a:pathLst>
                <a:path w="883919" h="728979">
                  <a:moveTo>
                    <a:pt x="323240" y="0"/>
                  </a:moveTo>
                  <a:lnTo>
                    <a:pt x="285187" y="30902"/>
                  </a:lnTo>
                  <a:lnTo>
                    <a:pt x="248964" y="63671"/>
                  </a:lnTo>
                  <a:lnTo>
                    <a:pt x="214626" y="98222"/>
                  </a:lnTo>
                  <a:lnTo>
                    <a:pt x="182233" y="134469"/>
                  </a:lnTo>
                  <a:lnTo>
                    <a:pt x="151842" y="172326"/>
                  </a:lnTo>
                  <a:lnTo>
                    <a:pt x="123510" y="211709"/>
                  </a:lnTo>
                  <a:lnTo>
                    <a:pt x="97296" y="252530"/>
                  </a:lnTo>
                  <a:lnTo>
                    <a:pt x="73256" y="294705"/>
                  </a:lnTo>
                  <a:lnTo>
                    <a:pt x="51449" y="338149"/>
                  </a:lnTo>
                  <a:lnTo>
                    <a:pt x="31932" y="382775"/>
                  </a:lnTo>
                  <a:lnTo>
                    <a:pt x="14763" y="428499"/>
                  </a:lnTo>
                  <a:lnTo>
                    <a:pt x="0" y="475234"/>
                  </a:lnTo>
                  <a:lnTo>
                    <a:pt x="883323" y="728560"/>
                  </a:lnTo>
                  <a:lnTo>
                    <a:pt x="323240" y="0"/>
                  </a:lnTo>
                  <a:close/>
                </a:path>
              </a:pathLst>
            </a:custGeom>
            <a:solidFill>
              <a:srgbClr val="BB8A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12"/>
            <p:cNvSpPr/>
            <p:nvPr/>
          </p:nvSpPr>
          <p:spPr>
            <a:xfrm>
              <a:off x="1294110" y="3530886"/>
              <a:ext cx="799941" cy="645277"/>
            </a:xfrm>
            <a:custGeom>
              <a:avLst/>
              <a:gdLst/>
              <a:ahLst/>
              <a:cxnLst/>
              <a:rect l="l" t="t" r="r" b="b"/>
              <a:pathLst>
                <a:path w="883919" h="728979">
                  <a:moveTo>
                    <a:pt x="0" y="475234"/>
                  </a:moveTo>
                  <a:lnTo>
                    <a:pt x="14763" y="428499"/>
                  </a:lnTo>
                  <a:lnTo>
                    <a:pt x="31932" y="382775"/>
                  </a:lnTo>
                  <a:lnTo>
                    <a:pt x="51449" y="338149"/>
                  </a:lnTo>
                  <a:lnTo>
                    <a:pt x="73256" y="294705"/>
                  </a:lnTo>
                  <a:lnTo>
                    <a:pt x="97296" y="252530"/>
                  </a:lnTo>
                  <a:lnTo>
                    <a:pt x="123510" y="211709"/>
                  </a:lnTo>
                  <a:lnTo>
                    <a:pt x="151842" y="172326"/>
                  </a:lnTo>
                  <a:lnTo>
                    <a:pt x="182233" y="134469"/>
                  </a:lnTo>
                  <a:lnTo>
                    <a:pt x="214626" y="98222"/>
                  </a:lnTo>
                  <a:lnTo>
                    <a:pt x="248964" y="63671"/>
                  </a:lnTo>
                  <a:lnTo>
                    <a:pt x="285187" y="30902"/>
                  </a:lnTo>
                  <a:lnTo>
                    <a:pt x="323240" y="0"/>
                  </a:lnTo>
                  <a:lnTo>
                    <a:pt x="883323" y="728560"/>
                  </a:lnTo>
                  <a:lnTo>
                    <a:pt x="0" y="475234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13"/>
            <p:cNvSpPr/>
            <p:nvPr/>
          </p:nvSpPr>
          <p:spPr>
            <a:xfrm>
              <a:off x="1586642" y="3362291"/>
              <a:ext cx="1338983" cy="1455807"/>
            </a:xfrm>
            <a:custGeom>
              <a:avLst/>
              <a:gdLst/>
              <a:ahLst/>
              <a:cxnLst/>
              <a:rect l="l" t="t" r="r" b="b"/>
              <a:pathLst>
                <a:path w="1479550" h="1644650">
                  <a:moveTo>
                    <a:pt x="565690" y="0"/>
                  </a:moveTo>
                  <a:lnTo>
                    <a:pt x="520087" y="818"/>
                  </a:lnTo>
                  <a:lnTo>
                    <a:pt x="474506" y="3900"/>
                  </a:lnTo>
                  <a:lnTo>
                    <a:pt x="429035" y="9256"/>
                  </a:lnTo>
                  <a:lnTo>
                    <a:pt x="383764" y="16897"/>
                  </a:lnTo>
                  <a:lnTo>
                    <a:pt x="338782" y="26837"/>
                  </a:lnTo>
                  <a:lnTo>
                    <a:pt x="294177" y="39085"/>
                  </a:lnTo>
                  <a:lnTo>
                    <a:pt x="250039" y="53655"/>
                  </a:lnTo>
                  <a:lnTo>
                    <a:pt x="206456" y="70557"/>
                  </a:lnTo>
                  <a:lnTo>
                    <a:pt x="163519" y="89803"/>
                  </a:lnTo>
                  <a:lnTo>
                    <a:pt x="121316" y="111405"/>
                  </a:lnTo>
                  <a:lnTo>
                    <a:pt x="79935" y="135375"/>
                  </a:lnTo>
                  <a:lnTo>
                    <a:pt x="39467" y="161724"/>
                  </a:lnTo>
                  <a:lnTo>
                    <a:pt x="0" y="190464"/>
                  </a:lnTo>
                  <a:lnTo>
                    <a:pt x="560082" y="919025"/>
                  </a:lnTo>
                  <a:lnTo>
                    <a:pt x="1124851" y="1644042"/>
                  </a:lnTo>
                  <a:lnTo>
                    <a:pt x="1162413" y="1613187"/>
                  </a:lnTo>
                  <a:lnTo>
                    <a:pt x="1197930" y="1580773"/>
                  </a:lnTo>
                  <a:lnTo>
                    <a:pt x="1231394" y="1546889"/>
                  </a:lnTo>
                  <a:lnTo>
                    <a:pt x="1262791" y="1511624"/>
                  </a:lnTo>
                  <a:lnTo>
                    <a:pt x="1292111" y="1475065"/>
                  </a:lnTo>
                  <a:lnTo>
                    <a:pt x="1319343" y="1437300"/>
                  </a:lnTo>
                  <a:lnTo>
                    <a:pt x="1344476" y="1398417"/>
                  </a:lnTo>
                  <a:lnTo>
                    <a:pt x="1367497" y="1358505"/>
                  </a:lnTo>
                  <a:lnTo>
                    <a:pt x="1388397" y="1317651"/>
                  </a:lnTo>
                  <a:lnTo>
                    <a:pt x="1407164" y="1275943"/>
                  </a:lnTo>
                  <a:lnTo>
                    <a:pt x="1423787" y="1233470"/>
                  </a:lnTo>
                  <a:lnTo>
                    <a:pt x="1438254" y="1190320"/>
                  </a:lnTo>
                  <a:lnTo>
                    <a:pt x="1450554" y="1146580"/>
                  </a:lnTo>
                  <a:lnTo>
                    <a:pt x="1460676" y="1102339"/>
                  </a:lnTo>
                  <a:lnTo>
                    <a:pt x="1468609" y="1057684"/>
                  </a:lnTo>
                  <a:lnTo>
                    <a:pt x="1474342" y="1012705"/>
                  </a:lnTo>
                  <a:lnTo>
                    <a:pt x="1477864" y="967488"/>
                  </a:lnTo>
                  <a:lnTo>
                    <a:pt x="1479163" y="922123"/>
                  </a:lnTo>
                  <a:lnTo>
                    <a:pt x="1478227" y="876696"/>
                  </a:lnTo>
                  <a:lnTo>
                    <a:pt x="1475047" y="831296"/>
                  </a:lnTo>
                  <a:lnTo>
                    <a:pt x="1469610" y="786011"/>
                  </a:lnTo>
                  <a:lnTo>
                    <a:pt x="1461906" y="740930"/>
                  </a:lnTo>
                  <a:lnTo>
                    <a:pt x="1451923" y="696139"/>
                  </a:lnTo>
                  <a:lnTo>
                    <a:pt x="1439651" y="651728"/>
                  </a:lnTo>
                  <a:lnTo>
                    <a:pt x="1425077" y="607784"/>
                  </a:lnTo>
                  <a:lnTo>
                    <a:pt x="1408190" y="564396"/>
                  </a:lnTo>
                  <a:lnTo>
                    <a:pt x="1388980" y="521651"/>
                  </a:lnTo>
                  <a:lnTo>
                    <a:pt x="1367436" y="479637"/>
                  </a:lnTo>
                  <a:lnTo>
                    <a:pt x="1343545" y="438443"/>
                  </a:lnTo>
                  <a:lnTo>
                    <a:pt x="1317297" y="398157"/>
                  </a:lnTo>
                  <a:lnTo>
                    <a:pt x="1288681" y="358866"/>
                  </a:lnTo>
                  <a:lnTo>
                    <a:pt x="1257921" y="320953"/>
                  </a:lnTo>
                  <a:lnTo>
                    <a:pt x="1225580" y="285092"/>
                  </a:lnTo>
                  <a:lnTo>
                    <a:pt x="1191746" y="251296"/>
                  </a:lnTo>
                  <a:lnTo>
                    <a:pt x="1156509" y="219575"/>
                  </a:lnTo>
                  <a:lnTo>
                    <a:pt x="1119957" y="189943"/>
                  </a:lnTo>
                  <a:lnTo>
                    <a:pt x="1082180" y="162409"/>
                  </a:lnTo>
                  <a:lnTo>
                    <a:pt x="1043266" y="136987"/>
                  </a:lnTo>
                  <a:lnTo>
                    <a:pt x="1003305" y="113687"/>
                  </a:lnTo>
                  <a:lnTo>
                    <a:pt x="962386" y="92521"/>
                  </a:lnTo>
                  <a:lnTo>
                    <a:pt x="920598" y="73502"/>
                  </a:lnTo>
                  <a:lnTo>
                    <a:pt x="878030" y="56640"/>
                  </a:lnTo>
                  <a:lnTo>
                    <a:pt x="834770" y="41947"/>
                  </a:lnTo>
                  <a:lnTo>
                    <a:pt x="790909" y="29436"/>
                  </a:lnTo>
                  <a:lnTo>
                    <a:pt x="746535" y="19116"/>
                  </a:lnTo>
                  <a:lnTo>
                    <a:pt x="701737" y="11002"/>
                  </a:lnTo>
                  <a:lnTo>
                    <a:pt x="656604" y="5103"/>
                  </a:lnTo>
                  <a:lnTo>
                    <a:pt x="611225" y="1431"/>
                  </a:lnTo>
                  <a:lnTo>
                    <a:pt x="565690" y="0"/>
                  </a:lnTo>
                  <a:close/>
                </a:path>
              </a:pathLst>
            </a:custGeom>
            <a:solidFill>
              <a:srgbClr val="FFDF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14"/>
            <p:cNvSpPr/>
            <p:nvPr/>
          </p:nvSpPr>
          <p:spPr>
            <a:xfrm>
              <a:off x="1586642" y="3362291"/>
              <a:ext cx="1338983" cy="1455807"/>
            </a:xfrm>
            <a:custGeom>
              <a:avLst/>
              <a:gdLst/>
              <a:ahLst/>
              <a:cxnLst/>
              <a:rect l="l" t="t" r="r" b="b"/>
              <a:pathLst>
                <a:path w="1479550" h="1644650">
                  <a:moveTo>
                    <a:pt x="0" y="190464"/>
                  </a:moveTo>
                  <a:lnTo>
                    <a:pt x="39467" y="161724"/>
                  </a:lnTo>
                  <a:lnTo>
                    <a:pt x="79935" y="135375"/>
                  </a:lnTo>
                  <a:lnTo>
                    <a:pt x="121316" y="111405"/>
                  </a:lnTo>
                  <a:lnTo>
                    <a:pt x="163519" y="89803"/>
                  </a:lnTo>
                  <a:lnTo>
                    <a:pt x="206456" y="70557"/>
                  </a:lnTo>
                  <a:lnTo>
                    <a:pt x="250039" y="53655"/>
                  </a:lnTo>
                  <a:lnTo>
                    <a:pt x="294177" y="39085"/>
                  </a:lnTo>
                  <a:lnTo>
                    <a:pt x="338782" y="26837"/>
                  </a:lnTo>
                  <a:lnTo>
                    <a:pt x="383764" y="16897"/>
                  </a:lnTo>
                  <a:lnTo>
                    <a:pt x="429035" y="9256"/>
                  </a:lnTo>
                  <a:lnTo>
                    <a:pt x="474506" y="3900"/>
                  </a:lnTo>
                  <a:lnTo>
                    <a:pt x="520087" y="818"/>
                  </a:lnTo>
                  <a:lnTo>
                    <a:pt x="565690" y="0"/>
                  </a:lnTo>
                  <a:lnTo>
                    <a:pt x="611225" y="1431"/>
                  </a:lnTo>
                  <a:lnTo>
                    <a:pt x="656604" y="5103"/>
                  </a:lnTo>
                  <a:lnTo>
                    <a:pt x="701737" y="11002"/>
                  </a:lnTo>
                  <a:lnTo>
                    <a:pt x="746535" y="19116"/>
                  </a:lnTo>
                  <a:lnTo>
                    <a:pt x="790909" y="29436"/>
                  </a:lnTo>
                  <a:lnTo>
                    <a:pt x="834770" y="41947"/>
                  </a:lnTo>
                  <a:lnTo>
                    <a:pt x="878030" y="56640"/>
                  </a:lnTo>
                  <a:lnTo>
                    <a:pt x="920598" y="73502"/>
                  </a:lnTo>
                  <a:lnTo>
                    <a:pt x="962386" y="92521"/>
                  </a:lnTo>
                  <a:lnTo>
                    <a:pt x="1003305" y="113687"/>
                  </a:lnTo>
                  <a:lnTo>
                    <a:pt x="1043266" y="136987"/>
                  </a:lnTo>
                  <a:lnTo>
                    <a:pt x="1082180" y="162409"/>
                  </a:lnTo>
                  <a:lnTo>
                    <a:pt x="1119957" y="189943"/>
                  </a:lnTo>
                  <a:lnTo>
                    <a:pt x="1156509" y="219575"/>
                  </a:lnTo>
                  <a:lnTo>
                    <a:pt x="1191746" y="251296"/>
                  </a:lnTo>
                  <a:lnTo>
                    <a:pt x="1225580" y="285092"/>
                  </a:lnTo>
                  <a:lnTo>
                    <a:pt x="1257921" y="320953"/>
                  </a:lnTo>
                  <a:lnTo>
                    <a:pt x="1288681" y="358866"/>
                  </a:lnTo>
                  <a:lnTo>
                    <a:pt x="1317297" y="398157"/>
                  </a:lnTo>
                  <a:lnTo>
                    <a:pt x="1343545" y="438443"/>
                  </a:lnTo>
                  <a:lnTo>
                    <a:pt x="1367436" y="479637"/>
                  </a:lnTo>
                  <a:lnTo>
                    <a:pt x="1388980" y="521651"/>
                  </a:lnTo>
                  <a:lnTo>
                    <a:pt x="1408190" y="564396"/>
                  </a:lnTo>
                  <a:lnTo>
                    <a:pt x="1425077" y="607784"/>
                  </a:lnTo>
                  <a:lnTo>
                    <a:pt x="1439651" y="651728"/>
                  </a:lnTo>
                  <a:lnTo>
                    <a:pt x="1451923" y="696139"/>
                  </a:lnTo>
                  <a:lnTo>
                    <a:pt x="1461906" y="740930"/>
                  </a:lnTo>
                  <a:lnTo>
                    <a:pt x="1469610" y="786011"/>
                  </a:lnTo>
                  <a:lnTo>
                    <a:pt x="1475047" y="831296"/>
                  </a:lnTo>
                  <a:lnTo>
                    <a:pt x="1478227" y="876696"/>
                  </a:lnTo>
                  <a:lnTo>
                    <a:pt x="1479163" y="922123"/>
                  </a:lnTo>
                  <a:lnTo>
                    <a:pt x="1477864" y="967488"/>
                  </a:lnTo>
                  <a:lnTo>
                    <a:pt x="1474342" y="1012705"/>
                  </a:lnTo>
                  <a:lnTo>
                    <a:pt x="1468609" y="1057684"/>
                  </a:lnTo>
                  <a:lnTo>
                    <a:pt x="1460676" y="1102339"/>
                  </a:lnTo>
                  <a:lnTo>
                    <a:pt x="1450554" y="1146580"/>
                  </a:lnTo>
                  <a:lnTo>
                    <a:pt x="1438254" y="1190320"/>
                  </a:lnTo>
                  <a:lnTo>
                    <a:pt x="1423787" y="1233470"/>
                  </a:lnTo>
                  <a:lnTo>
                    <a:pt x="1407164" y="1275943"/>
                  </a:lnTo>
                  <a:lnTo>
                    <a:pt x="1388397" y="1317651"/>
                  </a:lnTo>
                  <a:lnTo>
                    <a:pt x="1367497" y="1358505"/>
                  </a:lnTo>
                  <a:lnTo>
                    <a:pt x="1344476" y="1398417"/>
                  </a:lnTo>
                  <a:lnTo>
                    <a:pt x="1319343" y="1437300"/>
                  </a:lnTo>
                  <a:lnTo>
                    <a:pt x="1292111" y="1475065"/>
                  </a:lnTo>
                  <a:lnTo>
                    <a:pt x="1262791" y="1511624"/>
                  </a:lnTo>
                  <a:lnTo>
                    <a:pt x="1231394" y="1546889"/>
                  </a:lnTo>
                  <a:lnTo>
                    <a:pt x="1197930" y="1580773"/>
                  </a:lnTo>
                  <a:lnTo>
                    <a:pt x="1162413" y="1613187"/>
                  </a:lnTo>
                  <a:lnTo>
                    <a:pt x="1124851" y="1644042"/>
                  </a:lnTo>
                  <a:lnTo>
                    <a:pt x="560082" y="919025"/>
                  </a:lnTo>
                  <a:lnTo>
                    <a:pt x="0" y="190464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15"/>
            <p:cNvSpPr/>
            <p:nvPr/>
          </p:nvSpPr>
          <p:spPr>
            <a:xfrm>
              <a:off x="1261996" y="3951554"/>
              <a:ext cx="1343006" cy="1038176"/>
            </a:xfrm>
            <a:custGeom>
              <a:avLst/>
              <a:gdLst/>
              <a:ahLst/>
              <a:cxnLst/>
              <a:rect l="l" t="t" r="r" b="b"/>
              <a:pathLst>
                <a:path w="1483995" h="1172845">
                  <a:moveTo>
                    <a:pt x="35486" y="0"/>
                  </a:moveTo>
                  <a:lnTo>
                    <a:pt x="23286" y="47240"/>
                  </a:lnTo>
                  <a:lnTo>
                    <a:pt x="13656" y="94784"/>
                  </a:lnTo>
                  <a:lnTo>
                    <a:pt x="6577" y="142536"/>
                  </a:lnTo>
                  <a:lnTo>
                    <a:pt x="2031" y="190399"/>
                  </a:lnTo>
                  <a:lnTo>
                    <a:pt x="0" y="238276"/>
                  </a:lnTo>
                  <a:lnTo>
                    <a:pt x="463" y="286072"/>
                  </a:lnTo>
                  <a:lnTo>
                    <a:pt x="3403" y="333688"/>
                  </a:lnTo>
                  <a:lnTo>
                    <a:pt x="8801" y="381029"/>
                  </a:lnTo>
                  <a:lnTo>
                    <a:pt x="16638" y="427997"/>
                  </a:lnTo>
                  <a:lnTo>
                    <a:pt x="26895" y="474497"/>
                  </a:lnTo>
                  <a:lnTo>
                    <a:pt x="39554" y="520431"/>
                  </a:lnTo>
                  <a:lnTo>
                    <a:pt x="54596" y="565704"/>
                  </a:lnTo>
                  <a:lnTo>
                    <a:pt x="72003" y="610217"/>
                  </a:lnTo>
                  <a:lnTo>
                    <a:pt x="91755" y="653875"/>
                  </a:lnTo>
                  <a:lnTo>
                    <a:pt x="113833" y="696581"/>
                  </a:lnTo>
                  <a:lnTo>
                    <a:pt x="138220" y="738238"/>
                  </a:lnTo>
                  <a:lnTo>
                    <a:pt x="164896" y="778750"/>
                  </a:lnTo>
                  <a:lnTo>
                    <a:pt x="193843" y="818019"/>
                  </a:lnTo>
                  <a:lnTo>
                    <a:pt x="224838" y="855740"/>
                  </a:lnTo>
                  <a:lnTo>
                    <a:pt x="257402" y="891399"/>
                  </a:lnTo>
                  <a:lnTo>
                    <a:pt x="291447" y="924983"/>
                  </a:lnTo>
                  <a:lnTo>
                    <a:pt x="326881" y="956483"/>
                  </a:lnTo>
                  <a:lnTo>
                    <a:pt x="363617" y="985886"/>
                  </a:lnTo>
                  <a:lnTo>
                    <a:pt x="401566" y="1013182"/>
                  </a:lnTo>
                  <a:lnTo>
                    <a:pt x="440638" y="1038360"/>
                  </a:lnTo>
                  <a:lnTo>
                    <a:pt x="480743" y="1061408"/>
                  </a:lnTo>
                  <a:lnTo>
                    <a:pt x="521794" y="1082317"/>
                  </a:lnTo>
                  <a:lnTo>
                    <a:pt x="563701" y="1101073"/>
                  </a:lnTo>
                  <a:lnTo>
                    <a:pt x="606374" y="1117667"/>
                  </a:lnTo>
                  <a:lnTo>
                    <a:pt x="649725" y="1132088"/>
                  </a:lnTo>
                  <a:lnTo>
                    <a:pt x="693664" y="1144323"/>
                  </a:lnTo>
                  <a:lnTo>
                    <a:pt x="738103" y="1154363"/>
                  </a:lnTo>
                  <a:lnTo>
                    <a:pt x="782951" y="1162196"/>
                  </a:lnTo>
                  <a:lnTo>
                    <a:pt x="828121" y="1167811"/>
                  </a:lnTo>
                  <a:lnTo>
                    <a:pt x="873522" y="1171197"/>
                  </a:lnTo>
                  <a:lnTo>
                    <a:pt x="919067" y="1172343"/>
                  </a:lnTo>
                  <a:lnTo>
                    <a:pt x="964665" y="1171237"/>
                  </a:lnTo>
                  <a:lnTo>
                    <a:pt x="1010227" y="1167870"/>
                  </a:lnTo>
                  <a:lnTo>
                    <a:pt x="1055665" y="1162229"/>
                  </a:lnTo>
                  <a:lnTo>
                    <a:pt x="1100889" y="1154303"/>
                  </a:lnTo>
                  <a:lnTo>
                    <a:pt x="1145810" y="1144082"/>
                  </a:lnTo>
                  <a:lnTo>
                    <a:pt x="1190339" y="1131554"/>
                  </a:lnTo>
                  <a:lnTo>
                    <a:pt x="1234387" y="1116709"/>
                  </a:lnTo>
                  <a:lnTo>
                    <a:pt x="1277865" y="1099535"/>
                  </a:lnTo>
                  <a:lnTo>
                    <a:pt x="1320683" y="1080021"/>
                  </a:lnTo>
                  <a:lnTo>
                    <a:pt x="1362752" y="1058156"/>
                  </a:lnTo>
                  <a:lnTo>
                    <a:pt x="1403984" y="1033928"/>
                  </a:lnTo>
                  <a:lnTo>
                    <a:pt x="1444289" y="1007328"/>
                  </a:lnTo>
                  <a:lnTo>
                    <a:pt x="1483578" y="978344"/>
                  </a:lnTo>
                  <a:lnTo>
                    <a:pt x="918809" y="253326"/>
                  </a:lnTo>
                  <a:lnTo>
                    <a:pt x="35486" y="0"/>
                  </a:lnTo>
                  <a:close/>
                </a:path>
              </a:pathLst>
            </a:custGeom>
            <a:solidFill>
              <a:srgbClr val="EAAC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16"/>
            <p:cNvSpPr/>
            <p:nvPr/>
          </p:nvSpPr>
          <p:spPr>
            <a:xfrm>
              <a:off x="1261996" y="3951554"/>
              <a:ext cx="1343006" cy="1038176"/>
            </a:xfrm>
            <a:custGeom>
              <a:avLst/>
              <a:gdLst/>
              <a:ahLst/>
              <a:cxnLst/>
              <a:rect l="l" t="t" r="r" b="b"/>
              <a:pathLst>
                <a:path w="1483995" h="1172845">
                  <a:moveTo>
                    <a:pt x="1483578" y="978344"/>
                  </a:moveTo>
                  <a:lnTo>
                    <a:pt x="1444289" y="1007328"/>
                  </a:lnTo>
                  <a:lnTo>
                    <a:pt x="1403984" y="1033928"/>
                  </a:lnTo>
                  <a:lnTo>
                    <a:pt x="1362752" y="1058156"/>
                  </a:lnTo>
                  <a:lnTo>
                    <a:pt x="1320683" y="1080021"/>
                  </a:lnTo>
                  <a:lnTo>
                    <a:pt x="1277865" y="1099535"/>
                  </a:lnTo>
                  <a:lnTo>
                    <a:pt x="1234387" y="1116709"/>
                  </a:lnTo>
                  <a:lnTo>
                    <a:pt x="1190339" y="1131554"/>
                  </a:lnTo>
                  <a:lnTo>
                    <a:pt x="1145810" y="1144082"/>
                  </a:lnTo>
                  <a:lnTo>
                    <a:pt x="1100889" y="1154303"/>
                  </a:lnTo>
                  <a:lnTo>
                    <a:pt x="1055665" y="1162229"/>
                  </a:lnTo>
                  <a:lnTo>
                    <a:pt x="1010227" y="1167870"/>
                  </a:lnTo>
                  <a:lnTo>
                    <a:pt x="964665" y="1171237"/>
                  </a:lnTo>
                  <a:lnTo>
                    <a:pt x="919067" y="1172343"/>
                  </a:lnTo>
                  <a:lnTo>
                    <a:pt x="873522" y="1171197"/>
                  </a:lnTo>
                  <a:lnTo>
                    <a:pt x="828121" y="1167811"/>
                  </a:lnTo>
                  <a:lnTo>
                    <a:pt x="782951" y="1162196"/>
                  </a:lnTo>
                  <a:lnTo>
                    <a:pt x="738103" y="1154363"/>
                  </a:lnTo>
                  <a:lnTo>
                    <a:pt x="693664" y="1144323"/>
                  </a:lnTo>
                  <a:lnTo>
                    <a:pt x="649725" y="1132088"/>
                  </a:lnTo>
                  <a:lnTo>
                    <a:pt x="606374" y="1117667"/>
                  </a:lnTo>
                  <a:lnTo>
                    <a:pt x="563701" y="1101073"/>
                  </a:lnTo>
                  <a:lnTo>
                    <a:pt x="521794" y="1082317"/>
                  </a:lnTo>
                  <a:lnTo>
                    <a:pt x="480743" y="1061408"/>
                  </a:lnTo>
                  <a:lnTo>
                    <a:pt x="440638" y="1038360"/>
                  </a:lnTo>
                  <a:lnTo>
                    <a:pt x="401566" y="1013182"/>
                  </a:lnTo>
                  <a:lnTo>
                    <a:pt x="363617" y="985886"/>
                  </a:lnTo>
                  <a:lnTo>
                    <a:pt x="326881" y="956483"/>
                  </a:lnTo>
                  <a:lnTo>
                    <a:pt x="291447" y="924983"/>
                  </a:lnTo>
                  <a:lnTo>
                    <a:pt x="257402" y="891399"/>
                  </a:lnTo>
                  <a:lnTo>
                    <a:pt x="224838" y="855740"/>
                  </a:lnTo>
                  <a:lnTo>
                    <a:pt x="193843" y="818019"/>
                  </a:lnTo>
                  <a:lnTo>
                    <a:pt x="164896" y="778750"/>
                  </a:lnTo>
                  <a:lnTo>
                    <a:pt x="138220" y="738238"/>
                  </a:lnTo>
                  <a:lnTo>
                    <a:pt x="113833" y="696581"/>
                  </a:lnTo>
                  <a:lnTo>
                    <a:pt x="91755" y="653875"/>
                  </a:lnTo>
                  <a:lnTo>
                    <a:pt x="72003" y="610217"/>
                  </a:lnTo>
                  <a:lnTo>
                    <a:pt x="54596" y="565704"/>
                  </a:lnTo>
                  <a:lnTo>
                    <a:pt x="39554" y="520431"/>
                  </a:lnTo>
                  <a:lnTo>
                    <a:pt x="26895" y="474497"/>
                  </a:lnTo>
                  <a:lnTo>
                    <a:pt x="16638" y="427997"/>
                  </a:lnTo>
                  <a:lnTo>
                    <a:pt x="8801" y="381029"/>
                  </a:lnTo>
                  <a:lnTo>
                    <a:pt x="3403" y="333688"/>
                  </a:lnTo>
                  <a:lnTo>
                    <a:pt x="463" y="286072"/>
                  </a:lnTo>
                  <a:lnTo>
                    <a:pt x="0" y="238276"/>
                  </a:lnTo>
                  <a:lnTo>
                    <a:pt x="2031" y="190399"/>
                  </a:lnTo>
                  <a:lnTo>
                    <a:pt x="6577" y="142536"/>
                  </a:lnTo>
                  <a:lnTo>
                    <a:pt x="13656" y="94784"/>
                  </a:lnTo>
                  <a:lnTo>
                    <a:pt x="23286" y="47240"/>
                  </a:lnTo>
                  <a:lnTo>
                    <a:pt x="35486" y="0"/>
                  </a:lnTo>
                  <a:lnTo>
                    <a:pt x="918809" y="253326"/>
                  </a:lnTo>
                  <a:lnTo>
                    <a:pt x="1483578" y="978344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17"/>
            <p:cNvSpPr txBox="1"/>
            <p:nvPr/>
          </p:nvSpPr>
          <p:spPr>
            <a:xfrm>
              <a:off x="962730" y="3594509"/>
              <a:ext cx="334770" cy="194284"/>
            </a:xfrm>
            <a:prstGeom prst="rect">
              <a:avLst/>
            </a:prstGeom>
          </p:spPr>
          <p:txBody>
            <a:bodyPr vert="horz" wrap="square" lIns="0" tIns="9525" rIns="0" bIns="0" rtlCol="0">
              <a:spAutoFit/>
            </a:bodyPr>
            <a:lstStyle/>
            <a:p>
              <a:pPr marL="9525">
                <a:spcBef>
                  <a:spcPts val="75"/>
                </a:spcBef>
              </a:pPr>
              <a:r>
                <a:rPr sz="1200" b="1" dirty="0">
                  <a:latin typeface="Arial" pitchFamily="34" charset="0"/>
                  <a:cs typeface="Arial" pitchFamily="34" charset="0"/>
                </a:rPr>
                <a:t>К</a:t>
              </a:r>
              <a:r>
                <a:rPr sz="1200" b="1" spc="-4" dirty="0">
                  <a:latin typeface="Arial" pitchFamily="34" charset="0"/>
                  <a:cs typeface="Arial" pitchFamily="34" charset="0"/>
                </a:rPr>
                <a:t>Ф</a:t>
              </a:r>
              <a:r>
                <a:rPr sz="1200" b="1" dirty="0">
                  <a:latin typeface="Arial" pitchFamily="34" charset="0"/>
                  <a:cs typeface="Arial" pitchFamily="34" charset="0"/>
                </a:rPr>
                <a:t>Х</a:t>
              </a:r>
              <a:endParaRPr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object 18"/>
            <p:cNvSpPr/>
            <p:nvPr/>
          </p:nvSpPr>
          <p:spPr>
            <a:xfrm>
              <a:off x="1784524" y="3856448"/>
              <a:ext cx="643620" cy="663826"/>
            </a:xfrm>
            <a:custGeom>
              <a:avLst/>
              <a:gdLst/>
              <a:ahLst/>
              <a:cxnLst/>
              <a:rect l="l" t="t" r="r" b="b"/>
              <a:pathLst>
                <a:path w="813435" h="749935">
                  <a:moveTo>
                    <a:pt x="406514" y="0"/>
                  </a:moveTo>
                  <a:lnTo>
                    <a:pt x="355517" y="2921"/>
                  </a:lnTo>
                  <a:lnTo>
                    <a:pt x="306411" y="11452"/>
                  </a:lnTo>
                  <a:lnTo>
                    <a:pt x="259578" y="25241"/>
                  </a:lnTo>
                  <a:lnTo>
                    <a:pt x="215399" y="43935"/>
                  </a:lnTo>
                  <a:lnTo>
                    <a:pt x="174253" y="67184"/>
                  </a:lnTo>
                  <a:lnTo>
                    <a:pt x="136522" y="94636"/>
                  </a:lnTo>
                  <a:lnTo>
                    <a:pt x="102586" y="125938"/>
                  </a:lnTo>
                  <a:lnTo>
                    <a:pt x="72827" y="160741"/>
                  </a:lnTo>
                  <a:lnTo>
                    <a:pt x="47624" y="198691"/>
                  </a:lnTo>
                  <a:lnTo>
                    <a:pt x="27360" y="239438"/>
                  </a:lnTo>
                  <a:lnTo>
                    <a:pt x="12413" y="282630"/>
                  </a:lnTo>
                  <a:lnTo>
                    <a:pt x="3166" y="327915"/>
                  </a:lnTo>
                  <a:lnTo>
                    <a:pt x="0" y="374942"/>
                  </a:lnTo>
                  <a:lnTo>
                    <a:pt x="3166" y="421973"/>
                  </a:lnTo>
                  <a:lnTo>
                    <a:pt x="12413" y="467261"/>
                  </a:lnTo>
                  <a:lnTo>
                    <a:pt x="27360" y="510454"/>
                  </a:lnTo>
                  <a:lnTo>
                    <a:pt x="47624" y="551200"/>
                  </a:lnTo>
                  <a:lnTo>
                    <a:pt x="72827" y="589149"/>
                  </a:lnTo>
                  <a:lnTo>
                    <a:pt x="102586" y="623949"/>
                  </a:lnTo>
                  <a:lnTo>
                    <a:pt x="136522" y="655249"/>
                  </a:lnTo>
                  <a:lnTo>
                    <a:pt x="174253" y="682698"/>
                  </a:lnTo>
                  <a:lnTo>
                    <a:pt x="215399" y="705943"/>
                  </a:lnTo>
                  <a:lnTo>
                    <a:pt x="259578" y="724635"/>
                  </a:lnTo>
                  <a:lnTo>
                    <a:pt x="306411" y="738421"/>
                  </a:lnTo>
                  <a:lnTo>
                    <a:pt x="355517" y="746950"/>
                  </a:lnTo>
                  <a:lnTo>
                    <a:pt x="406514" y="749871"/>
                  </a:lnTo>
                  <a:lnTo>
                    <a:pt x="457511" y="746950"/>
                  </a:lnTo>
                  <a:lnTo>
                    <a:pt x="506617" y="738421"/>
                  </a:lnTo>
                  <a:lnTo>
                    <a:pt x="553451" y="724635"/>
                  </a:lnTo>
                  <a:lnTo>
                    <a:pt x="597632" y="705943"/>
                  </a:lnTo>
                  <a:lnTo>
                    <a:pt x="638779" y="682698"/>
                  </a:lnTo>
                  <a:lnTo>
                    <a:pt x="676512" y="655249"/>
                  </a:lnTo>
                  <a:lnTo>
                    <a:pt x="710449" y="623949"/>
                  </a:lnTo>
                  <a:lnTo>
                    <a:pt x="740209" y="589149"/>
                  </a:lnTo>
                  <a:lnTo>
                    <a:pt x="765413" y="551200"/>
                  </a:lnTo>
                  <a:lnTo>
                    <a:pt x="785679" y="510454"/>
                  </a:lnTo>
                  <a:lnTo>
                    <a:pt x="800626" y="467261"/>
                  </a:lnTo>
                  <a:lnTo>
                    <a:pt x="809874" y="421973"/>
                  </a:lnTo>
                  <a:lnTo>
                    <a:pt x="813041" y="374942"/>
                  </a:lnTo>
                  <a:lnTo>
                    <a:pt x="809874" y="327915"/>
                  </a:lnTo>
                  <a:lnTo>
                    <a:pt x="800626" y="282630"/>
                  </a:lnTo>
                  <a:lnTo>
                    <a:pt x="785679" y="239438"/>
                  </a:lnTo>
                  <a:lnTo>
                    <a:pt x="765413" y="198691"/>
                  </a:lnTo>
                  <a:lnTo>
                    <a:pt x="740209" y="160741"/>
                  </a:lnTo>
                  <a:lnTo>
                    <a:pt x="710449" y="125938"/>
                  </a:lnTo>
                  <a:lnTo>
                    <a:pt x="676512" y="94636"/>
                  </a:lnTo>
                  <a:lnTo>
                    <a:pt x="638779" y="67184"/>
                  </a:lnTo>
                  <a:lnTo>
                    <a:pt x="597632" y="43935"/>
                  </a:lnTo>
                  <a:lnTo>
                    <a:pt x="553451" y="25241"/>
                  </a:lnTo>
                  <a:lnTo>
                    <a:pt x="506617" y="11452"/>
                  </a:lnTo>
                  <a:lnTo>
                    <a:pt x="457511" y="2921"/>
                  </a:lnTo>
                  <a:lnTo>
                    <a:pt x="406514" y="0"/>
                  </a:lnTo>
                  <a:close/>
                </a:path>
              </a:pathLst>
            </a:custGeom>
            <a:solidFill>
              <a:srgbClr val="D6E3BC"/>
            </a:solidFill>
            <a:ln w="1270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20"/>
            <p:cNvSpPr txBox="1"/>
            <p:nvPr/>
          </p:nvSpPr>
          <p:spPr>
            <a:xfrm>
              <a:off x="1853278" y="3967549"/>
              <a:ext cx="517204" cy="459741"/>
            </a:xfrm>
            <a:prstGeom prst="rect">
              <a:avLst/>
            </a:prstGeom>
          </p:spPr>
          <p:txBody>
            <a:bodyPr vert="horz" wrap="square" lIns="0" tIns="36195" rIns="0" bIns="0" rtlCol="0">
              <a:spAutoFit/>
            </a:bodyPr>
            <a:lstStyle/>
            <a:p>
              <a:pPr marL="78104" marR="52388" indent="-20955">
                <a:lnSpc>
                  <a:spcPts val="1050"/>
                </a:lnSpc>
                <a:spcBef>
                  <a:spcPts val="285"/>
                </a:spcBef>
              </a:pPr>
              <a:r>
                <a:rPr sz="1200" b="1" dirty="0">
                  <a:latin typeface="Arial Narrow"/>
                  <a:cs typeface="Arial Narrow"/>
                </a:rPr>
                <a:t>В</a:t>
              </a:r>
              <a:r>
                <a:rPr sz="1200" b="1" spc="-8" dirty="0">
                  <a:latin typeface="Arial Narrow"/>
                  <a:cs typeface="Arial Narrow"/>
                </a:rPr>
                <a:t>с</a:t>
              </a:r>
              <a:r>
                <a:rPr sz="1200" b="1" spc="-4" dirty="0">
                  <a:latin typeface="Arial Narrow"/>
                  <a:cs typeface="Arial Narrow"/>
                </a:rPr>
                <a:t>е</a:t>
              </a:r>
              <a:r>
                <a:rPr sz="1200" b="1" dirty="0">
                  <a:latin typeface="Arial Narrow"/>
                  <a:cs typeface="Arial Narrow"/>
                </a:rPr>
                <a:t>го  </a:t>
              </a:r>
              <a:r>
                <a:rPr sz="1200" b="1" spc="-4" dirty="0">
                  <a:latin typeface="Arial Narrow"/>
                  <a:cs typeface="Arial Narrow"/>
                </a:rPr>
                <a:t>250,9</a:t>
              </a:r>
              <a:endParaRPr sz="1200" dirty="0">
                <a:latin typeface="Arial Narrow"/>
                <a:cs typeface="Arial Narrow"/>
              </a:endParaRPr>
            </a:p>
            <a:p>
              <a:pPr marL="9525">
                <a:lnSpc>
                  <a:spcPts val="1050"/>
                </a:lnSpc>
              </a:pPr>
              <a:r>
                <a:rPr sz="1100" b="1" spc="-8" dirty="0">
                  <a:latin typeface="Arial Narrow"/>
                  <a:cs typeface="Arial Narrow"/>
                </a:rPr>
                <a:t>(103,0%)</a:t>
              </a:r>
              <a:endParaRPr sz="1100" dirty="0">
                <a:latin typeface="Arial Narrow"/>
                <a:cs typeface="Arial Narrow"/>
              </a:endParaRPr>
            </a:p>
          </p:txBody>
        </p:sp>
        <p:sp>
          <p:nvSpPr>
            <p:cNvPr id="69" name="object 21"/>
            <p:cNvSpPr txBox="1"/>
            <p:nvPr/>
          </p:nvSpPr>
          <p:spPr>
            <a:xfrm>
              <a:off x="961076" y="4537445"/>
              <a:ext cx="329256" cy="194284"/>
            </a:xfrm>
            <a:prstGeom prst="rect">
              <a:avLst/>
            </a:prstGeom>
          </p:spPr>
          <p:txBody>
            <a:bodyPr vert="horz" wrap="square" lIns="0" tIns="9525" rIns="0" bIns="0" rtlCol="0">
              <a:spAutoFit/>
            </a:bodyPr>
            <a:lstStyle/>
            <a:p>
              <a:pPr marL="9525">
                <a:spcBef>
                  <a:spcPts val="75"/>
                </a:spcBef>
              </a:pPr>
              <a:r>
                <a:rPr sz="1200" b="1" spc="-4" dirty="0">
                  <a:latin typeface="Arial" pitchFamily="34" charset="0"/>
                  <a:cs typeface="Arial" pitchFamily="34" charset="0"/>
                </a:rPr>
                <a:t>Л</a:t>
              </a:r>
              <a:r>
                <a:rPr sz="1200" b="1" spc="-8" dirty="0">
                  <a:latin typeface="Arial" pitchFamily="34" charset="0"/>
                  <a:cs typeface="Arial" pitchFamily="34" charset="0"/>
                </a:rPr>
                <a:t>П</a:t>
              </a:r>
              <a:r>
                <a:rPr sz="1200" b="1" dirty="0">
                  <a:latin typeface="Arial" pitchFamily="34" charset="0"/>
                  <a:cs typeface="Arial" pitchFamily="34" charset="0"/>
                </a:rPr>
                <a:t>Х</a:t>
              </a:r>
              <a:endParaRPr sz="12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object 22"/>
            <p:cNvSpPr txBox="1"/>
            <p:nvPr/>
          </p:nvSpPr>
          <p:spPr>
            <a:xfrm>
              <a:off x="2889258" y="3614745"/>
              <a:ext cx="339496" cy="194284"/>
            </a:xfrm>
            <a:prstGeom prst="rect">
              <a:avLst/>
            </a:prstGeom>
          </p:spPr>
          <p:txBody>
            <a:bodyPr vert="horz" wrap="square" lIns="0" tIns="9525" rIns="0" bIns="0" rtlCol="0">
              <a:spAutoFit/>
            </a:bodyPr>
            <a:lstStyle/>
            <a:p>
              <a:pPr marL="9525">
                <a:spcBef>
                  <a:spcPts val="75"/>
                </a:spcBef>
              </a:pPr>
              <a:r>
                <a:rPr sz="1200" b="1" spc="-8" dirty="0">
                  <a:latin typeface="Arial" pitchFamily="34" charset="0"/>
                  <a:cs typeface="Arial" pitchFamily="34" charset="0"/>
                </a:rPr>
                <a:t>С</a:t>
              </a:r>
              <a:r>
                <a:rPr sz="1200" b="1" spc="-4" dirty="0">
                  <a:latin typeface="Arial" pitchFamily="34" charset="0"/>
                  <a:cs typeface="Arial" pitchFamily="34" charset="0"/>
                </a:rPr>
                <a:t>Х</a:t>
              </a:r>
              <a:r>
                <a:rPr sz="1200" b="1" dirty="0">
                  <a:latin typeface="Arial" pitchFamily="34" charset="0"/>
                  <a:cs typeface="Arial" pitchFamily="34" charset="0"/>
                </a:rPr>
                <a:t>О</a:t>
              </a:r>
              <a:endParaRPr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object 23"/>
            <p:cNvSpPr txBox="1"/>
            <p:nvPr/>
          </p:nvSpPr>
          <p:spPr>
            <a:xfrm>
              <a:off x="1277329" y="3688101"/>
              <a:ext cx="606485" cy="291747"/>
            </a:xfrm>
            <a:prstGeom prst="rect">
              <a:avLst/>
            </a:prstGeom>
          </p:spPr>
          <p:txBody>
            <a:bodyPr vert="horz" wrap="square" lIns="0" tIns="9525" rIns="0" bIns="0" rtlCol="0">
              <a:spAutoFit/>
            </a:bodyPr>
            <a:lstStyle/>
            <a:p>
              <a:pPr marR="20955" algn="ctr">
                <a:lnSpc>
                  <a:spcPts val="1050"/>
                </a:lnSpc>
              </a:pPr>
              <a:r>
                <a:rPr sz="1100" b="1" dirty="0">
                  <a:latin typeface="Arial Narrow"/>
                  <a:cs typeface="Arial Narrow"/>
                </a:rPr>
                <a:t>25,4</a:t>
              </a:r>
              <a:endParaRPr sz="1100" dirty="0">
                <a:latin typeface="Arial Narrow"/>
                <a:cs typeface="Arial Narrow"/>
              </a:endParaRPr>
            </a:p>
            <a:p>
              <a:pPr algn="ctr">
                <a:lnSpc>
                  <a:spcPts val="1050"/>
                </a:lnSpc>
              </a:pPr>
              <a:r>
                <a:rPr sz="1100" b="1" dirty="0">
                  <a:latin typeface="Arial Narrow"/>
                  <a:cs typeface="Arial Narrow"/>
                </a:rPr>
                <a:t>(120,</a:t>
              </a:r>
              <a:r>
                <a:rPr sz="1100" b="1" spc="4" dirty="0">
                  <a:latin typeface="Arial Narrow"/>
                  <a:cs typeface="Arial Narrow"/>
                </a:rPr>
                <a:t>8</a:t>
              </a:r>
              <a:r>
                <a:rPr sz="1100" b="1" dirty="0">
                  <a:latin typeface="Arial Narrow"/>
                  <a:cs typeface="Arial Narrow"/>
                </a:rPr>
                <a:t>%)</a:t>
              </a:r>
              <a:endParaRPr sz="1100" dirty="0">
                <a:latin typeface="Arial Narrow"/>
                <a:cs typeface="Arial Narrow"/>
              </a:endParaRPr>
            </a:p>
          </p:txBody>
        </p:sp>
        <p:sp>
          <p:nvSpPr>
            <p:cNvPr id="72" name="object 24"/>
            <p:cNvSpPr txBox="1"/>
            <p:nvPr/>
          </p:nvSpPr>
          <p:spPr>
            <a:xfrm>
              <a:off x="1516416" y="4403615"/>
              <a:ext cx="385355" cy="150682"/>
            </a:xfrm>
            <a:prstGeom prst="rect">
              <a:avLst/>
            </a:prstGeom>
          </p:spPr>
          <p:txBody>
            <a:bodyPr vert="horz" wrap="square" lIns="0" tIns="9525" rIns="0" bIns="0" rtlCol="0">
              <a:spAutoFit/>
            </a:bodyPr>
            <a:lstStyle/>
            <a:p>
              <a:pPr marL="9525">
                <a:lnSpc>
                  <a:spcPts val="1050"/>
                </a:lnSpc>
              </a:pPr>
              <a:r>
                <a:rPr sz="1100" b="1" dirty="0">
                  <a:latin typeface="Arial Narrow"/>
                  <a:cs typeface="Arial Narrow"/>
                </a:rPr>
                <a:t>100,3</a:t>
              </a:r>
              <a:endParaRPr sz="1100" dirty="0">
                <a:latin typeface="Arial Narrow"/>
                <a:cs typeface="Arial Narrow"/>
              </a:endParaRPr>
            </a:p>
          </p:txBody>
        </p:sp>
        <p:sp>
          <p:nvSpPr>
            <p:cNvPr id="73" name="object 25"/>
            <p:cNvSpPr txBox="1"/>
            <p:nvPr/>
          </p:nvSpPr>
          <p:spPr>
            <a:xfrm>
              <a:off x="1462971" y="4540199"/>
              <a:ext cx="527253" cy="150682"/>
            </a:xfrm>
            <a:prstGeom prst="rect">
              <a:avLst/>
            </a:prstGeom>
          </p:spPr>
          <p:txBody>
            <a:bodyPr vert="horz" wrap="square" lIns="0" tIns="9525" rIns="0" bIns="0" rtlCol="0">
              <a:spAutoFit/>
            </a:bodyPr>
            <a:lstStyle/>
            <a:p>
              <a:pPr marL="9525">
                <a:lnSpc>
                  <a:spcPts val="1050"/>
                </a:lnSpc>
              </a:pPr>
              <a:r>
                <a:rPr sz="1100" b="1" dirty="0">
                  <a:latin typeface="Arial Narrow"/>
                  <a:cs typeface="Arial Narrow"/>
                </a:rPr>
                <a:t>(97,</a:t>
              </a:r>
              <a:r>
                <a:rPr sz="1100" b="1" spc="4" dirty="0">
                  <a:latin typeface="Arial Narrow"/>
                  <a:cs typeface="Arial Narrow"/>
                </a:rPr>
                <a:t>1</a:t>
              </a:r>
              <a:r>
                <a:rPr sz="1100" b="1" dirty="0">
                  <a:latin typeface="Arial Narrow"/>
                  <a:cs typeface="Arial Narrow"/>
                </a:rPr>
                <a:t>%)</a:t>
              </a:r>
              <a:endParaRPr sz="1100" dirty="0">
                <a:latin typeface="Arial Narrow"/>
                <a:cs typeface="Arial Narrow"/>
              </a:endParaRPr>
            </a:p>
          </p:txBody>
        </p:sp>
        <p:sp>
          <p:nvSpPr>
            <p:cNvPr id="75" name="object 26"/>
            <p:cNvSpPr txBox="1"/>
            <p:nvPr/>
          </p:nvSpPr>
          <p:spPr>
            <a:xfrm>
              <a:off x="2367730" y="3714021"/>
              <a:ext cx="606485" cy="291747"/>
            </a:xfrm>
            <a:prstGeom prst="rect">
              <a:avLst/>
            </a:prstGeom>
          </p:spPr>
          <p:txBody>
            <a:bodyPr vert="horz" wrap="square" lIns="0" tIns="9525" rIns="0" bIns="0" rtlCol="0">
              <a:spAutoFit/>
            </a:bodyPr>
            <a:lstStyle/>
            <a:p>
              <a:pPr marL="68580">
                <a:lnSpc>
                  <a:spcPts val="1050"/>
                </a:lnSpc>
              </a:pPr>
              <a:r>
                <a:rPr sz="1100" b="1" dirty="0">
                  <a:latin typeface="Arial Narrow"/>
                  <a:cs typeface="Arial Narrow"/>
                </a:rPr>
                <a:t>125,2</a:t>
              </a:r>
              <a:endParaRPr sz="1100" dirty="0">
                <a:latin typeface="Arial Narrow"/>
                <a:cs typeface="Arial Narrow"/>
              </a:endParaRPr>
            </a:p>
            <a:p>
              <a:pPr marL="9525">
                <a:lnSpc>
                  <a:spcPts val="1050"/>
                </a:lnSpc>
              </a:pPr>
              <a:r>
                <a:rPr sz="1100" b="1" dirty="0">
                  <a:latin typeface="Arial Narrow"/>
                  <a:cs typeface="Arial Narrow"/>
                </a:rPr>
                <a:t>(105,</a:t>
              </a:r>
              <a:r>
                <a:rPr sz="1100" b="1" spc="4" dirty="0">
                  <a:latin typeface="Arial Narrow"/>
                  <a:cs typeface="Arial Narrow"/>
                </a:rPr>
                <a:t>2</a:t>
              </a:r>
              <a:r>
                <a:rPr sz="1100" b="1" dirty="0">
                  <a:latin typeface="Arial Narrow"/>
                  <a:cs typeface="Arial Narrow"/>
                </a:rPr>
                <a:t>%)</a:t>
              </a:r>
              <a:endParaRPr sz="1100" dirty="0">
                <a:latin typeface="Arial Narrow"/>
                <a:cs typeface="Arial Narrow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3474739" y="1835061"/>
            <a:ext cx="5669257" cy="3315162"/>
            <a:chOff x="3255649" y="1706945"/>
            <a:chExt cx="5888348" cy="3443278"/>
          </a:xfrm>
        </p:grpSpPr>
        <p:sp>
          <p:nvSpPr>
            <p:cNvPr id="76" name="object 29"/>
            <p:cNvSpPr/>
            <p:nvPr/>
          </p:nvSpPr>
          <p:spPr>
            <a:xfrm>
              <a:off x="5201869" y="3495572"/>
              <a:ext cx="1609538" cy="1134180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30"/>
            <p:cNvSpPr/>
            <p:nvPr/>
          </p:nvSpPr>
          <p:spPr>
            <a:xfrm>
              <a:off x="5725394" y="4629742"/>
              <a:ext cx="1086047" cy="520470"/>
            </a:xfrm>
            <a:prstGeom prst="rect">
              <a:avLst/>
            </a:pr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31"/>
            <p:cNvSpPr/>
            <p:nvPr/>
          </p:nvSpPr>
          <p:spPr>
            <a:xfrm>
              <a:off x="6811408" y="2974978"/>
              <a:ext cx="2332589" cy="2175245"/>
            </a:xfrm>
            <a:prstGeom prst="rect">
              <a:avLst/>
            </a:pr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" name="Группа 1"/>
            <p:cNvGrpSpPr/>
            <p:nvPr/>
          </p:nvGrpSpPr>
          <p:grpSpPr>
            <a:xfrm>
              <a:off x="3255649" y="1706945"/>
              <a:ext cx="4038003" cy="2353700"/>
              <a:chOff x="4340865" y="2275927"/>
              <a:chExt cx="5384004" cy="3138266"/>
            </a:xfrm>
          </p:grpSpPr>
          <p:sp>
            <p:nvSpPr>
              <p:cNvPr id="79" name="object 32"/>
              <p:cNvSpPr/>
              <p:nvPr/>
            </p:nvSpPr>
            <p:spPr>
              <a:xfrm>
                <a:off x="4408512" y="4252222"/>
                <a:ext cx="625300" cy="490139"/>
              </a:xfrm>
              <a:prstGeom prst="rect">
                <a:avLst/>
              </a:prstGeom>
              <a:blipFill>
                <a:blip r:embed="rId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0" name="object 33"/>
              <p:cNvSpPr/>
              <p:nvPr/>
            </p:nvSpPr>
            <p:spPr>
              <a:xfrm>
                <a:off x="5277256" y="3013271"/>
                <a:ext cx="4124305" cy="2400922"/>
              </a:xfrm>
              <a:prstGeom prst="rect">
                <a:avLst/>
              </a:prstGeom>
              <a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1" name="object 34"/>
              <p:cNvSpPr/>
              <p:nvPr/>
            </p:nvSpPr>
            <p:spPr>
              <a:xfrm>
                <a:off x="5174585" y="3002017"/>
                <a:ext cx="4150656" cy="1708747"/>
              </a:xfrm>
              <a:custGeom>
                <a:avLst/>
                <a:gdLst/>
                <a:ahLst/>
                <a:cxnLst/>
                <a:rect l="l" t="t" r="r" b="b"/>
                <a:pathLst>
                  <a:path w="3439795" h="1447800">
                    <a:moveTo>
                      <a:pt x="34545" y="1425574"/>
                    </a:moveTo>
                    <a:lnTo>
                      <a:pt x="28064" y="1435099"/>
                    </a:lnTo>
                    <a:lnTo>
                      <a:pt x="17272" y="1435099"/>
                    </a:lnTo>
                    <a:lnTo>
                      <a:pt x="19432" y="1447799"/>
                    </a:lnTo>
                    <a:lnTo>
                      <a:pt x="34545" y="1435099"/>
                    </a:lnTo>
                    <a:lnTo>
                      <a:pt x="34545" y="1425574"/>
                    </a:lnTo>
                    <a:close/>
                  </a:path>
                  <a:path w="3439795" h="1447800">
                    <a:moveTo>
                      <a:pt x="34545" y="1435099"/>
                    </a:moveTo>
                    <a:lnTo>
                      <a:pt x="19432" y="1447799"/>
                    </a:lnTo>
                    <a:lnTo>
                      <a:pt x="23744" y="1447799"/>
                    </a:lnTo>
                    <a:lnTo>
                      <a:pt x="34545" y="1435099"/>
                    </a:lnTo>
                    <a:close/>
                  </a:path>
                  <a:path w="3439795" h="1447800">
                    <a:moveTo>
                      <a:pt x="36705" y="1422399"/>
                    </a:moveTo>
                    <a:lnTo>
                      <a:pt x="34545" y="1425574"/>
                    </a:lnTo>
                    <a:lnTo>
                      <a:pt x="34545" y="1435099"/>
                    </a:lnTo>
                    <a:lnTo>
                      <a:pt x="23744" y="1447799"/>
                    </a:lnTo>
                    <a:lnTo>
                      <a:pt x="35085" y="1438274"/>
                    </a:lnTo>
                    <a:lnTo>
                      <a:pt x="36705" y="1435099"/>
                    </a:lnTo>
                    <a:lnTo>
                      <a:pt x="36705" y="1422399"/>
                    </a:lnTo>
                    <a:close/>
                  </a:path>
                  <a:path w="3439795" h="1447800">
                    <a:moveTo>
                      <a:pt x="35085" y="1438274"/>
                    </a:moveTo>
                    <a:lnTo>
                      <a:pt x="23744" y="1447799"/>
                    </a:lnTo>
                    <a:lnTo>
                      <a:pt x="30225" y="1447799"/>
                    </a:lnTo>
                    <a:lnTo>
                      <a:pt x="35085" y="1438274"/>
                    </a:lnTo>
                    <a:close/>
                  </a:path>
                  <a:path w="3439795" h="1447800">
                    <a:moveTo>
                      <a:pt x="41026" y="1435099"/>
                    </a:moveTo>
                    <a:lnTo>
                      <a:pt x="38865" y="1435099"/>
                    </a:lnTo>
                    <a:lnTo>
                      <a:pt x="35085" y="1438274"/>
                    </a:lnTo>
                    <a:lnTo>
                      <a:pt x="30225" y="1447799"/>
                    </a:lnTo>
                    <a:lnTo>
                      <a:pt x="38865" y="1447799"/>
                    </a:lnTo>
                    <a:lnTo>
                      <a:pt x="41026" y="1435099"/>
                    </a:lnTo>
                    <a:close/>
                  </a:path>
                  <a:path w="3439795" h="1447800">
                    <a:moveTo>
                      <a:pt x="43177" y="1435099"/>
                    </a:moveTo>
                    <a:lnTo>
                      <a:pt x="41026" y="1435099"/>
                    </a:lnTo>
                    <a:lnTo>
                      <a:pt x="38865" y="1447799"/>
                    </a:lnTo>
                    <a:lnTo>
                      <a:pt x="43177" y="1435099"/>
                    </a:lnTo>
                    <a:close/>
                  </a:path>
                  <a:path w="3439795" h="1447800">
                    <a:moveTo>
                      <a:pt x="49657" y="1435099"/>
                    </a:moveTo>
                    <a:lnTo>
                      <a:pt x="43177" y="1435099"/>
                    </a:lnTo>
                    <a:lnTo>
                      <a:pt x="38865" y="1447799"/>
                    </a:lnTo>
                    <a:lnTo>
                      <a:pt x="49657" y="1447799"/>
                    </a:lnTo>
                    <a:lnTo>
                      <a:pt x="49657" y="1435099"/>
                    </a:lnTo>
                    <a:close/>
                  </a:path>
                  <a:path w="3439795" h="1447800">
                    <a:moveTo>
                      <a:pt x="51818" y="1435099"/>
                    </a:moveTo>
                    <a:lnTo>
                      <a:pt x="49657" y="1435099"/>
                    </a:lnTo>
                    <a:lnTo>
                      <a:pt x="49657" y="1447799"/>
                    </a:lnTo>
                    <a:lnTo>
                      <a:pt x="51818" y="1447799"/>
                    </a:lnTo>
                    <a:lnTo>
                      <a:pt x="51818" y="1435099"/>
                    </a:lnTo>
                    <a:close/>
                  </a:path>
                  <a:path w="3439795" h="1447800">
                    <a:moveTo>
                      <a:pt x="38865" y="1435099"/>
                    </a:moveTo>
                    <a:lnTo>
                      <a:pt x="36705" y="1435099"/>
                    </a:lnTo>
                    <a:lnTo>
                      <a:pt x="35085" y="1438274"/>
                    </a:lnTo>
                    <a:lnTo>
                      <a:pt x="38865" y="1435099"/>
                    </a:lnTo>
                    <a:close/>
                  </a:path>
                  <a:path w="3439795" h="1447800">
                    <a:moveTo>
                      <a:pt x="25904" y="1422399"/>
                    </a:moveTo>
                    <a:lnTo>
                      <a:pt x="15112" y="1422399"/>
                    </a:lnTo>
                    <a:lnTo>
                      <a:pt x="15112" y="1435099"/>
                    </a:lnTo>
                    <a:lnTo>
                      <a:pt x="25904" y="1435099"/>
                    </a:lnTo>
                    <a:lnTo>
                      <a:pt x="25904" y="1422399"/>
                    </a:lnTo>
                    <a:close/>
                  </a:path>
                  <a:path w="3439795" h="1447800">
                    <a:moveTo>
                      <a:pt x="34545" y="1422399"/>
                    </a:moveTo>
                    <a:lnTo>
                      <a:pt x="25904" y="1422399"/>
                    </a:lnTo>
                    <a:lnTo>
                      <a:pt x="25904" y="1435099"/>
                    </a:lnTo>
                    <a:lnTo>
                      <a:pt x="28064" y="1435099"/>
                    </a:lnTo>
                    <a:lnTo>
                      <a:pt x="34545" y="1425574"/>
                    </a:lnTo>
                    <a:lnTo>
                      <a:pt x="34545" y="1422399"/>
                    </a:lnTo>
                    <a:close/>
                  </a:path>
                  <a:path w="3439795" h="1447800">
                    <a:moveTo>
                      <a:pt x="237479" y="1409699"/>
                    </a:moveTo>
                    <a:lnTo>
                      <a:pt x="233159" y="1409699"/>
                    </a:lnTo>
                    <a:lnTo>
                      <a:pt x="226678" y="1422399"/>
                    </a:lnTo>
                    <a:lnTo>
                      <a:pt x="233159" y="1435099"/>
                    </a:lnTo>
                    <a:lnTo>
                      <a:pt x="237479" y="1435099"/>
                    </a:lnTo>
                    <a:lnTo>
                      <a:pt x="237479" y="1409699"/>
                    </a:lnTo>
                    <a:close/>
                  </a:path>
                  <a:path w="3439795" h="1447800">
                    <a:moveTo>
                      <a:pt x="241800" y="1409699"/>
                    </a:moveTo>
                    <a:lnTo>
                      <a:pt x="237479" y="1409699"/>
                    </a:lnTo>
                    <a:lnTo>
                      <a:pt x="237479" y="1435099"/>
                    </a:lnTo>
                    <a:lnTo>
                      <a:pt x="241800" y="1409699"/>
                    </a:lnTo>
                    <a:close/>
                  </a:path>
                  <a:path w="3439795" h="1447800">
                    <a:moveTo>
                      <a:pt x="243960" y="1409699"/>
                    </a:moveTo>
                    <a:lnTo>
                      <a:pt x="241800" y="1409699"/>
                    </a:lnTo>
                    <a:lnTo>
                      <a:pt x="237479" y="1435099"/>
                    </a:lnTo>
                    <a:lnTo>
                      <a:pt x="243960" y="1435099"/>
                    </a:lnTo>
                    <a:lnTo>
                      <a:pt x="243960" y="1409699"/>
                    </a:lnTo>
                    <a:close/>
                  </a:path>
                  <a:path w="3439795" h="1447800">
                    <a:moveTo>
                      <a:pt x="250441" y="1409699"/>
                    </a:moveTo>
                    <a:lnTo>
                      <a:pt x="243960" y="1409699"/>
                    </a:lnTo>
                    <a:lnTo>
                      <a:pt x="243960" y="1435099"/>
                    </a:lnTo>
                    <a:lnTo>
                      <a:pt x="256921" y="1435099"/>
                    </a:lnTo>
                    <a:lnTo>
                      <a:pt x="246120" y="1422399"/>
                    </a:lnTo>
                    <a:lnTo>
                      <a:pt x="250441" y="1409699"/>
                    </a:lnTo>
                    <a:close/>
                  </a:path>
                  <a:path w="3439795" h="1447800">
                    <a:moveTo>
                      <a:pt x="250441" y="1409699"/>
                    </a:moveTo>
                    <a:lnTo>
                      <a:pt x="246120" y="1422399"/>
                    </a:lnTo>
                    <a:lnTo>
                      <a:pt x="256921" y="1435099"/>
                    </a:lnTo>
                    <a:lnTo>
                      <a:pt x="253681" y="1422399"/>
                    </a:lnTo>
                    <a:lnTo>
                      <a:pt x="250441" y="1422399"/>
                    </a:lnTo>
                    <a:lnTo>
                      <a:pt x="250441" y="1409699"/>
                    </a:lnTo>
                    <a:close/>
                  </a:path>
                  <a:path w="3439795" h="1447800">
                    <a:moveTo>
                      <a:pt x="254761" y="1416049"/>
                    </a:moveTo>
                    <a:lnTo>
                      <a:pt x="252797" y="1418936"/>
                    </a:lnTo>
                    <a:lnTo>
                      <a:pt x="256921" y="1435099"/>
                    </a:lnTo>
                    <a:lnTo>
                      <a:pt x="261242" y="1422399"/>
                    </a:lnTo>
                    <a:lnTo>
                      <a:pt x="254761" y="1422399"/>
                    </a:lnTo>
                    <a:lnTo>
                      <a:pt x="254761" y="1416049"/>
                    </a:lnTo>
                    <a:close/>
                  </a:path>
                  <a:path w="3439795" h="1447800">
                    <a:moveTo>
                      <a:pt x="32385" y="1413330"/>
                    </a:moveTo>
                    <a:lnTo>
                      <a:pt x="32385" y="1422399"/>
                    </a:lnTo>
                    <a:lnTo>
                      <a:pt x="34545" y="1422399"/>
                    </a:lnTo>
                    <a:lnTo>
                      <a:pt x="34545" y="1425574"/>
                    </a:lnTo>
                    <a:lnTo>
                      <a:pt x="36705" y="1422399"/>
                    </a:lnTo>
                    <a:lnTo>
                      <a:pt x="36705" y="1416961"/>
                    </a:lnTo>
                    <a:lnTo>
                      <a:pt x="32385" y="1413330"/>
                    </a:lnTo>
                    <a:close/>
                  </a:path>
                  <a:path w="3439795" h="1447800">
                    <a:moveTo>
                      <a:pt x="28064" y="1409699"/>
                    </a:moveTo>
                    <a:lnTo>
                      <a:pt x="17272" y="1409699"/>
                    </a:lnTo>
                    <a:lnTo>
                      <a:pt x="17272" y="1422399"/>
                    </a:lnTo>
                    <a:lnTo>
                      <a:pt x="28064" y="1422399"/>
                    </a:lnTo>
                    <a:lnTo>
                      <a:pt x="28064" y="1409699"/>
                    </a:lnTo>
                    <a:close/>
                  </a:path>
                  <a:path w="3439795" h="1447800">
                    <a:moveTo>
                      <a:pt x="28064" y="1409699"/>
                    </a:moveTo>
                    <a:lnTo>
                      <a:pt x="28064" y="1422399"/>
                    </a:lnTo>
                    <a:lnTo>
                      <a:pt x="32385" y="1422399"/>
                    </a:lnTo>
                    <a:lnTo>
                      <a:pt x="32382" y="1413328"/>
                    </a:lnTo>
                    <a:lnTo>
                      <a:pt x="28064" y="1409699"/>
                    </a:lnTo>
                    <a:close/>
                  </a:path>
                  <a:path w="3439795" h="1447800">
                    <a:moveTo>
                      <a:pt x="36705" y="1416961"/>
                    </a:moveTo>
                    <a:lnTo>
                      <a:pt x="36705" y="1422399"/>
                    </a:lnTo>
                    <a:lnTo>
                      <a:pt x="41026" y="1422399"/>
                    </a:lnTo>
                    <a:lnTo>
                      <a:pt x="39411" y="1419234"/>
                    </a:lnTo>
                    <a:lnTo>
                      <a:pt x="36705" y="1416961"/>
                    </a:lnTo>
                    <a:close/>
                  </a:path>
                  <a:path w="3439795" h="1447800">
                    <a:moveTo>
                      <a:pt x="39411" y="1419234"/>
                    </a:moveTo>
                    <a:lnTo>
                      <a:pt x="41026" y="1422399"/>
                    </a:lnTo>
                    <a:lnTo>
                      <a:pt x="43177" y="1422399"/>
                    </a:lnTo>
                    <a:lnTo>
                      <a:pt x="39411" y="1419234"/>
                    </a:lnTo>
                    <a:close/>
                  </a:path>
                  <a:path w="3439795" h="1447800">
                    <a:moveTo>
                      <a:pt x="36705" y="1412242"/>
                    </a:moveTo>
                    <a:lnTo>
                      <a:pt x="36705" y="1413933"/>
                    </a:lnTo>
                    <a:lnTo>
                      <a:pt x="39411" y="1419234"/>
                    </a:lnTo>
                    <a:lnTo>
                      <a:pt x="43177" y="1422399"/>
                    </a:lnTo>
                    <a:lnTo>
                      <a:pt x="39941" y="1416049"/>
                    </a:lnTo>
                    <a:lnTo>
                      <a:pt x="36705" y="1412242"/>
                    </a:lnTo>
                    <a:close/>
                  </a:path>
                  <a:path w="3439795" h="1447800">
                    <a:moveTo>
                      <a:pt x="39941" y="1416049"/>
                    </a:moveTo>
                    <a:lnTo>
                      <a:pt x="43177" y="1422399"/>
                    </a:lnTo>
                    <a:lnTo>
                      <a:pt x="45337" y="1422399"/>
                    </a:lnTo>
                    <a:lnTo>
                      <a:pt x="39941" y="1416049"/>
                    </a:lnTo>
                    <a:close/>
                  </a:path>
                  <a:path w="3439795" h="1447800">
                    <a:moveTo>
                      <a:pt x="36705" y="1409699"/>
                    </a:moveTo>
                    <a:lnTo>
                      <a:pt x="39941" y="1416049"/>
                    </a:lnTo>
                    <a:lnTo>
                      <a:pt x="45337" y="1422399"/>
                    </a:lnTo>
                    <a:lnTo>
                      <a:pt x="47497" y="1422399"/>
                    </a:lnTo>
                    <a:lnTo>
                      <a:pt x="36705" y="1409699"/>
                    </a:lnTo>
                    <a:close/>
                  </a:path>
                  <a:path w="3439795" h="1447800">
                    <a:moveTo>
                      <a:pt x="39945" y="1400176"/>
                    </a:moveTo>
                    <a:lnTo>
                      <a:pt x="36705" y="1409699"/>
                    </a:lnTo>
                    <a:lnTo>
                      <a:pt x="47497" y="1422399"/>
                    </a:lnTo>
                    <a:lnTo>
                      <a:pt x="43181" y="1409699"/>
                    </a:lnTo>
                    <a:lnTo>
                      <a:pt x="41026" y="1409699"/>
                    </a:lnTo>
                    <a:lnTo>
                      <a:pt x="42103" y="1406526"/>
                    </a:lnTo>
                    <a:lnTo>
                      <a:pt x="39945" y="1400176"/>
                    </a:lnTo>
                    <a:close/>
                  </a:path>
                  <a:path w="3439795" h="1447800">
                    <a:moveTo>
                      <a:pt x="43898" y="1401239"/>
                    </a:moveTo>
                    <a:lnTo>
                      <a:pt x="42103" y="1406526"/>
                    </a:lnTo>
                    <a:lnTo>
                      <a:pt x="47497" y="1422399"/>
                    </a:lnTo>
                    <a:lnTo>
                      <a:pt x="43898" y="1401239"/>
                    </a:lnTo>
                    <a:close/>
                  </a:path>
                  <a:path w="3439795" h="1447800">
                    <a:moveTo>
                      <a:pt x="44104" y="1400632"/>
                    </a:moveTo>
                    <a:lnTo>
                      <a:pt x="43898" y="1401239"/>
                    </a:lnTo>
                    <a:lnTo>
                      <a:pt x="47497" y="1422399"/>
                    </a:lnTo>
                    <a:lnTo>
                      <a:pt x="49657" y="1422399"/>
                    </a:lnTo>
                    <a:lnTo>
                      <a:pt x="44104" y="1400632"/>
                    </a:lnTo>
                    <a:close/>
                  </a:path>
                  <a:path w="3439795" h="1447800">
                    <a:moveTo>
                      <a:pt x="45337" y="1396999"/>
                    </a:moveTo>
                    <a:lnTo>
                      <a:pt x="44104" y="1400632"/>
                    </a:lnTo>
                    <a:lnTo>
                      <a:pt x="49657" y="1422399"/>
                    </a:lnTo>
                    <a:lnTo>
                      <a:pt x="51818" y="1422399"/>
                    </a:lnTo>
                    <a:lnTo>
                      <a:pt x="56138" y="1409699"/>
                    </a:lnTo>
                    <a:lnTo>
                      <a:pt x="58298" y="1409699"/>
                    </a:lnTo>
                    <a:lnTo>
                      <a:pt x="45337" y="1396999"/>
                    </a:lnTo>
                    <a:close/>
                  </a:path>
                  <a:path w="3439795" h="1447800">
                    <a:moveTo>
                      <a:pt x="183564" y="1396999"/>
                    </a:moveTo>
                    <a:lnTo>
                      <a:pt x="179243" y="1396999"/>
                    </a:lnTo>
                    <a:lnTo>
                      <a:pt x="172763" y="1409699"/>
                    </a:lnTo>
                    <a:lnTo>
                      <a:pt x="181404" y="1422399"/>
                    </a:lnTo>
                    <a:lnTo>
                      <a:pt x="183564" y="1422399"/>
                    </a:lnTo>
                    <a:lnTo>
                      <a:pt x="183564" y="1396999"/>
                    </a:lnTo>
                    <a:close/>
                  </a:path>
                  <a:path w="3439795" h="1447800">
                    <a:moveTo>
                      <a:pt x="187884" y="1396999"/>
                    </a:moveTo>
                    <a:lnTo>
                      <a:pt x="183564" y="1396999"/>
                    </a:lnTo>
                    <a:lnTo>
                      <a:pt x="183564" y="1422399"/>
                    </a:lnTo>
                    <a:lnTo>
                      <a:pt x="187884" y="1396999"/>
                    </a:lnTo>
                    <a:close/>
                  </a:path>
                  <a:path w="3439795" h="1447800">
                    <a:moveTo>
                      <a:pt x="202916" y="1396999"/>
                    </a:moveTo>
                    <a:lnTo>
                      <a:pt x="187884" y="1396999"/>
                    </a:lnTo>
                    <a:lnTo>
                      <a:pt x="183564" y="1422399"/>
                    </a:lnTo>
                    <a:lnTo>
                      <a:pt x="198685" y="1422399"/>
                    </a:lnTo>
                    <a:lnTo>
                      <a:pt x="202916" y="1396999"/>
                    </a:lnTo>
                    <a:close/>
                  </a:path>
                  <a:path w="3439795" h="1447800">
                    <a:moveTo>
                      <a:pt x="202916" y="1396999"/>
                    </a:moveTo>
                    <a:lnTo>
                      <a:pt x="198685" y="1422399"/>
                    </a:lnTo>
                    <a:lnTo>
                      <a:pt x="200756" y="1422399"/>
                    </a:lnTo>
                    <a:lnTo>
                      <a:pt x="202916" y="1396999"/>
                    </a:lnTo>
                    <a:close/>
                  </a:path>
                  <a:path w="3439795" h="1447800">
                    <a:moveTo>
                      <a:pt x="215877" y="1396999"/>
                    </a:moveTo>
                    <a:lnTo>
                      <a:pt x="202916" y="1396999"/>
                    </a:lnTo>
                    <a:lnTo>
                      <a:pt x="200756" y="1422399"/>
                    </a:lnTo>
                    <a:lnTo>
                      <a:pt x="209396" y="1422399"/>
                    </a:lnTo>
                    <a:lnTo>
                      <a:pt x="218037" y="1409699"/>
                    </a:lnTo>
                    <a:lnTo>
                      <a:pt x="215877" y="1396999"/>
                    </a:lnTo>
                    <a:close/>
                  </a:path>
                  <a:path w="3439795" h="1447800">
                    <a:moveTo>
                      <a:pt x="218037" y="1409699"/>
                    </a:moveTo>
                    <a:lnTo>
                      <a:pt x="209396" y="1422399"/>
                    </a:lnTo>
                    <a:lnTo>
                      <a:pt x="211557" y="1422399"/>
                    </a:lnTo>
                    <a:lnTo>
                      <a:pt x="218037" y="1409699"/>
                    </a:lnTo>
                    <a:close/>
                  </a:path>
                  <a:path w="3439795" h="1447800">
                    <a:moveTo>
                      <a:pt x="233159" y="1409699"/>
                    </a:moveTo>
                    <a:lnTo>
                      <a:pt x="218037" y="1409699"/>
                    </a:lnTo>
                    <a:lnTo>
                      <a:pt x="211557" y="1422399"/>
                    </a:lnTo>
                    <a:lnTo>
                      <a:pt x="226678" y="1422399"/>
                    </a:lnTo>
                    <a:lnTo>
                      <a:pt x="233159" y="1409699"/>
                    </a:lnTo>
                    <a:close/>
                  </a:path>
                  <a:path w="3439795" h="1447800">
                    <a:moveTo>
                      <a:pt x="250441" y="1409699"/>
                    </a:moveTo>
                    <a:lnTo>
                      <a:pt x="250441" y="1422399"/>
                    </a:lnTo>
                    <a:lnTo>
                      <a:pt x="252797" y="1418936"/>
                    </a:lnTo>
                    <a:lnTo>
                      <a:pt x="250441" y="1409699"/>
                    </a:lnTo>
                    <a:close/>
                  </a:path>
                  <a:path w="3439795" h="1447800">
                    <a:moveTo>
                      <a:pt x="252797" y="1418936"/>
                    </a:moveTo>
                    <a:lnTo>
                      <a:pt x="250441" y="1422399"/>
                    </a:lnTo>
                    <a:lnTo>
                      <a:pt x="253681" y="1422399"/>
                    </a:lnTo>
                    <a:lnTo>
                      <a:pt x="252797" y="1418936"/>
                    </a:lnTo>
                    <a:close/>
                  </a:path>
                  <a:path w="3439795" h="1447800">
                    <a:moveTo>
                      <a:pt x="256613" y="1413328"/>
                    </a:moveTo>
                    <a:lnTo>
                      <a:pt x="254761" y="1416049"/>
                    </a:lnTo>
                    <a:lnTo>
                      <a:pt x="254761" y="1422399"/>
                    </a:lnTo>
                    <a:lnTo>
                      <a:pt x="259081" y="1422399"/>
                    </a:lnTo>
                    <a:lnTo>
                      <a:pt x="259081" y="1418166"/>
                    </a:lnTo>
                    <a:lnTo>
                      <a:pt x="256613" y="1413328"/>
                    </a:lnTo>
                    <a:close/>
                  </a:path>
                  <a:path w="3439795" h="1447800">
                    <a:moveTo>
                      <a:pt x="259081" y="1418166"/>
                    </a:moveTo>
                    <a:lnTo>
                      <a:pt x="259081" y="1422399"/>
                    </a:lnTo>
                    <a:lnTo>
                      <a:pt x="261242" y="1422399"/>
                    </a:lnTo>
                    <a:lnTo>
                      <a:pt x="259081" y="1418166"/>
                    </a:lnTo>
                    <a:close/>
                  </a:path>
                  <a:path w="3439795" h="1447800">
                    <a:moveTo>
                      <a:pt x="259081" y="1409699"/>
                    </a:moveTo>
                    <a:lnTo>
                      <a:pt x="259081" y="1418166"/>
                    </a:lnTo>
                    <a:lnTo>
                      <a:pt x="261242" y="1422399"/>
                    </a:lnTo>
                    <a:lnTo>
                      <a:pt x="267722" y="1422399"/>
                    </a:lnTo>
                    <a:lnTo>
                      <a:pt x="259081" y="1409699"/>
                    </a:lnTo>
                    <a:close/>
                  </a:path>
                  <a:path w="3439795" h="1447800">
                    <a:moveTo>
                      <a:pt x="261242" y="1409699"/>
                    </a:moveTo>
                    <a:lnTo>
                      <a:pt x="259081" y="1409699"/>
                    </a:lnTo>
                    <a:lnTo>
                      <a:pt x="267722" y="1422399"/>
                    </a:lnTo>
                    <a:lnTo>
                      <a:pt x="269883" y="1422399"/>
                    </a:lnTo>
                    <a:lnTo>
                      <a:pt x="261242" y="1409699"/>
                    </a:lnTo>
                    <a:close/>
                  </a:path>
                  <a:path w="3439795" h="1447800">
                    <a:moveTo>
                      <a:pt x="269883" y="1409699"/>
                    </a:moveTo>
                    <a:lnTo>
                      <a:pt x="261242" y="1409699"/>
                    </a:lnTo>
                    <a:lnTo>
                      <a:pt x="269883" y="1422399"/>
                    </a:lnTo>
                    <a:lnTo>
                      <a:pt x="269883" y="1409699"/>
                    </a:lnTo>
                    <a:close/>
                  </a:path>
                  <a:path w="3439795" h="1447800">
                    <a:moveTo>
                      <a:pt x="36705" y="1413933"/>
                    </a:moveTo>
                    <a:lnTo>
                      <a:pt x="36705" y="1416961"/>
                    </a:lnTo>
                    <a:lnTo>
                      <a:pt x="39411" y="1419234"/>
                    </a:lnTo>
                    <a:lnTo>
                      <a:pt x="36705" y="1413933"/>
                    </a:lnTo>
                    <a:close/>
                  </a:path>
                  <a:path w="3439795" h="1447800">
                    <a:moveTo>
                      <a:pt x="257420" y="1369646"/>
                    </a:moveTo>
                    <a:lnTo>
                      <a:pt x="254761" y="1371599"/>
                    </a:lnTo>
                    <a:lnTo>
                      <a:pt x="252601" y="1384299"/>
                    </a:lnTo>
                    <a:lnTo>
                      <a:pt x="250441" y="1384299"/>
                    </a:lnTo>
                    <a:lnTo>
                      <a:pt x="250441" y="1409699"/>
                    </a:lnTo>
                    <a:lnTo>
                      <a:pt x="252797" y="1418936"/>
                    </a:lnTo>
                    <a:lnTo>
                      <a:pt x="254761" y="1416049"/>
                    </a:lnTo>
                    <a:lnTo>
                      <a:pt x="254761" y="1409699"/>
                    </a:lnTo>
                    <a:lnTo>
                      <a:pt x="269883" y="1409699"/>
                    </a:lnTo>
                    <a:lnTo>
                      <a:pt x="269883" y="1384299"/>
                    </a:lnTo>
                    <a:lnTo>
                      <a:pt x="272043" y="1371599"/>
                    </a:lnTo>
                    <a:lnTo>
                      <a:pt x="256921" y="1371599"/>
                    </a:lnTo>
                    <a:lnTo>
                      <a:pt x="257420" y="1369646"/>
                    </a:lnTo>
                    <a:close/>
                  </a:path>
                  <a:path w="3439795" h="1447800">
                    <a:moveTo>
                      <a:pt x="259081" y="1409699"/>
                    </a:moveTo>
                    <a:lnTo>
                      <a:pt x="256614" y="1413330"/>
                    </a:lnTo>
                    <a:lnTo>
                      <a:pt x="259081" y="1418166"/>
                    </a:lnTo>
                    <a:lnTo>
                      <a:pt x="259081" y="1409699"/>
                    </a:lnTo>
                    <a:close/>
                  </a:path>
                  <a:path w="3439795" h="1447800">
                    <a:moveTo>
                      <a:pt x="34545" y="1409699"/>
                    </a:moveTo>
                    <a:lnTo>
                      <a:pt x="32385" y="1409699"/>
                    </a:lnTo>
                    <a:lnTo>
                      <a:pt x="32385" y="1413330"/>
                    </a:lnTo>
                    <a:lnTo>
                      <a:pt x="36705" y="1416961"/>
                    </a:lnTo>
                    <a:lnTo>
                      <a:pt x="36705" y="1413933"/>
                    </a:lnTo>
                    <a:lnTo>
                      <a:pt x="34545" y="1409699"/>
                    </a:lnTo>
                    <a:close/>
                  </a:path>
                  <a:path w="3439795" h="1447800">
                    <a:moveTo>
                      <a:pt x="36705" y="1409699"/>
                    </a:moveTo>
                    <a:lnTo>
                      <a:pt x="36705" y="1412242"/>
                    </a:lnTo>
                    <a:lnTo>
                      <a:pt x="39941" y="1416049"/>
                    </a:lnTo>
                    <a:lnTo>
                      <a:pt x="36705" y="1409699"/>
                    </a:lnTo>
                    <a:close/>
                  </a:path>
                  <a:path w="3439795" h="1447800">
                    <a:moveTo>
                      <a:pt x="254761" y="1409699"/>
                    </a:moveTo>
                    <a:lnTo>
                      <a:pt x="254761" y="1416049"/>
                    </a:lnTo>
                    <a:lnTo>
                      <a:pt x="256613" y="1413328"/>
                    </a:lnTo>
                    <a:lnTo>
                      <a:pt x="254761" y="1409699"/>
                    </a:lnTo>
                    <a:close/>
                  </a:path>
                  <a:path w="3439795" h="1447800">
                    <a:moveTo>
                      <a:pt x="34545" y="1409699"/>
                    </a:moveTo>
                    <a:lnTo>
                      <a:pt x="36705" y="1413933"/>
                    </a:lnTo>
                    <a:lnTo>
                      <a:pt x="36705" y="1412242"/>
                    </a:lnTo>
                    <a:lnTo>
                      <a:pt x="34545" y="1409699"/>
                    </a:lnTo>
                    <a:close/>
                  </a:path>
                  <a:path w="3439795" h="1447800">
                    <a:moveTo>
                      <a:pt x="32385" y="1409699"/>
                    </a:moveTo>
                    <a:lnTo>
                      <a:pt x="28064" y="1409699"/>
                    </a:lnTo>
                    <a:lnTo>
                      <a:pt x="32385" y="1413330"/>
                    </a:lnTo>
                    <a:lnTo>
                      <a:pt x="32385" y="1409699"/>
                    </a:lnTo>
                    <a:close/>
                  </a:path>
                  <a:path w="3439795" h="1447800">
                    <a:moveTo>
                      <a:pt x="259081" y="1409699"/>
                    </a:moveTo>
                    <a:lnTo>
                      <a:pt x="254761" y="1409699"/>
                    </a:lnTo>
                    <a:lnTo>
                      <a:pt x="256613" y="1413328"/>
                    </a:lnTo>
                    <a:lnTo>
                      <a:pt x="259081" y="1409699"/>
                    </a:lnTo>
                    <a:close/>
                  </a:path>
                  <a:path w="3439795" h="1447800">
                    <a:moveTo>
                      <a:pt x="38865" y="1396999"/>
                    </a:moveTo>
                    <a:lnTo>
                      <a:pt x="34545" y="1409699"/>
                    </a:lnTo>
                    <a:lnTo>
                      <a:pt x="36705" y="1412242"/>
                    </a:lnTo>
                    <a:lnTo>
                      <a:pt x="36705" y="1409699"/>
                    </a:lnTo>
                    <a:lnTo>
                      <a:pt x="39945" y="1400176"/>
                    </a:lnTo>
                    <a:lnTo>
                      <a:pt x="38865" y="1396999"/>
                    </a:lnTo>
                    <a:close/>
                  </a:path>
                  <a:path w="3439795" h="1447800">
                    <a:moveTo>
                      <a:pt x="42103" y="1406526"/>
                    </a:moveTo>
                    <a:lnTo>
                      <a:pt x="41026" y="1409699"/>
                    </a:lnTo>
                    <a:lnTo>
                      <a:pt x="43181" y="1409699"/>
                    </a:lnTo>
                    <a:lnTo>
                      <a:pt x="42103" y="1406526"/>
                    </a:lnTo>
                    <a:close/>
                  </a:path>
                  <a:path w="3439795" h="1447800">
                    <a:moveTo>
                      <a:pt x="45337" y="1396999"/>
                    </a:moveTo>
                    <a:lnTo>
                      <a:pt x="58298" y="1409699"/>
                    </a:lnTo>
                    <a:lnTo>
                      <a:pt x="52909" y="1403363"/>
                    </a:lnTo>
                    <a:lnTo>
                      <a:pt x="45337" y="1396999"/>
                    </a:lnTo>
                    <a:close/>
                  </a:path>
                  <a:path w="3439795" h="1447800">
                    <a:moveTo>
                      <a:pt x="52909" y="1403363"/>
                    </a:moveTo>
                    <a:lnTo>
                      <a:pt x="58298" y="1409699"/>
                    </a:lnTo>
                    <a:lnTo>
                      <a:pt x="60450" y="1409699"/>
                    </a:lnTo>
                    <a:lnTo>
                      <a:pt x="52909" y="1403363"/>
                    </a:lnTo>
                    <a:close/>
                  </a:path>
                  <a:path w="3439795" h="1447800">
                    <a:moveTo>
                      <a:pt x="49657" y="1396999"/>
                    </a:moveTo>
                    <a:lnTo>
                      <a:pt x="47497" y="1396999"/>
                    </a:lnTo>
                    <a:lnTo>
                      <a:pt x="52909" y="1403363"/>
                    </a:lnTo>
                    <a:lnTo>
                      <a:pt x="60450" y="1409699"/>
                    </a:lnTo>
                    <a:lnTo>
                      <a:pt x="59730" y="1406876"/>
                    </a:lnTo>
                    <a:lnTo>
                      <a:pt x="49657" y="1396999"/>
                    </a:lnTo>
                    <a:close/>
                  </a:path>
                  <a:path w="3439795" h="1447800">
                    <a:moveTo>
                      <a:pt x="59730" y="1406876"/>
                    </a:moveTo>
                    <a:lnTo>
                      <a:pt x="60450" y="1409699"/>
                    </a:lnTo>
                    <a:lnTo>
                      <a:pt x="62610" y="1409699"/>
                    </a:lnTo>
                    <a:lnTo>
                      <a:pt x="59730" y="1406876"/>
                    </a:lnTo>
                    <a:close/>
                  </a:path>
                  <a:path w="3439795" h="1447800">
                    <a:moveTo>
                      <a:pt x="53978" y="1384299"/>
                    </a:moveTo>
                    <a:lnTo>
                      <a:pt x="59730" y="1406876"/>
                    </a:lnTo>
                    <a:lnTo>
                      <a:pt x="62610" y="1409699"/>
                    </a:lnTo>
                    <a:lnTo>
                      <a:pt x="59374" y="1390649"/>
                    </a:lnTo>
                    <a:lnTo>
                      <a:pt x="53978" y="1384299"/>
                    </a:lnTo>
                    <a:close/>
                  </a:path>
                  <a:path w="3439795" h="1447800">
                    <a:moveTo>
                      <a:pt x="59377" y="1390653"/>
                    </a:moveTo>
                    <a:lnTo>
                      <a:pt x="62610" y="1409699"/>
                    </a:lnTo>
                    <a:lnTo>
                      <a:pt x="63475" y="1404615"/>
                    </a:lnTo>
                    <a:lnTo>
                      <a:pt x="60148" y="1391561"/>
                    </a:lnTo>
                    <a:lnTo>
                      <a:pt x="59377" y="1390653"/>
                    </a:lnTo>
                    <a:close/>
                  </a:path>
                  <a:path w="3439795" h="1447800">
                    <a:moveTo>
                      <a:pt x="63475" y="1404615"/>
                    </a:moveTo>
                    <a:lnTo>
                      <a:pt x="62610" y="1409699"/>
                    </a:lnTo>
                    <a:lnTo>
                      <a:pt x="64181" y="1407389"/>
                    </a:lnTo>
                    <a:lnTo>
                      <a:pt x="63475" y="1404615"/>
                    </a:lnTo>
                    <a:close/>
                  </a:path>
                  <a:path w="3439795" h="1447800">
                    <a:moveTo>
                      <a:pt x="64181" y="1407389"/>
                    </a:moveTo>
                    <a:lnTo>
                      <a:pt x="62610" y="1409699"/>
                    </a:lnTo>
                    <a:lnTo>
                      <a:pt x="64770" y="1409699"/>
                    </a:lnTo>
                    <a:lnTo>
                      <a:pt x="64181" y="1407389"/>
                    </a:lnTo>
                    <a:close/>
                  </a:path>
                  <a:path w="3439795" h="1447800">
                    <a:moveTo>
                      <a:pt x="138199" y="1384299"/>
                    </a:moveTo>
                    <a:lnTo>
                      <a:pt x="131719" y="1384299"/>
                    </a:lnTo>
                    <a:lnTo>
                      <a:pt x="127398" y="1396999"/>
                    </a:lnTo>
                    <a:lnTo>
                      <a:pt x="151161" y="1409699"/>
                    </a:lnTo>
                    <a:lnTo>
                      <a:pt x="153321" y="1396999"/>
                    </a:lnTo>
                    <a:lnTo>
                      <a:pt x="131719" y="1396999"/>
                    </a:lnTo>
                    <a:lnTo>
                      <a:pt x="138199" y="1384299"/>
                    </a:lnTo>
                    <a:close/>
                  </a:path>
                  <a:path w="3439795" h="1447800">
                    <a:moveTo>
                      <a:pt x="155481" y="1384299"/>
                    </a:moveTo>
                    <a:lnTo>
                      <a:pt x="151161" y="1409699"/>
                    </a:lnTo>
                    <a:lnTo>
                      <a:pt x="164122" y="1409699"/>
                    </a:lnTo>
                    <a:lnTo>
                      <a:pt x="170603" y="1396999"/>
                    </a:lnTo>
                    <a:lnTo>
                      <a:pt x="155481" y="1384299"/>
                    </a:lnTo>
                    <a:close/>
                  </a:path>
                  <a:path w="3439795" h="1447800">
                    <a:moveTo>
                      <a:pt x="170603" y="1396999"/>
                    </a:moveTo>
                    <a:lnTo>
                      <a:pt x="164122" y="1409699"/>
                    </a:lnTo>
                    <a:lnTo>
                      <a:pt x="166282" y="1409699"/>
                    </a:lnTo>
                    <a:lnTo>
                      <a:pt x="170603" y="1396999"/>
                    </a:lnTo>
                    <a:close/>
                  </a:path>
                  <a:path w="3439795" h="1447800">
                    <a:moveTo>
                      <a:pt x="179243" y="1396999"/>
                    </a:moveTo>
                    <a:lnTo>
                      <a:pt x="170603" y="1396999"/>
                    </a:lnTo>
                    <a:lnTo>
                      <a:pt x="166282" y="1409699"/>
                    </a:lnTo>
                    <a:lnTo>
                      <a:pt x="172763" y="1409699"/>
                    </a:lnTo>
                    <a:lnTo>
                      <a:pt x="179243" y="1396999"/>
                    </a:lnTo>
                    <a:close/>
                  </a:path>
                  <a:path w="3439795" h="1447800">
                    <a:moveTo>
                      <a:pt x="64770" y="1384299"/>
                    </a:moveTo>
                    <a:lnTo>
                      <a:pt x="58298" y="1384299"/>
                    </a:lnTo>
                    <a:lnTo>
                      <a:pt x="60148" y="1391561"/>
                    </a:lnTo>
                    <a:lnTo>
                      <a:pt x="64770" y="1396999"/>
                    </a:lnTo>
                    <a:lnTo>
                      <a:pt x="63475" y="1404615"/>
                    </a:lnTo>
                    <a:lnTo>
                      <a:pt x="64181" y="1407389"/>
                    </a:lnTo>
                    <a:lnTo>
                      <a:pt x="71251" y="1396999"/>
                    </a:lnTo>
                    <a:lnTo>
                      <a:pt x="64770" y="1384299"/>
                    </a:lnTo>
                    <a:close/>
                  </a:path>
                  <a:path w="3439795" h="1447800">
                    <a:moveTo>
                      <a:pt x="51818" y="1390649"/>
                    </a:moveTo>
                    <a:lnTo>
                      <a:pt x="49657" y="1396999"/>
                    </a:lnTo>
                    <a:lnTo>
                      <a:pt x="59730" y="1406876"/>
                    </a:lnTo>
                    <a:lnTo>
                      <a:pt x="57214" y="1396999"/>
                    </a:lnTo>
                    <a:lnTo>
                      <a:pt x="51818" y="1396999"/>
                    </a:lnTo>
                    <a:lnTo>
                      <a:pt x="51818" y="1390649"/>
                    </a:lnTo>
                    <a:close/>
                  </a:path>
                  <a:path w="3439795" h="1447800">
                    <a:moveTo>
                      <a:pt x="43177" y="1396999"/>
                    </a:moveTo>
                    <a:lnTo>
                      <a:pt x="41026" y="1396999"/>
                    </a:lnTo>
                    <a:lnTo>
                      <a:pt x="39945" y="1400176"/>
                    </a:lnTo>
                    <a:lnTo>
                      <a:pt x="42103" y="1406526"/>
                    </a:lnTo>
                    <a:lnTo>
                      <a:pt x="43898" y="1401239"/>
                    </a:lnTo>
                    <a:lnTo>
                      <a:pt x="43177" y="1396999"/>
                    </a:lnTo>
                    <a:close/>
                  </a:path>
                  <a:path w="3439795" h="1447800">
                    <a:moveTo>
                      <a:pt x="60148" y="1391561"/>
                    </a:moveTo>
                    <a:lnTo>
                      <a:pt x="63475" y="1404615"/>
                    </a:lnTo>
                    <a:lnTo>
                      <a:pt x="64770" y="1396999"/>
                    </a:lnTo>
                    <a:lnTo>
                      <a:pt x="60148" y="1391561"/>
                    </a:lnTo>
                    <a:close/>
                  </a:path>
                  <a:path w="3439795" h="1447800">
                    <a:moveTo>
                      <a:pt x="47497" y="1396999"/>
                    </a:moveTo>
                    <a:lnTo>
                      <a:pt x="45337" y="1396999"/>
                    </a:lnTo>
                    <a:lnTo>
                      <a:pt x="52909" y="1403363"/>
                    </a:lnTo>
                    <a:lnTo>
                      <a:pt x="47497" y="1396999"/>
                    </a:lnTo>
                    <a:close/>
                  </a:path>
                  <a:path w="3439795" h="1447800">
                    <a:moveTo>
                      <a:pt x="43177" y="1396999"/>
                    </a:moveTo>
                    <a:lnTo>
                      <a:pt x="43898" y="1401239"/>
                    </a:lnTo>
                    <a:lnTo>
                      <a:pt x="43987" y="1400176"/>
                    </a:lnTo>
                    <a:lnTo>
                      <a:pt x="43177" y="1396999"/>
                    </a:lnTo>
                    <a:close/>
                  </a:path>
                  <a:path w="3439795" h="1447800">
                    <a:moveTo>
                      <a:pt x="45337" y="1396999"/>
                    </a:moveTo>
                    <a:lnTo>
                      <a:pt x="43177" y="1396999"/>
                    </a:lnTo>
                    <a:lnTo>
                      <a:pt x="44104" y="1400632"/>
                    </a:lnTo>
                    <a:lnTo>
                      <a:pt x="45337" y="1396999"/>
                    </a:lnTo>
                    <a:close/>
                  </a:path>
                  <a:path w="3439795" h="1447800">
                    <a:moveTo>
                      <a:pt x="53978" y="1384299"/>
                    </a:moveTo>
                    <a:lnTo>
                      <a:pt x="51818" y="1390649"/>
                    </a:lnTo>
                    <a:lnTo>
                      <a:pt x="51818" y="1396999"/>
                    </a:lnTo>
                    <a:lnTo>
                      <a:pt x="53978" y="1384299"/>
                    </a:lnTo>
                    <a:close/>
                  </a:path>
                  <a:path w="3439795" h="1447800">
                    <a:moveTo>
                      <a:pt x="53978" y="1384299"/>
                    </a:moveTo>
                    <a:lnTo>
                      <a:pt x="51818" y="1396999"/>
                    </a:lnTo>
                    <a:lnTo>
                      <a:pt x="57214" y="1396999"/>
                    </a:lnTo>
                    <a:lnTo>
                      <a:pt x="53978" y="1384299"/>
                    </a:lnTo>
                    <a:close/>
                  </a:path>
                  <a:path w="3439795" h="1447800">
                    <a:moveTo>
                      <a:pt x="66930" y="1384299"/>
                    </a:moveTo>
                    <a:lnTo>
                      <a:pt x="64770" y="1384299"/>
                    </a:lnTo>
                    <a:lnTo>
                      <a:pt x="71251" y="1396999"/>
                    </a:lnTo>
                    <a:lnTo>
                      <a:pt x="66930" y="1384299"/>
                    </a:lnTo>
                    <a:close/>
                  </a:path>
                  <a:path w="3439795" h="1447800">
                    <a:moveTo>
                      <a:pt x="73393" y="1384299"/>
                    </a:moveTo>
                    <a:lnTo>
                      <a:pt x="66930" y="1384299"/>
                    </a:lnTo>
                    <a:lnTo>
                      <a:pt x="71251" y="1396999"/>
                    </a:lnTo>
                    <a:lnTo>
                      <a:pt x="73393" y="1396999"/>
                    </a:lnTo>
                    <a:lnTo>
                      <a:pt x="73393" y="1384299"/>
                    </a:lnTo>
                    <a:close/>
                  </a:path>
                  <a:path w="3439795" h="1447800">
                    <a:moveTo>
                      <a:pt x="73393" y="1384299"/>
                    </a:moveTo>
                    <a:lnTo>
                      <a:pt x="73393" y="1396999"/>
                    </a:lnTo>
                    <a:lnTo>
                      <a:pt x="75553" y="1396999"/>
                    </a:lnTo>
                    <a:lnTo>
                      <a:pt x="73393" y="1384299"/>
                    </a:lnTo>
                    <a:close/>
                  </a:path>
                  <a:path w="3439795" h="1447800">
                    <a:moveTo>
                      <a:pt x="99315" y="1384299"/>
                    </a:moveTo>
                    <a:lnTo>
                      <a:pt x="73393" y="1384299"/>
                    </a:lnTo>
                    <a:lnTo>
                      <a:pt x="75553" y="1396999"/>
                    </a:lnTo>
                    <a:lnTo>
                      <a:pt x="101476" y="1396999"/>
                    </a:lnTo>
                    <a:lnTo>
                      <a:pt x="99315" y="1384299"/>
                    </a:lnTo>
                    <a:close/>
                  </a:path>
                  <a:path w="3439795" h="1447800">
                    <a:moveTo>
                      <a:pt x="101476" y="1384299"/>
                    </a:moveTo>
                    <a:lnTo>
                      <a:pt x="99315" y="1384299"/>
                    </a:lnTo>
                    <a:lnTo>
                      <a:pt x="101476" y="1396999"/>
                    </a:lnTo>
                    <a:lnTo>
                      <a:pt x="101476" y="1384299"/>
                    </a:lnTo>
                    <a:close/>
                  </a:path>
                  <a:path w="3439795" h="1447800">
                    <a:moveTo>
                      <a:pt x="120918" y="1384299"/>
                    </a:moveTo>
                    <a:lnTo>
                      <a:pt x="101476" y="1384299"/>
                    </a:lnTo>
                    <a:lnTo>
                      <a:pt x="101476" y="1396999"/>
                    </a:lnTo>
                    <a:lnTo>
                      <a:pt x="120918" y="1396999"/>
                    </a:lnTo>
                    <a:lnTo>
                      <a:pt x="120918" y="1384299"/>
                    </a:lnTo>
                    <a:close/>
                  </a:path>
                  <a:path w="3439795" h="1447800">
                    <a:moveTo>
                      <a:pt x="131719" y="1384299"/>
                    </a:moveTo>
                    <a:lnTo>
                      <a:pt x="120918" y="1384299"/>
                    </a:lnTo>
                    <a:lnTo>
                      <a:pt x="120918" y="1396999"/>
                    </a:lnTo>
                    <a:lnTo>
                      <a:pt x="127398" y="1396999"/>
                    </a:lnTo>
                    <a:lnTo>
                      <a:pt x="131719" y="1384299"/>
                    </a:lnTo>
                    <a:close/>
                  </a:path>
                  <a:path w="3439795" h="1447800">
                    <a:moveTo>
                      <a:pt x="138199" y="1384299"/>
                    </a:moveTo>
                    <a:lnTo>
                      <a:pt x="131719" y="1396999"/>
                    </a:lnTo>
                    <a:lnTo>
                      <a:pt x="138199" y="1396999"/>
                    </a:lnTo>
                    <a:lnTo>
                      <a:pt x="138199" y="1384299"/>
                    </a:lnTo>
                    <a:close/>
                  </a:path>
                  <a:path w="3439795" h="1447800">
                    <a:moveTo>
                      <a:pt x="155481" y="1384299"/>
                    </a:moveTo>
                    <a:lnTo>
                      <a:pt x="138199" y="1384299"/>
                    </a:lnTo>
                    <a:lnTo>
                      <a:pt x="138199" y="1396999"/>
                    </a:lnTo>
                    <a:lnTo>
                      <a:pt x="153321" y="1396999"/>
                    </a:lnTo>
                    <a:lnTo>
                      <a:pt x="155481" y="1384299"/>
                    </a:lnTo>
                    <a:close/>
                  </a:path>
                  <a:path w="3439795" h="1447800">
                    <a:moveTo>
                      <a:pt x="58298" y="1384299"/>
                    </a:moveTo>
                    <a:lnTo>
                      <a:pt x="59377" y="1390653"/>
                    </a:lnTo>
                    <a:lnTo>
                      <a:pt x="60148" y="1391561"/>
                    </a:lnTo>
                    <a:lnTo>
                      <a:pt x="58298" y="1384299"/>
                    </a:lnTo>
                    <a:close/>
                  </a:path>
                  <a:path w="3439795" h="1447800">
                    <a:moveTo>
                      <a:pt x="58298" y="1384299"/>
                    </a:moveTo>
                    <a:lnTo>
                      <a:pt x="53978" y="1384299"/>
                    </a:lnTo>
                    <a:lnTo>
                      <a:pt x="59377" y="1390653"/>
                    </a:lnTo>
                    <a:lnTo>
                      <a:pt x="58298" y="1384299"/>
                    </a:lnTo>
                    <a:close/>
                  </a:path>
                  <a:path w="3439795" h="1447800">
                    <a:moveTo>
                      <a:pt x="53978" y="1384299"/>
                    </a:moveTo>
                    <a:lnTo>
                      <a:pt x="51818" y="1384299"/>
                    </a:lnTo>
                    <a:lnTo>
                      <a:pt x="51818" y="1390649"/>
                    </a:lnTo>
                    <a:lnTo>
                      <a:pt x="53978" y="1384299"/>
                    </a:lnTo>
                    <a:close/>
                  </a:path>
                  <a:path w="3439795" h="1447800">
                    <a:moveTo>
                      <a:pt x="252601" y="1354137"/>
                    </a:moveTo>
                    <a:lnTo>
                      <a:pt x="251881" y="1354666"/>
                    </a:lnTo>
                    <a:lnTo>
                      <a:pt x="249480" y="1357488"/>
                    </a:lnTo>
                    <a:lnTo>
                      <a:pt x="250441" y="1358899"/>
                    </a:lnTo>
                    <a:lnTo>
                      <a:pt x="248280" y="1358899"/>
                    </a:lnTo>
                    <a:lnTo>
                      <a:pt x="252601" y="1371599"/>
                    </a:lnTo>
                    <a:lnTo>
                      <a:pt x="254545" y="1370329"/>
                    </a:lnTo>
                    <a:lnTo>
                      <a:pt x="252601" y="1358899"/>
                    </a:lnTo>
                    <a:lnTo>
                      <a:pt x="250441" y="1358899"/>
                    </a:lnTo>
                    <a:lnTo>
                      <a:pt x="249480" y="1357488"/>
                    </a:lnTo>
                    <a:lnTo>
                      <a:pt x="252601" y="1357488"/>
                    </a:lnTo>
                    <a:lnTo>
                      <a:pt x="252601" y="1354137"/>
                    </a:lnTo>
                    <a:close/>
                  </a:path>
                  <a:path w="3439795" h="1447800">
                    <a:moveTo>
                      <a:pt x="254545" y="1370329"/>
                    </a:moveTo>
                    <a:lnTo>
                      <a:pt x="252601" y="1371599"/>
                    </a:lnTo>
                    <a:lnTo>
                      <a:pt x="254761" y="1371599"/>
                    </a:lnTo>
                    <a:lnTo>
                      <a:pt x="254545" y="1370329"/>
                    </a:lnTo>
                    <a:close/>
                  </a:path>
                  <a:path w="3439795" h="1447800">
                    <a:moveTo>
                      <a:pt x="257785" y="1368213"/>
                    </a:moveTo>
                    <a:lnTo>
                      <a:pt x="254545" y="1370329"/>
                    </a:lnTo>
                    <a:lnTo>
                      <a:pt x="254761" y="1371599"/>
                    </a:lnTo>
                    <a:lnTo>
                      <a:pt x="257420" y="1369646"/>
                    </a:lnTo>
                    <a:lnTo>
                      <a:pt x="257785" y="1368213"/>
                    </a:lnTo>
                    <a:close/>
                  </a:path>
                  <a:path w="3439795" h="1447800">
                    <a:moveTo>
                      <a:pt x="272043" y="1358899"/>
                    </a:moveTo>
                    <a:lnTo>
                      <a:pt x="257420" y="1369646"/>
                    </a:lnTo>
                    <a:lnTo>
                      <a:pt x="256921" y="1371599"/>
                    </a:lnTo>
                    <a:lnTo>
                      <a:pt x="272043" y="1371599"/>
                    </a:lnTo>
                    <a:lnTo>
                      <a:pt x="272043" y="1358899"/>
                    </a:lnTo>
                    <a:close/>
                  </a:path>
                  <a:path w="3439795" h="1447800">
                    <a:moveTo>
                      <a:pt x="263402" y="1346199"/>
                    </a:moveTo>
                    <a:lnTo>
                      <a:pt x="252601" y="1358899"/>
                    </a:lnTo>
                    <a:lnTo>
                      <a:pt x="254545" y="1370329"/>
                    </a:lnTo>
                    <a:lnTo>
                      <a:pt x="257785" y="1368213"/>
                    </a:lnTo>
                    <a:lnTo>
                      <a:pt x="263402" y="1346199"/>
                    </a:lnTo>
                    <a:close/>
                  </a:path>
                  <a:path w="3439795" h="1447800">
                    <a:moveTo>
                      <a:pt x="272043" y="1358899"/>
                    </a:moveTo>
                    <a:lnTo>
                      <a:pt x="257785" y="1368213"/>
                    </a:lnTo>
                    <a:lnTo>
                      <a:pt x="257420" y="1369646"/>
                    </a:lnTo>
                    <a:lnTo>
                      <a:pt x="272043" y="1358899"/>
                    </a:lnTo>
                    <a:close/>
                  </a:path>
                  <a:path w="3439795" h="1447800">
                    <a:moveTo>
                      <a:pt x="263402" y="1346199"/>
                    </a:moveTo>
                    <a:lnTo>
                      <a:pt x="257785" y="1368213"/>
                    </a:lnTo>
                    <a:lnTo>
                      <a:pt x="272043" y="1358899"/>
                    </a:lnTo>
                    <a:lnTo>
                      <a:pt x="265562" y="1358899"/>
                    </a:lnTo>
                    <a:lnTo>
                      <a:pt x="263402" y="1346199"/>
                    </a:lnTo>
                    <a:close/>
                  </a:path>
                  <a:path w="3439795" h="1447800">
                    <a:moveTo>
                      <a:pt x="241800" y="1346199"/>
                    </a:moveTo>
                    <a:lnTo>
                      <a:pt x="241800" y="1358899"/>
                    </a:lnTo>
                    <a:lnTo>
                      <a:pt x="246120" y="1358899"/>
                    </a:lnTo>
                    <a:lnTo>
                      <a:pt x="244680" y="1350433"/>
                    </a:lnTo>
                    <a:lnTo>
                      <a:pt x="241800" y="1346199"/>
                    </a:lnTo>
                    <a:close/>
                  </a:path>
                  <a:path w="3439795" h="1447800">
                    <a:moveTo>
                      <a:pt x="244680" y="1350433"/>
                    </a:moveTo>
                    <a:lnTo>
                      <a:pt x="246120" y="1358899"/>
                    </a:lnTo>
                    <a:lnTo>
                      <a:pt x="249000" y="1356783"/>
                    </a:lnTo>
                    <a:lnTo>
                      <a:pt x="244680" y="1350433"/>
                    </a:lnTo>
                    <a:close/>
                  </a:path>
                  <a:path w="3439795" h="1447800">
                    <a:moveTo>
                      <a:pt x="249000" y="1356783"/>
                    </a:moveTo>
                    <a:lnTo>
                      <a:pt x="246120" y="1358899"/>
                    </a:lnTo>
                    <a:lnTo>
                      <a:pt x="248280" y="1358899"/>
                    </a:lnTo>
                    <a:lnTo>
                      <a:pt x="249480" y="1357488"/>
                    </a:lnTo>
                    <a:lnTo>
                      <a:pt x="249000" y="1356783"/>
                    </a:lnTo>
                    <a:close/>
                  </a:path>
                  <a:path w="3439795" h="1447800">
                    <a:moveTo>
                      <a:pt x="263402" y="1346199"/>
                    </a:moveTo>
                    <a:lnTo>
                      <a:pt x="252601" y="1354137"/>
                    </a:lnTo>
                    <a:lnTo>
                      <a:pt x="252601" y="1358899"/>
                    </a:lnTo>
                    <a:lnTo>
                      <a:pt x="263402" y="1346199"/>
                    </a:lnTo>
                    <a:close/>
                  </a:path>
                  <a:path w="3439795" h="1447800">
                    <a:moveTo>
                      <a:pt x="263402" y="1346199"/>
                    </a:moveTo>
                    <a:lnTo>
                      <a:pt x="265562" y="1358899"/>
                    </a:lnTo>
                    <a:lnTo>
                      <a:pt x="267722" y="1358899"/>
                    </a:lnTo>
                    <a:lnTo>
                      <a:pt x="263402" y="1346199"/>
                    </a:lnTo>
                    <a:close/>
                  </a:path>
                  <a:path w="3439795" h="1447800">
                    <a:moveTo>
                      <a:pt x="251881" y="1354666"/>
                    </a:moveTo>
                    <a:lnTo>
                      <a:pt x="249000" y="1356783"/>
                    </a:lnTo>
                    <a:lnTo>
                      <a:pt x="249480" y="1357488"/>
                    </a:lnTo>
                    <a:lnTo>
                      <a:pt x="251881" y="1354666"/>
                    </a:lnTo>
                    <a:close/>
                  </a:path>
                  <a:path w="3439795" h="1447800">
                    <a:moveTo>
                      <a:pt x="252601" y="1346199"/>
                    </a:moveTo>
                    <a:lnTo>
                      <a:pt x="243960" y="1346199"/>
                    </a:lnTo>
                    <a:lnTo>
                      <a:pt x="244680" y="1350433"/>
                    </a:lnTo>
                    <a:lnTo>
                      <a:pt x="249000" y="1356783"/>
                    </a:lnTo>
                    <a:lnTo>
                      <a:pt x="251881" y="1354666"/>
                    </a:lnTo>
                    <a:lnTo>
                      <a:pt x="252601" y="1353819"/>
                    </a:lnTo>
                    <a:lnTo>
                      <a:pt x="252601" y="1346199"/>
                    </a:lnTo>
                    <a:close/>
                  </a:path>
                  <a:path w="3439795" h="1447800">
                    <a:moveTo>
                      <a:pt x="252601" y="1353819"/>
                    </a:moveTo>
                    <a:lnTo>
                      <a:pt x="251881" y="1354666"/>
                    </a:lnTo>
                    <a:lnTo>
                      <a:pt x="252601" y="1354137"/>
                    </a:lnTo>
                    <a:lnTo>
                      <a:pt x="252601" y="1353819"/>
                    </a:lnTo>
                    <a:close/>
                  </a:path>
                  <a:path w="3439795" h="1447800">
                    <a:moveTo>
                      <a:pt x="263402" y="1346199"/>
                    </a:moveTo>
                    <a:lnTo>
                      <a:pt x="259081" y="1346199"/>
                    </a:lnTo>
                    <a:lnTo>
                      <a:pt x="252601" y="1353819"/>
                    </a:lnTo>
                    <a:lnTo>
                      <a:pt x="252601" y="1354137"/>
                    </a:lnTo>
                    <a:lnTo>
                      <a:pt x="263402" y="1346199"/>
                    </a:lnTo>
                    <a:close/>
                  </a:path>
                  <a:path w="3439795" h="1447800">
                    <a:moveTo>
                      <a:pt x="259081" y="1346199"/>
                    </a:moveTo>
                    <a:lnTo>
                      <a:pt x="252601" y="1346199"/>
                    </a:lnTo>
                    <a:lnTo>
                      <a:pt x="252601" y="1353819"/>
                    </a:lnTo>
                    <a:lnTo>
                      <a:pt x="259081" y="1346199"/>
                    </a:lnTo>
                    <a:close/>
                  </a:path>
                  <a:path w="3439795" h="1447800">
                    <a:moveTo>
                      <a:pt x="243960" y="1308099"/>
                    </a:moveTo>
                    <a:lnTo>
                      <a:pt x="241800" y="1320799"/>
                    </a:lnTo>
                    <a:lnTo>
                      <a:pt x="241800" y="1346199"/>
                    </a:lnTo>
                    <a:lnTo>
                      <a:pt x="244680" y="1350433"/>
                    </a:lnTo>
                    <a:lnTo>
                      <a:pt x="243960" y="1346199"/>
                    </a:lnTo>
                    <a:lnTo>
                      <a:pt x="261242" y="1346199"/>
                    </a:lnTo>
                    <a:lnTo>
                      <a:pt x="261242" y="1320799"/>
                    </a:lnTo>
                    <a:lnTo>
                      <a:pt x="259081" y="1320799"/>
                    </a:lnTo>
                    <a:lnTo>
                      <a:pt x="243960" y="1308099"/>
                    </a:lnTo>
                    <a:close/>
                  </a:path>
                  <a:path w="3439795" h="1447800">
                    <a:moveTo>
                      <a:pt x="243960" y="1308099"/>
                    </a:moveTo>
                    <a:lnTo>
                      <a:pt x="259081" y="1320799"/>
                    </a:lnTo>
                    <a:lnTo>
                      <a:pt x="259514" y="1319529"/>
                    </a:lnTo>
                    <a:lnTo>
                      <a:pt x="243960" y="1308099"/>
                    </a:lnTo>
                    <a:close/>
                  </a:path>
                  <a:path w="3439795" h="1447800">
                    <a:moveTo>
                      <a:pt x="259514" y="1319529"/>
                    </a:moveTo>
                    <a:lnTo>
                      <a:pt x="259081" y="1320799"/>
                    </a:lnTo>
                    <a:lnTo>
                      <a:pt x="261242" y="1320799"/>
                    </a:lnTo>
                    <a:lnTo>
                      <a:pt x="259514" y="1319529"/>
                    </a:lnTo>
                    <a:close/>
                  </a:path>
                  <a:path w="3439795" h="1447800">
                    <a:moveTo>
                      <a:pt x="263402" y="1301749"/>
                    </a:moveTo>
                    <a:lnTo>
                      <a:pt x="259081" y="1308099"/>
                    </a:lnTo>
                    <a:lnTo>
                      <a:pt x="243960" y="1308099"/>
                    </a:lnTo>
                    <a:lnTo>
                      <a:pt x="259514" y="1319529"/>
                    </a:lnTo>
                    <a:lnTo>
                      <a:pt x="263402" y="1308099"/>
                    </a:lnTo>
                    <a:lnTo>
                      <a:pt x="263402" y="1301749"/>
                    </a:lnTo>
                    <a:close/>
                  </a:path>
                  <a:path w="3439795" h="1447800">
                    <a:moveTo>
                      <a:pt x="254761" y="1295399"/>
                    </a:moveTo>
                    <a:lnTo>
                      <a:pt x="246120" y="1295399"/>
                    </a:lnTo>
                    <a:lnTo>
                      <a:pt x="246120" y="1308099"/>
                    </a:lnTo>
                    <a:lnTo>
                      <a:pt x="254761" y="1308099"/>
                    </a:lnTo>
                    <a:lnTo>
                      <a:pt x="254761" y="1295399"/>
                    </a:lnTo>
                    <a:close/>
                  </a:path>
                  <a:path w="3439795" h="1447800">
                    <a:moveTo>
                      <a:pt x="256921" y="1295399"/>
                    </a:moveTo>
                    <a:lnTo>
                      <a:pt x="254761" y="1295399"/>
                    </a:lnTo>
                    <a:lnTo>
                      <a:pt x="254761" y="1308099"/>
                    </a:lnTo>
                    <a:lnTo>
                      <a:pt x="256921" y="1308099"/>
                    </a:lnTo>
                    <a:lnTo>
                      <a:pt x="256921" y="1295399"/>
                    </a:lnTo>
                    <a:close/>
                  </a:path>
                  <a:path w="3439795" h="1447800">
                    <a:moveTo>
                      <a:pt x="263402" y="1295399"/>
                    </a:moveTo>
                    <a:lnTo>
                      <a:pt x="256921" y="1295399"/>
                    </a:lnTo>
                    <a:lnTo>
                      <a:pt x="256921" y="1308099"/>
                    </a:lnTo>
                    <a:lnTo>
                      <a:pt x="259081" y="1308099"/>
                    </a:lnTo>
                    <a:lnTo>
                      <a:pt x="263402" y="1301749"/>
                    </a:lnTo>
                    <a:lnTo>
                      <a:pt x="263402" y="1295399"/>
                    </a:lnTo>
                    <a:close/>
                  </a:path>
                  <a:path w="3439795" h="1447800">
                    <a:moveTo>
                      <a:pt x="267722" y="1295399"/>
                    </a:moveTo>
                    <a:lnTo>
                      <a:pt x="263402" y="1301749"/>
                    </a:lnTo>
                    <a:lnTo>
                      <a:pt x="263402" y="1308099"/>
                    </a:lnTo>
                    <a:lnTo>
                      <a:pt x="267722" y="1308099"/>
                    </a:lnTo>
                    <a:lnTo>
                      <a:pt x="267722" y="1295399"/>
                    </a:lnTo>
                    <a:close/>
                  </a:path>
                  <a:path w="3439795" h="1447800">
                    <a:moveTo>
                      <a:pt x="250441" y="1282699"/>
                    </a:moveTo>
                    <a:lnTo>
                      <a:pt x="265562" y="1295399"/>
                    </a:lnTo>
                    <a:lnTo>
                      <a:pt x="263402" y="1295399"/>
                    </a:lnTo>
                    <a:lnTo>
                      <a:pt x="263402" y="1301749"/>
                    </a:lnTo>
                    <a:lnTo>
                      <a:pt x="267722" y="1295399"/>
                    </a:lnTo>
                    <a:lnTo>
                      <a:pt x="250441" y="1282699"/>
                    </a:lnTo>
                    <a:close/>
                  </a:path>
                  <a:path w="3439795" h="1447800">
                    <a:moveTo>
                      <a:pt x="250441" y="1282699"/>
                    </a:moveTo>
                    <a:lnTo>
                      <a:pt x="250441" y="1295399"/>
                    </a:lnTo>
                    <a:lnTo>
                      <a:pt x="265562" y="1295399"/>
                    </a:lnTo>
                    <a:lnTo>
                      <a:pt x="250441" y="1282699"/>
                    </a:lnTo>
                    <a:close/>
                  </a:path>
                  <a:path w="3439795" h="1447800">
                    <a:moveTo>
                      <a:pt x="256921" y="1282699"/>
                    </a:moveTo>
                    <a:lnTo>
                      <a:pt x="250441" y="1282699"/>
                    </a:lnTo>
                    <a:lnTo>
                      <a:pt x="267722" y="1295399"/>
                    </a:lnTo>
                    <a:lnTo>
                      <a:pt x="256921" y="1282699"/>
                    </a:lnTo>
                    <a:close/>
                  </a:path>
                  <a:path w="3439795" h="1447800">
                    <a:moveTo>
                      <a:pt x="256921" y="1282699"/>
                    </a:moveTo>
                    <a:lnTo>
                      <a:pt x="267722" y="1295399"/>
                    </a:lnTo>
                    <a:lnTo>
                      <a:pt x="268586" y="1294129"/>
                    </a:lnTo>
                    <a:lnTo>
                      <a:pt x="256921" y="1282699"/>
                    </a:lnTo>
                    <a:close/>
                  </a:path>
                  <a:path w="3439795" h="1447800">
                    <a:moveTo>
                      <a:pt x="268586" y="1294129"/>
                    </a:moveTo>
                    <a:lnTo>
                      <a:pt x="267722" y="1295399"/>
                    </a:lnTo>
                    <a:lnTo>
                      <a:pt x="269883" y="1295399"/>
                    </a:lnTo>
                    <a:lnTo>
                      <a:pt x="268586" y="1294129"/>
                    </a:lnTo>
                    <a:close/>
                  </a:path>
                  <a:path w="3439795" h="1447800">
                    <a:moveTo>
                      <a:pt x="276363" y="1282699"/>
                    </a:moveTo>
                    <a:lnTo>
                      <a:pt x="272043" y="1295399"/>
                    </a:lnTo>
                    <a:lnTo>
                      <a:pt x="274203" y="1295399"/>
                    </a:lnTo>
                    <a:lnTo>
                      <a:pt x="276363" y="1282699"/>
                    </a:lnTo>
                    <a:close/>
                  </a:path>
                  <a:path w="3439795" h="1447800">
                    <a:moveTo>
                      <a:pt x="276363" y="1282699"/>
                    </a:moveTo>
                    <a:lnTo>
                      <a:pt x="256921" y="1282699"/>
                    </a:lnTo>
                    <a:lnTo>
                      <a:pt x="268586" y="1294129"/>
                    </a:lnTo>
                    <a:lnTo>
                      <a:pt x="276363" y="1282699"/>
                    </a:lnTo>
                    <a:close/>
                  </a:path>
                  <a:path w="3439795" h="1447800">
                    <a:moveTo>
                      <a:pt x="265562" y="1269999"/>
                    </a:moveTo>
                    <a:lnTo>
                      <a:pt x="263402" y="1269999"/>
                    </a:lnTo>
                    <a:lnTo>
                      <a:pt x="259081" y="1282699"/>
                    </a:lnTo>
                    <a:lnTo>
                      <a:pt x="278523" y="1282699"/>
                    </a:lnTo>
                    <a:lnTo>
                      <a:pt x="265562" y="1269999"/>
                    </a:lnTo>
                    <a:close/>
                  </a:path>
                  <a:path w="3439795" h="1447800">
                    <a:moveTo>
                      <a:pt x="265562" y="1269999"/>
                    </a:moveTo>
                    <a:lnTo>
                      <a:pt x="278523" y="1282699"/>
                    </a:lnTo>
                    <a:lnTo>
                      <a:pt x="280684" y="1282699"/>
                    </a:lnTo>
                    <a:lnTo>
                      <a:pt x="265562" y="1269999"/>
                    </a:lnTo>
                    <a:close/>
                  </a:path>
                  <a:path w="3439795" h="1447800">
                    <a:moveTo>
                      <a:pt x="267722" y="1269999"/>
                    </a:moveTo>
                    <a:lnTo>
                      <a:pt x="265562" y="1269999"/>
                    </a:lnTo>
                    <a:lnTo>
                      <a:pt x="280684" y="1282699"/>
                    </a:lnTo>
                    <a:lnTo>
                      <a:pt x="280094" y="1280390"/>
                    </a:lnTo>
                    <a:lnTo>
                      <a:pt x="267722" y="1269999"/>
                    </a:lnTo>
                    <a:close/>
                  </a:path>
                  <a:path w="3439795" h="1447800">
                    <a:moveTo>
                      <a:pt x="280094" y="1280390"/>
                    </a:moveTo>
                    <a:lnTo>
                      <a:pt x="280684" y="1282699"/>
                    </a:lnTo>
                    <a:lnTo>
                      <a:pt x="281469" y="1281545"/>
                    </a:lnTo>
                    <a:lnTo>
                      <a:pt x="280094" y="1280390"/>
                    </a:lnTo>
                    <a:close/>
                  </a:path>
                  <a:path w="3439795" h="1447800">
                    <a:moveTo>
                      <a:pt x="281469" y="1281545"/>
                    </a:moveTo>
                    <a:lnTo>
                      <a:pt x="280684" y="1282699"/>
                    </a:lnTo>
                    <a:lnTo>
                      <a:pt x="282844" y="1282699"/>
                    </a:lnTo>
                    <a:lnTo>
                      <a:pt x="281469" y="1281545"/>
                    </a:lnTo>
                    <a:close/>
                  </a:path>
                  <a:path w="3439795" h="1447800">
                    <a:moveTo>
                      <a:pt x="283564" y="1278466"/>
                    </a:moveTo>
                    <a:lnTo>
                      <a:pt x="281469" y="1281545"/>
                    </a:lnTo>
                    <a:lnTo>
                      <a:pt x="282844" y="1282699"/>
                    </a:lnTo>
                    <a:lnTo>
                      <a:pt x="283564" y="1278466"/>
                    </a:lnTo>
                    <a:close/>
                  </a:path>
                  <a:path w="3439795" h="1447800">
                    <a:moveTo>
                      <a:pt x="274203" y="1257299"/>
                    </a:moveTo>
                    <a:lnTo>
                      <a:pt x="280094" y="1280390"/>
                    </a:lnTo>
                    <a:lnTo>
                      <a:pt x="281469" y="1281545"/>
                    </a:lnTo>
                    <a:lnTo>
                      <a:pt x="283564" y="1278466"/>
                    </a:lnTo>
                    <a:lnTo>
                      <a:pt x="285004" y="1269999"/>
                    </a:lnTo>
                    <a:lnTo>
                      <a:pt x="274203" y="1257299"/>
                    </a:lnTo>
                    <a:close/>
                  </a:path>
                  <a:path w="3439795" h="1447800">
                    <a:moveTo>
                      <a:pt x="274203" y="1257299"/>
                    </a:moveTo>
                    <a:lnTo>
                      <a:pt x="272043" y="1269999"/>
                    </a:lnTo>
                    <a:lnTo>
                      <a:pt x="267722" y="1269999"/>
                    </a:lnTo>
                    <a:lnTo>
                      <a:pt x="280094" y="1280390"/>
                    </a:lnTo>
                    <a:lnTo>
                      <a:pt x="277443" y="1269999"/>
                    </a:lnTo>
                    <a:lnTo>
                      <a:pt x="272043" y="1269999"/>
                    </a:lnTo>
                    <a:lnTo>
                      <a:pt x="274203" y="1257299"/>
                    </a:lnTo>
                    <a:close/>
                  </a:path>
                  <a:path w="3439795" h="1447800">
                    <a:moveTo>
                      <a:pt x="280684" y="1244599"/>
                    </a:moveTo>
                    <a:lnTo>
                      <a:pt x="278523" y="1244599"/>
                    </a:lnTo>
                    <a:lnTo>
                      <a:pt x="274203" y="1257299"/>
                    </a:lnTo>
                    <a:lnTo>
                      <a:pt x="285004" y="1269999"/>
                    </a:lnTo>
                    <a:lnTo>
                      <a:pt x="283564" y="1278466"/>
                    </a:lnTo>
                    <a:lnTo>
                      <a:pt x="289324" y="1269999"/>
                    </a:lnTo>
                    <a:lnTo>
                      <a:pt x="276363" y="1257299"/>
                    </a:lnTo>
                    <a:lnTo>
                      <a:pt x="291485" y="1257299"/>
                    </a:lnTo>
                    <a:lnTo>
                      <a:pt x="280684" y="1244599"/>
                    </a:lnTo>
                    <a:close/>
                  </a:path>
                  <a:path w="3439795" h="1447800">
                    <a:moveTo>
                      <a:pt x="274203" y="1257299"/>
                    </a:moveTo>
                    <a:lnTo>
                      <a:pt x="267722" y="1257299"/>
                    </a:lnTo>
                    <a:lnTo>
                      <a:pt x="267722" y="1269999"/>
                    </a:lnTo>
                    <a:lnTo>
                      <a:pt x="274203" y="1257299"/>
                    </a:lnTo>
                    <a:close/>
                  </a:path>
                  <a:path w="3439795" h="1447800">
                    <a:moveTo>
                      <a:pt x="291485" y="1257299"/>
                    </a:moveTo>
                    <a:lnTo>
                      <a:pt x="276363" y="1257299"/>
                    </a:lnTo>
                    <a:lnTo>
                      <a:pt x="289324" y="1269999"/>
                    </a:lnTo>
                    <a:lnTo>
                      <a:pt x="291485" y="1257299"/>
                    </a:lnTo>
                    <a:close/>
                  </a:path>
                  <a:path w="3439795" h="1447800">
                    <a:moveTo>
                      <a:pt x="280684" y="1244599"/>
                    </a:moveTo>
                    <a:lnTo>
                      <a:pt x="291485" y="1257299"/>
                    </a:lnTo>
                    <a:lnTo>
                      <a:pt x="292349" y="1256029"/>
                    </a:lnTo>
                    <a:lnTo>
                      <a:pt x="280684" y="1244599"/>
                    </a:lnTo>
                    <a:close/>
                  </a:path>
                  <a:path w="3439795" h="1447800">
                    <a:moveTo>
                      <a:pt x="292349" y="1256029"/>
                    </a:moveTo>
                    <a:lnTo>
                      <a:pt x="291485" y="1257299"/>
                    </a:lnTo>
                    <a:lnTo>
                      <a:pt x="293645" y="1257299"/>
                    </a:lnTo>
                    <a:lnTo>
                      <a:pt x="292349" y="1256029"/>
                    </a:lnTo>
                    <a:close/>
                  </a:path>
                  <a:path w="3439795" h="1447800">
                    <a:moveTo>
                      <a:pt x="300126" y="1244599"/>
                    </a:moveTo>
                    <a:lnTo>
                      <a:pt x="280684" y="1244599"/>
                    </a:lnTo>
                    <a:lnTo>
                      <a:pt x="292349" y="1256029"/>
                    </a:lnTo>
                    <a:lnTo>
                      <a:pt x="300126" y="1244599"/>
                    </a:lnTo>
                    <a:close/>
                  </a:path>
                  <a:path w="3439795" h="1447800">
                    <a:moveTo>
                      <a:pt x="287164" y="1231899"/>
                    </a:moveTo>
                    <a:lnTo>
                      <a:pt x="285004" y="1244599"/>
                    </a:lnTo>
                    <a:lnTo>
                      <a:pt x="302286" y="1244599"/>
                    </a:lnTo>
                    <a:lnTo>
                      <a:pt x="287164" y="1231899"/>
                    </a:lnTo>
                    <a:close/>
                  </a:path>
                  <a:path w="3439795" h="1447800">
                    <a:moveTo>
                      <a:pt x="291485" y="1231899"/>
                    </a:moveTo>
                    <a:lnTo>
                      <a:pt x="287164" y="1231899"/>
                    </a:lnTo>
                    <a:lnTo>
                      <a:pt x="302286" y="1244599"/>
                    </a:lnTo>
                    <a:lnTo>
                      <a:pt x="304446" y="1244599"/>
                    </a:lnTo>
                    <a:lnTo>
                      <a:pt x="291485" y="1231899"/>
                    </a:lnTo>
                    <a:close/>
                  </a:path>
                  <a:path w="3439795" h="1447800">
                    <a:moveTo>
                      <a:pt x="306606" y="1231899"/>
                    </a:moveTo>
                    <a:lnTo>
                      <a:pt x="291485" y="1231899"/>
                    </a:lnTo>
                    <a:lnTo>
                      <a:pt x="304446" y="1244599"/>
                    </a:lnTo>
                    <a:lnTo>
                      <a:pt x="306606" y="1238249"/>
                    </a:lnTo>
                    <a:lnTo>
                      <a:pt x="306606" y="1231899"/>
                    </a:lnTo>
                    <a:close/>
                  </a:path>
                  <a:path w="3439795" h="1447800">
                    <a:moveTo>
                      <a:pt x="308766" y="1231899"/>
                    </a:moveTo>
                    <a:lnTo>
                      <a:pt x="306606" y="1238249"/>
                    </a:lnTo>
                    <a:lnTo>
                      <a:pt x="306606" y="1244599"/>
                    </a:lnTo>
                    <a:lnTo>
                      <a:pt x="308766" y="1231899"/>
                    </a:lnTo>
                    <a:close/>
                  </a:path>
                  <a:path w="3439795" h="1447800">
                    <a:moveTo>
                      <a:pt x="300126" y="1219199"/>
                    </a:moveTo>
                    <a:lnTo>
                      <a:pt x="293645" y="1231899"/>
                    </a:lnTo>
                    <a:lnTo>
                      <a:pt x="315247" y="1231899"/>
                    </a:lnTo>
                    <a:lnTo>
                      <a:pt x="300126" y="1219199"/>
                    </a:lnTo>
                    <a:close/>
                  </a:path>
                  <a:path w="3439795" h="1447800">
                    <a:moveTo>
                      <a:pt x="303829" y="1188357"/>
                    </a:moveTo>
                    <a:lnTo>
                      <a:pt x="300126" y="1193799"/>
                    </a:lnTo>
                    <a:lnTo>
                      <a:pt x="300126" y="1219199"/>
                    </a:lnTo>
                    <a:lnTo>
                      <a:pt x="315247" y="1231899"/>
                    </a:lnTo>
                    <a:lnTo>
                      <a:pt x="319568" y="1219199"/>
                    </a:lnTo>
                    <a:lnTo>
                      <a:pt x="319568" y="1206499"/>
                    </a:lnTo>
                    <a:lnTo>
                      <a:pt x="308766" y="1206499"/>
                    </a:lnTo>
                    <a:lnTo>
                      <a:pt x="308766" y="1193799"/>
                    </a:lnTo>
                    <a:lnTo>
                      <a:pt x="306606" y="1193799"/>
                    </a:lnTo>
                    <a:lnTo>
                      <a:pt x="303829" y="1188357"/>
                    </a:lnTo>
                    <a:close/>
                  </a:path>
                  <a:path w="3439795" h="1447800">
                    <a:moveTo>
                      <a:pt x="308766" y="1181099"/>
                    </a:moveTo>
                    <a:lnTo>
                      <a:pt x="308766" y="1206499"/>
                    </a:lnTo>
                    <a:lnTo>
                      <a:pt x="315247" y="1206499"/>
                    </a:lnTo>
                    <a:lnTo>
                      <a:pt x="319568" y="1200149"/>
                    </a:lnTo>
                    <a:lnTo>
                      <a:pt x="319568" y="1193799"/>
                    </a:lnTo>
                    <a:lnTo>
                      <a:pt x="310927" y="1193799"/>
                    </a:lnTo>
                    <a:lnTo>
                      <a:pt x="312367" y="1185333"/>
                    </a:lnTo>
                    <a:lnTo>
                      <a:pt x="308766" y="1181099"/>
                    </a:lnTo>
                    <a:close/>
                  </a:path>
                  <a:path w="3439795" h="1447800">
                    <a:moveTo>
                      <a:pt x="319568" y="1200149"/>
                    </a:moveTo>
                    <a:lnTo>
                      <a:pt x="315247" y="1206499"/>
                    </a:lnTo>
                    <a:lnTo>
                      <a:pt x="319568" y="1206499"/>
                    </a:lnTo>
                    <a:lnTo>
                      <a:pt x="319568" y="1200149"/>
                    </a:lnTo>
                    <a:close/>
                  </a:path>
                  <a:path w="3439795" h="1447800">
                    <a:moveTo>
                      <a:pt x="323888" y="1193799"/>
                    </a:moveTo>
                    <a:lnTo>
                      <a:pt x="319568" y="1200149"/>
                    </a:lnTo>
                    <a:lnTo>
                      <a:pt x="319568" y="1206499"/>
                    </a:lnTo>
                    <a:lnTo>
                      <a:pt x="321728" y="1206499"/>
                    </a:lnTo>
                    <a:lnTo>
                      <a:pt x="323888" y="1193799"/>
                    </a:lnTo>
                    <a:close/>
                  </a:path>
                  <a:path w="3439795" h="1447800">
                    <a:moveTo>
                      <a:pt x="317407" y="1187449"/>
                    </a:moveTo>
                    <a:lnTo>
                      <a:pt x="317407" y="1191259"/>
                    </a:lnTo>
                    <a:lnTo>
                      <a:pt x="319568" y="1193799"/>
                    </a:lnTo>
                    <a:lnTo>
                      <a:pt x="319568" y="1200149"/>
                    </a:lnTo>
                    <a:lnTo>
                      <a:pt x="323888" y="1193799"/>
                    </a:lnTo>
                    <a:lnTo>
                      <a:pt x="321728" y="1190624"/>
                    </a:lnTo>
                    <a:lnTo>
                      <a:pt x="317407" y="1187449"/>
                    </a:lnTo>
                    <a:close/>
                  </a:path>
                  <a:path w="3439795" h="1447800">
                    <a:moveTo>
                      <a:pt x="300126" y="1181099"/>
                    </a:moveTo>
                    <a:lnTo>
                      <a:pt x="300126" y="1193799"/>
                    </a:lnTo>
                    <a:lnTo>
                      <a:pt x="303829" y="1188357"/>
                    </a:lnTo>
                    <a:lnTo>
                      <a:pt x="300126" y="1181099"/>
                    </a:lnTo>
                    <a:close/>
                  </a:path>
                  <a:path w="3439795" h="1447800">
                    <a:moveTo>
                      <a:pt x="306606" y="1184274"/>
                    </a:moveTo>
                    <a:lnTo>
                      <a:pt x="303829" y="1188357"/>
                    </a:lnTo>
                    <a:lnTo>
                      <a:pt x="306606" y="1193799"/>
                    </a:lnTo>
                    <a:lnTo>
                      <a:pt x="306606" y="1184274"/>
                    </a:lnTo>
                    <a:close/>
                  </a:path>
                  <a:path w="3439795" h="1447800">
                    <a:moveTo>
                      <a:pt x="308766" y="1181099"/>
                    </a:moveTo>
                    <a:lnTo>
                      <a:pt x="306606" y="1184274"/>
                    </a:lnTo>
                    <a:lnTo>
                      <a:pt x="306606" y="1193799"/>
                    </a:lnTo>
                    <a:lnTo>
                      <a:pt x="308766" y="1181099"/>
                    </a:lnTo>
                    <a:close/>
                  </a:path>
                  <a:path w="3439795" h="1447800">
                    <a:moveTo>
                      <a:pt x="308766" y="1181099"/>
                    </a:moveTo>
                    <a:lnTo>
                      <a:pt x="306606" y="1193799"/>
                    </a:lnTo>
                    <a:lnTo>
                      <a:pt x="308766" y="1193799"/>
                    </a:lnTo>
                    <a:lnTo>
                      <a:pt x="308766" y="1181099"/>
                    </a:lnTo>
                    <a:close/>
                  </a:path>
                  <a:path w="3439795" h="1447800">
                    <a:moveTo>
                      <a:pt x="312367" y="1185333"/>
                    </a:moveTo>
                    <a:lnTo>
                      <a:pt x="310927" y="1193799"/>
                    </a:lnTo>
                    <a:lnTo>
                      <a:pt x="312921" y="1185984"/>
                    </a:lnTo>
                    <a:lnTo>
                      <a:pt x="312367" y="1185333"/>
                    </a:lnTo>
                    <a:close/>
                  </a:path>
                  <a:path w="3439795" h="1447800">
                    <a:moveTo>
                      <a:pt x="312921" y="1185984"/>
                    </a:moveTo>
                    <a:lnTo>
                      <a:pt x="310927" y="1193799"/>
                    </a:lnTo>
                    <a:lnTo>
                      <a:pt x="317407" y="1193799"/>
                    </a:lnTo>
                    <a:lnTo>
                      <a:pt x="317407" y="1191259"/>
                    </a:lnTo>
                    <a:lnTo>
                      <a:pt x="312921" y="1185984"/>
                    </a:lnTo>
                    <a:close/>
                  </a:path>
                  <a:path w="3439795" h="1447800">
                    <a:moveTo>
                      <a:pt x="317407" y="1191259"/>
                    </a:moveTo>
                    <a:lnTo>
                      <a:pt x="317407" y="1193799"/>
                    </a:lnTo>
                    <a:lnTo>
                      <a:pt x="319568" y="1193799"/>
                    </a:lnTo>
                    <a:lnTo>
                      <a:pt x="317407" y="1191259"/>
                    </a:lnTo>
                    <a:close/>
                  </a:path>
                  <a:path w="3439795" h="1447800">
                    <a:moveTo>
                      <a:pt x="321728" y="1190624"/>
                    </a:moveTo>
                    <a:lnTo>
                      <a:pt x="323888" y="1193799"/>
                    </a:lnTo>
                    <a:lnTo>
                      <a:pt x="326048" y="1193799"/>
                    </a:lnTo>
                    <a:lnTo>
                      <a:pt x="321728" y="1190624"/>
                    </a:lnTo>
                    <a:close/>
                  </a:path>
                  <a:path w="3439795" h="1447800">
                    <a:moveTo>
                      <a:pt x="317407" y="1168399"/>
                    </a:moveTo>
                    <a:lnTo>
                      <a:pt x="317521" y="1184442"/>
                    </a:lnTo>
                    <a:lnTo>
                      <a:pt x="321728" y="1190624"/>
                    </a:lnTo>
                    <a:lnTo>
                      <a:pt x="326048" y="1193799"/>
                    </a:lnTo>
                    <a:lnTo>
                      <a:pt x="326048" y="1181099"/>
                    </a:lnTo>
                    <a:lnTo>
                      <a:pt x="319568" y="1181099"/>
                    </a:lnTo>
                    <a:lnTo>
                      <a:pt x="319568" y="1171574"/>
                    </a:lnTo>
                    <a:lnTo>
                      <a:pt x="317407" y="1168399"/>
                    </a:lnTo>
                    <a:close/>
                  </a:path>
                  <a:path w="3439795" h="1447800">
                    <a:moveTo>
                      <a:pt x="313314" y="1184442"/>
                    </a:moveTo>
                    <a:lnTo>
                      <a:pt x="312921" y="1185984"/>
                    </a:lnTo>
                    <a:lnTo>
                      <a:pt x="317407" y="1191259"/>
                    </a:lnTo>
                    <a:lnTo>
                      <a:pt x="317407" y="1187449"/>
                    </a:lnTo>
                    <a:lnTo>
                      <a:pt x="313314" y="1184442"/>
                    </a:lnTo>
                    <a:close/>
                  </a:path>
                  <a:path w="3439795" h="1447800">
                    <a:moveTo>
                      <a:pt x="317407" y="1184274"/>
                    </a:moveTo>
                    <a:lnTo>
                      <a:pt x="317407" y="1187449"/>
                    </a:lnTo>
                    <a:lnTo>
                      <a:pt x="321728" y="1190624"/>
                    </a:lnTo>
                    <a:lnTo>
                      <a:pt x="317407" y="1184274"/>
                    </a:lnTo>
                    <a:close/>
                  </a:path>
                  <a:path w="3439795" h="1447800">
                    <a:moveTo>
                      <a:pt x="315247" y="1168399"/>
                    </a:moveTo>
                    <a:lnTo>
                      <a:pt x="304446" y="1181099"/>
                    </a:lnTo>
                    <a:lnTo>
                      <a:pt x="300126" y="1181099"/>
                    </a:lnTo>
                    <a:lnTo>
                      <a:pt x="303829" y="1188357"/>
                    </a:lnTo>
                    <a:lnTo>
                      <a:pt x="306493" y="1184442"/>
                    </a:lnTo>
                    <a:lnTo>
                      <a:pt x="306606" y="1181099"/>
                    </a:lnTo>
                    <a:lnTo>
                      <a:pt x="304446" y="1181099"/>
                    </a:lnTo>
                    <a:lnTo>
                      <a:pt x="303366" y="1177924"/>
                    </a:lnTo>
                    <a:lnTo>
                      <a:pt x="309306" y="1177924"/>
                    </a:lnTo>
                    <a:lnTo>
                      <a:pt x="314707" y="1171574"/>
                    </a:lnTo>
                    <a:lnTo>
                      <a:pt x="315247" y="1168399"/>
                    </a:lnTo>
                    <a:close/>
                  </a:path>
                  <a:path w="3439795" h="1447800">
                    <a:moveTo>
                      <a:pt x="317407" y="1168399"/>
                    </a:moveTo>
                    <a:lnTo>
                      <a:pt x="313314" y="1184442"/>
                    </a:lnTo>
                    <a:lnTo>
                      <a:pt x="317407" y="1187449"/>
                    </a:lnTo>
                    <a:lnTo>
                      <a:pt x="317407" y="1184274"/>
                    </a:lnTo>
                    <a:lnTo>
                      <a:pt x="315247" y="1181099"/>
                    </a:lnTo>
                    <a:lnTo>
                      <a:pt x="317407" y="1181099"/>
                    </a:lnTo>
                    <a:lnTo>
                      <a:pt x="317407" y="1168399"/>
                    </a:lnTo>
                    <a:close/>
                  </a:path>
                  <a:path w="3439795" h="1447800">
                    <a:moveTo>
                      <a:pt x="312607" y="1183922"/>
                    </a:moveTo>
                    <a:lnTo>
                      <a:pt x="312367" y="1185333"/>
                    </a:lnTo>
                    <a:lnTo>
                      <a:pt x="312921" y="1185984"/>
                    </a:lnTo>
                    <a:lnTo>
                      <a:pt x="313314" y="1184442"/>
                    </a:lnTo>
                    <a:lnTo>
                      <a:pt x="312607" y="1183922"/>
                    </a:lnTo>
                    <a:close/>
                  </a:path>
                  <a:path w="3439795" h="1447800">
                    <a:moveTo>
                      <a:pt x="308766" y="1181099"/>
                    </a:moveTo>
                    <a:lnTo>
                      <a:pt x="312367" y="1185333"/>
                    </a:lnTo>
                    <a:lnTo>
                      <a:pt x="312607" y="1183922"/>
                    </a:lnTo>
                    <a:lnTo>
                      <a:pt x="308766" y="1181099"/>
                    </a:lnTo>
                    <a:close/>
                  </a:path>
                  <a:path w="3439795" h="1447800">
                    <a:moveTo>
                      <a:pt x="317407" y="1168399"/>
                    </a:moveTo>
                    <a:lnTo>
                      <a:pt x="314707" y="1171574"/>
                    </a:lnTo>
                    <a:lnTo>
                      <a:pt x="312607" y="1183922"/>
                    </a:lnTo>
                    <a:lnTo>
                      <a:pt x="313314" y="1184442"/>
                    </a:lnTo>
                    <a:lnTo>
                      <a:pt x="317407" y="1168399"/>
                    </a:lnTo>
                    <a:close/>
                  </a:path>
                  <a:path w="3439795" h="1447800">
                    <a:moveTo>
                      <a:pt x="314707" y="1171574"/>
                    </a:moveTo>
                    <a:lnTo>
                      <a:pt x="306606" y="1181099"/>
                    </a:lnTo>
                    <a:lnTo>
                      <a:pt x="306606" y="1184274"/>
                    </a:lnTo>
                    <a:lnTo>
                      <a:pt x="308766" y="1181099"/>
                    </a:lnTo>
                    <a:lnTo>
                      <a:pt x="313087" y="1181099"/>
                    </a:lnTo>
                    <a:lnTo>
                      <a:pt x="314707" y="1171574"/>
                    </a:lnTo>
                    <a:close/>
                  </a:path>
                  <a:path w="3439795" h="1447800">
                    <a:moveTo>
                      <a:pt x="317407" y="1181099"/>
                    </a:moveTo>
                    <a:lnTo>
                      <a:pt x="315247" y="1181099"/>
                    </a:lnTo>
                    <a:lnTo>
                      <a:pt x="317407" y="1184274"/>
                    </a:lnTo>
                    <a:lnTo>
                      <a:pt x="317407" y="1181099"/>
                    </a:lnTo>
                    <a:close/>
                  </a:path>
                  <a:path w="3439795" h="1447800">
                    <a:moveTo>
                      <a:pt x="313087" y="1181099"/>
                    </a:moveTo>
                    <a:lnTo>
                      <a:pt x="308766" y="1181099"/>
                    </a:lnTo>
                    <a:lnTo>
                      <a:pt x="312607" y="1183922"/>
                    </a:lnTo>
                    <a:lnTo>
                      <a:pt x="313087" y="1181099"/>
                    </a:lnTo>
                    <a:close/>
                  </a:path>
                  <a:path w="3439795" h="1447800">
                    <a:moveTo>
                      <a:pt x="300126" y="1168399"/>
                    </a:moveTo>
                    <a:lnTo>
                      <a:pt x="300126" y="1181099"/>
                    </a:lnTo>
                    <a:lnTo>
                      <a:pt x="303366" y="1177924"/>
                    </a:lnTo>
                    <a:lnTo>
                      <a:pt x="300126" y="1168399"/>
                    </a:lnTo>
                    <a:close/>
                  </a:path>
                  <a:path w="3439795" h="1447800">
                    <a:moveTo>
                      <a:pt x="308766" y="1155699"/>
                    </a:moveTo>
                    <a:lnTo>
                      <a:pt x="302286" y="1168399"/>
                    </a:lnTo>
                    <a:lnTo>
                      <a:pt x="313087" y="1168399"/>
                    </a:lnTo>
                    <a:lnTo>
                      <a:pt x="303366" y="1177924"/>
                    </a:lnTo>
                    <a:lnTo>
                      <a:pt x="304446" y="1181099"/>
                    </a:lnTo>
                    <a:lnTo>
                      <a:pt x="315247" y="1168399"/>
                    </a:lnTo>
                    <a:lnTo>
                      <a:pt x="308766" y="1155699"/>
                    </a:lnTo>
                    <a:close/>
                  </a:path>
                  <a:path w="3439795" h="1447800">
                    <a:moveTo>
                      <a:pt x="319568" y="1171574"/>
                    </a:moveTo>
                    <a:lnTo>
                      <a:pt x="319568" y="1181099"/>
                    </a:lnTo>
                    <a:lnTo>
                      <a:pt x="326048" y="1181099"/>
                    </a:lnTo>
                    <a:lnTo>
                      <a:pt x="319568" y="1171574"/>
                    </a:lnTo>
                    <a:close/>
                  </a:path>
                  <a:path w="3439795" h="1447800">
                    <a:moveTo>
                      <a:pt x="326048" y="1168399"/>
                    </a:moveTo>
                    <a:lnTo>
                      <a:pt x="319568" y="1168399"/>
                    </a:lnTo>
                    <a:lnTo>
                      <a:pt x="319568" y="1171574"/>
                    </a:lnTo>
                    <a:lnTo>
                      <a:pt x="326048" y="1181099"/>
                    </a:lnTo>
                    <a:lnTo>
                      <a:pt x="326048" y="1168399"/>
                    </a:lnTo>
                    <a:close/>
                  </a:path>
                  <a:path w="3439795" h="1447800">
                    <a:moveTo>
                      <a:pt x="308766" y="1155699"/>
                    </a:moveTo>
                    <a:lnTo>
                      <a:pt x="300126" y="1168399"/>
                    </a:lnTo>
                    <a:lnTo>
                      <a:pt x="303366" y="1177924"/>
                    </a:lnTo>
                    <a:lnTo>
                      <a:pt x="313087" y="1168399"/>
                    </a:lnTo>
                    <a:lnTo>
                      <a:pt x="302286" y="1168399"/>
                    </a:lnTo>
                    <a:lnTo>
                      <a:pt x="308766" y="1155699"/>
                    </a:lnTo>
                    <a:close/>
                  </a:path>
                  <a:path w="3439795" h="1447800">
                    <a:moveTo>
                      <a:pt x="317407" y="1168399"/>
                    </a:moveTo>
                    <a:lnTo>
                      <a:pt x="315247" y="1168399"/>
                    </a:lnTo>
                    <a:lnTo>
                      <a:pt x="314707" y="1171574"/>
                    </a:lnTo>
                    <a:lnTo>
                      <a:pt x="317407" y="1168399"/>
                    </a:lnTo>
                    <a:close/>
                  </a:path>
                  <a:path w="3439795" h="1447800">
                    <a:moveTo>
                      <a:pt x="319568" y="1168399"/>
                    </a:moveTo>
                    <a:lnTo>
                      <a:pt x="317407" y="1168399"/>
                    </a:lnTo>
                    <a:lnTo>
                      <a:pt x="319568" y="1171574"/>
                    </a:lnTo>
                    <a:lnTo>
                      <a:pt x="319568" y="1168399"/>
                    </a:lnTo>
                    <a:close/>
                  </a:path>
                  <a:path w="3439795" h="1447800">
                    <a:moveTo>
                      <a:pt x="302286" y="1155699"/>
                    </a:moveTo>
                    <a:lnTo>
                      <a:pt x="287164" y="1155699"/>
                    </a:lnTo>
                    <a:lnTo>
                      <a:pt x="289324" y="1168399"/>
                    </a:lnTo>
                    <a:lnTo>
                      <a:pt x="302286" y="1155699"/>
                    </a:lnTo>
                    <a:close/>
                  </a:path>
                  <a:path w="3439795" h="1447800">
                    <a:moveTo>
                      <a:pt x="295805" y="1134533"/>
                    </a:moveTo>
                    <a:lnTo>
                      <a:pt x="287164" y="1142999"/>
                    </a:lnTo>
                    <a:lnTo>
                      <a:pt x="289324" y="1155699"/>
                    </a:lnTo>
                    <a:lnTo>
                      <a:pt x="302286" y="1155699"/>
                    </a:lnTo>
                    <a:lnTo>
                      <a:pt x="289324" y="1168399"/>
                    </a:lnTo>
                    <a:lnTo>
                      <a:pt x="306606" y="1155699"/>
                    </a:lnTo>
                    <a:lnTo>
                      <a:pt x="304446" y="1142999"/>
                    </a:lnTo>
                    <a:lnTo>
                      <a:pt x="295805" y="1142999"/>
                    </a:lnTo>
                    <a:lnTo>
                      <a:pt x="295805" y="1134533"/>
                    </a:lnTo>
                    <a:close/>
                  </a:path>
                  <a:path w="3439795" h="1447800">
                    <a:moveTo>
                      <a:pt x="308766" y="1155699"/>
                    </a:moveTo>
                    <a:lnTo>
                      <a:pt x="306606" y="1155699"/>
                    </a:lnTo>
                    <a:lnTo>
                      <a:pt x="289324" y="1168399"/>
                    </a:lnTo>
                    <a:lnTo>
                      <a:pt x="300126" y="1168399"/>
                    </a:lnTo>
                    <a:lnTo>
                      <a:pt x="308766" y="1155699"/>
                    </a:lnTo>
                    <a:close/>
                  </a:path>
                  <a:path w="3439795" h="1447800">
                    <a:moveTo>
                      <a:pt x="293645" y="1130299"/>
                    </a:moveTo>
                    <a:lnTo>
                      <a:pt x="280684" y="1130299"/>
                    </a:lnTo>
                    <a:lnTo>
                      <a:pt x="282844" y="1142999"/>
                    </a:lnTo>
                    <a:lnTo>
                      <a:pt x="291485" y="1134533"/>
                    </a:lnTo>
                    <a:lnTo>
                      <a:pt x="293645" y="1130299"/>
                    </a:lnTo>
                    <a:close/>
                  </a:path>
                  <a:path w="3439795" h="1447800">
                    <a:moveTo>
                      <a:pt x="291485" y="1134533"/>
                    </a:moveTo>
                    <a:lnTo>
                      <a:pt x="282844" y="1142999"/>
                    </a:lnTo>
                    <a:lnTo>
                      <a:pt x="290405" y="1136649"/>
                    </a:lnTo>
                    <a:lnTo>
                      <a:pt x="291485" y="1134533"/>
                    </a:lnTo>
                    <a:close/>
                  </a:path>
                  <a:path w="3439795" h="1447800">
                    <a:moveTo>
                      <a:pt x="290405" y="1136649"/>
                    </a:moveTo>
                    <a:lnTo>
                      <a:pt x="282844" y="1142999"/>
                    </a:lnTo>
                    <a:lnTo>
                      <a:pt x="289757" y="1137919"/>
                    </a:lnTo>
                    <a:lnTo>
                      <a:pt x="290405" y="1136649"/>
                    </a:lnTo>
                    <a:close/>
                  </a:path>
                  <a:path w="3439795" h="1447800">
                    <a:moveTo>
                      <a:pt x="289757" y="1137919"/>
                    </a:moveTo>
                    <a:lnTo>
                      <a:pt x="282844" y="1142999"/>
                    </a:lnTo>
                    <a:lnTo>
                      <a:pt x="287164" y="1142999"/>
                    </a:lnTo>
                    <a:lnTo>
                      <a:pt x="289757" y="1137919"/>
                    </a:lnTo>
                    <a:close/>
                  </a:path>
                  <a:path w="3439795" h="1447800">
                    <a:moveTo>
                      <a:pt x="291485" y="1136649"/>
                    </a:moveTo>
                    <a:lnTo>
                      <a:pt x="289757" y="1137919"/>
                    </a:lnTo>
                    <a:lnTo>
                      <a:pt x="287164" y="1142999"/>
                    </a:lnTo>
                    <a:lnTo>
                      <a:pt x="291485" y="1136649"/>
                    </a:lnTo>
                    <a:close/>
                  </a:path>
                  <a:path w="3439795" h="1447800">
                    <a:moveTo>
                      <a:pt x="295805" y="1133474"/>
                    </a:moveTo>
                    <a:lnTo>
                      <a:pt x="291485" y="1136649"/>
                    </a:lnTo>
                    <a:lnTo>
                      <a:pt x="287164" y="1142999"/>
                    </a:lnTo>
                    <a:lnTo>
                      <a:pt x="295805" y="1134533"/>
                    </a:lnTo>
                    <a:lnTo>
                      <a:pt x="295805" y="1133474"/>
                    </a:lnTo>
                    <a:close/>
                  </a:path>
                  <a:path w="3439795" h="1447800">
                    <a:moveTo>
                      <a:pt x="297533" y="1132839"/>
                    </a:moveTo>
                    <a:lnTo>
                      <a:pt x="295805" y="1134533"/>
                    </a:lnTo>
                    <a:lnTo>
                      <a:pt x="295805" y="1142999"/>
                    </a:lnTo>
                    <a:lnTo>
                      <a:pt x="304446" y="1142999"/>
                    </a:lnTo>
                    <a:lnTo>
                      <a:pt x="297533" y="1132839"/>
                    </a:lnTo>
                    <a:close/>
                  </a:path>
                  <a:path w="3439795" h="1447800">
                    <a:moveTo>
                      <a:pt x="302286" y="1130299"/>
                    </a:moveTo>
                    <a:lnTo>
                      <a:pt x="300126" y="1130299"/>
                    </a:lnTo>
                    <a:lnTo>
                      <a:pt x="297533" y="1132839"/>
                    </a:lnTo>
                    <a:lnTo>
                      <a:pt x="304446" y="1142999"/>
                    </a:lnTo>
                    <a:lnTo>
                      <a:pt x="302286" y="1130299"/>
                    </a:lnTo>
                    <a:close/>
                  </a:path>
                  <a:path w="3439795" h="1447800">
                    <a:moveTo>
                      <a:pt x="292925" y="1134533"/>
                    </a:moveTo>
                    <a:lnTo>
                      <a:pt x="290405" y="1136649"/>
                    </a:lnTo>
                    <a:lnTo>
                      <a:pt x="289757" y="1137919"/>
                    </a:lnTo>
                    <a:lnTo>
                      <a:pt x="291485" y="1136649"/>
                    </a:lnTo>
                    <a:lnTo>
                      <a:pt x="292925" y="1134533"/>
                    </a:lnTo>
                    <a:close/>
                  </a:path>
                  <a:path w="3439795" h="1447800">
                    <a:moveTo>
                      <a:pt x="295805" y="1130299"/>
                    </a:moveTo>
                    <a:lnTo>
                      <a:pt x="291485" y="1134533"/>
                    </a:lnTo>
                    <a:lnTo>
                      <a:pt x="290405" y="1136649"/>
                    </a:lnTo>
                    <a:lnTo>
                      <a:pt x="292925" y="1134533"/>
                    </a:lnTo>
                    <a:lnTo>
                      <a:pt x="295805" y="1130299"/>
                    </a:lnTo>
                    <a:close/>
                  </a:path>
                  <a:path w="3439795" h="1447800">
                    <a:moveTo>
                      <a:pt x="295805" y="1132114"/>
                    </a:moveTo>
                    <a:lnTo>
                      <a:pt x="292925" y="1134533"/>
                    </a:lnTo>
                    <a:lnTo>
                      <a:pt x="291485" y="1136649"/>
                    </a:lnTo>
                    <a:lnTo>
                      <a:pt x="295805" y="1133474"/>
                    </a:lnTo>
                    <a:lnTo>
                      <a:pt x="295805" y="1132114"/>
                    </a:lnTo>
                    <a:close/>
                  </a:path>
                  <a:path w="3439795" h="1447800">
                    <a:moveTo>
                      <a:pt x="291485" y="1117599"/>
                    </a:moveTo>
                    <a:lnTo>
                      <a:pt x="276363" y="1130299"/>
                    </a:lnTo>
                    <a:lnTo>
                      <a:pt x="293645" y="1130299"/>
                    </a:lnTo>
                    <a:lnTo>
                      <a:pt x="291485" y="1134533"/>
                    </a:lnTo>
                    <a:lnTo>
                      <a:pt x="295805" y="1130299"/>
                    </a:lnTo>
                    <a:lnTo>
                      <a:pt x="291485" y="1117599"/>
                    </a:lnTo>
                    <a:close/>
                  </a:path>
                  <a:path w="3439795" h="1447800">
                    <a:moveTo>
                      <a:pt x="295805" y="1130299"/>
                    </a:moveTo>
                    <a:lnTo>
                      <a:pt x="292925" y="1134533"/>
                    </a:lnTo>
                    <a:lnTo>
                      <a:pt x="295805" y="1132114"/>
                    </a:lnTo>
                    <a:lnTo>
                      <a:pt x="295805" y="1130299"/>
                    </a:lnTo>
                    <a:close/>
                  </a:path>
                  <a:path w="3439795" h="1447800">
                    <a:moveTo>
                      <a:pt x="297245" y="1132416"/>
                    </a:moveTo>
                    <a:lnTo>
                      <a:pt x="295805" y="1133474"/>
                    </a:lnTo>
                    <a:lnTo>
                      <a:pt x="295805" y="1134533"/>
                    </a:lnTo>
                    <a:lnTo>
                      <a:pt x="297533" y="1132839"/>
                    </a:lnTo>
                    <a:lnTo>
                      <a:pt x="297245" y="1132416"/>
                    </a:lnTo>
                    <a:close/>
                  </a:path>
                  <a:path w="3439795" h="1447800">
                    <a:moveTo>
                      <a:pt x="296591" y="1131454"/>
                    </a:moveTo>
                    <a:lnTo>
                      <a:pt x="295805" y="1132114"/>
                    </a:lnTo>
                    <a:lnTo>
                      <a:pt x="295805" y="1133474"/>
                    </a:lnTo>
                    <a:lnTo>
                      <a:pt x="297245" y="1132416"/>
                    </a:lnTo>
                    <a:lnTo>
                      <a:pt x="296591" y="1131454"/>
                    </a:lnTo>
                    <a:close/>
                  </a:path>
                  <a:path w="3439795" h="1447800">
                    <a:moveTo>
                      <a:pt x="300126" y="1130299"/>
                    </a:moveTo>
                    <a:lnTo>
                      <a:pt x="297245" y="1132416"/>
                    </a:lnTo>
                    <a:lnTo>
                      <a:pt x="297533" y="1132839"/>
                    </a:lnTo>
                    <a:lnTo>
                      <a:pt x="300126" y="1130299"/>
                    </a:lnTo>
                    <a:close/>
                  </a:path>
                  <a:path w="3439795" h="1447800">
                    <a:moveTo>
                      <a:pt x="300126" y="1130299"/>
                    </a:moveTo>
                    <a:lnTo>
                      <a:pt x="297965" y="1130299"/>
                    </a:lnTo>
                    <a:lnTo>
                      <a:pt x="296591" y="1131454"/>
                    </a:lnTo>
                    <a:lnTo>
                      <a:pt x="297245" y="1132416"/>
                    </a:lnTo>
                    <a:lnTo>
                      <a:pt x="300126" y="1130299"/>
                    </a:lnTo>
                    <a:close/>
                  </a:path>
                  <a:path w="3439795" h="1447800">
                    <a:moveTo>
                      <a:pt x="295805" y="1130299"/>
                    </a:moveTo>
                    <a:lnTo>
                      <a:pt x="295805" y="1132114"/>
                    </a:lnTo>
                    <a:lnTo>
                      <a:pt x="296591" y="1131454"/>
                    </a:lnTo>
                    <a:lnTo>
                      <a:pt x="295805" y="1130299"/>
                    </a:lnTo>
                    <a:close/>
                  </a:path>
                  <a:path w="3439795" h="1447800">
                    <a:moveTo>
                      <a:pt x="297965" y="1130299"/>
                    </a:moveTo>
                    <a:lnTo>
                      <a:pt x="295805" y="1130299"/>
                    </a:lnTo>
                    <a:lnTo>
                      <a:pt x="296591" y="1131454"/>
                    </a:lnTo>
                    <a:lnTo>
                      <a:pt x="297965" y="1130299"/>
                    </a:lnTo>
                    <a:close/>
                  </a:path>
                  <a:path w="3439795" h="1447800">
                    <a:moveTo>
                      <a:pt x="304446" y="1060449"/>
                    </a:moveTo>
                    <a:lnTo>
                      <a:pt x="302286" y="1066799"/>
                    </a:lnTo>
                    <a:lnTo>
                      <a:pt x="287164" y="1066799"/>
                    </a:lnTo>
                    <a:lnTo>
                      <a:pt x="282844" y="1079499"/>
                    </a:lnTo>
                    <a:lnTo>
                      <a:pt x="276363" y="1104899"/>
                    </a:lnTo>
                    <a:lnTo>
                      <a:pt x="276363" y="1130299"/>
                    </a:lnTo>
                    <a:lnTo>
                      <a:pt x="291485" y="1117599"/>
                    </a:lnTo>
                    <a:lnTo>
                      <a:pt x="295805" y="1117599"/>
                    </a:lnTo>
                    <a:lnTo>
                      <a:pt x="295805" y="1104899"/>
                    </a:lnTo>
                    <a:lnTo>
                      <a:pt x="293645" y="1104899"/>
                    </a:lnTo>
                    <a:lnTo>
                      <a:pt x="300126" y="1079499"/>
                    </a:lnTo>
                    <a:lnTo>
                      <a:pt x="304446" y="1066799"/>
                    </a:lnTo>
                    <a:lnTo>
                      <a:pt x="304446" y="1060449"/>
                    </a:lnTo>
                    <a:close/>
                  </a:path>
                  <a:path w="3439795" h="1447800">
                    <a:moveTo>
                      <a:pt x="295805" y="1117599"/>
                    </a:moveTo>
                    <a:lnTo>
                      <a:pt x="291485" y="1117599"/>
                    </a:lnTo>
                    <a:lnTo>
                      <a:pt x="295805" y="1130299"/>
                    </a:lnTo>
                    <a:lnTo>
                      <a:pt x="295805" y="1117599"/>
                    </a:lnTo>
                    <a:close/>
                  </a:path>
                  <a:path w="3439795" h="1447800">
                    <a:moveTo>
                      <a:pt x="516057" y="1066799"/>
                    </a:moveTo>
                    <a:lnTo>
                      <a:pt x="511737" y="1066799"/>
                    </a:lnTo>
                    <a:lnTo>
                      <a:pt x="516057" y="1092199"/>
                    </a:lnTo>
                    <a:lnTo>
                      <a:pt x="524698" y="1079499"/>
                    </a:lnTo>
                    <a:lnTo>
                      <a:pt x="522538" y="1079499"/>
                    </a:lnTo>
                    <a:lnTo>
                      <a:pt x="516057" y="1066799"/>
                    </a:lnTo>
                    <a:close/>
                  </a:path>
                  <a:path w="3439795" h="1447800">
                    <a:moveTo>
                      <a:pt x="611017" y="1079499"/>
                    </a:moveTo>
                    <a:lnTo>
                      <a:pt x="613177" y="1092199"/>
                    </a:lnTo>
                    <a:lnTo>
                      <a:pt x="621818" y="1092199"/>
                    </a:lnTo>
                    <a:lnTo>
                      <a:pt x="611017" y="1079499"/>
                    </a:lnTo>
                    <a:close/>
                  </a:path>
                  <a:path w="3439795" h="1447800">
                    <a:moveTo>
                      <a:pt x="617497" y="1054099"/>
                    </a:moveTo>
                    <a:lnTo>
                      <a:pt x="611017" y="1079499"/>
                    </a:lnTo>
                    <a:lnTo>
                      <a:pt x="621818" y="1092199"/>
                    </a:lnTo>
                    <a:lnTo>
                      <a:pt x="632619" y="1092199"/>
                    </a:lnTo>
                    <a:lnTo>
                      <a:pt x="631539" y="1079499"/>
                    </a:lnTo>
                    <a:lnTo>
                      <a:pt x="613177" y="1079499"/>
                    </a:lnTo>
                    <a:lnTo>
                      <a:pt x="615534" y="1077190"/>
                    </a:lnTo>
                    <a:lnTo>
                      <a:pt x="617497" y="1054099"/>
                    </a:lnTo>
                    <a:close/>
                  </a:path>
                  <a:path w="3439795" h="1447800">
                    <a:moveTo>
                      <a:pt x="639100" y="1066799"/>
                    </a:moveTo>
                    <a:lnTo>
                      <a:pt x="630459" y="1066799"/>
                    </a:lnTo>
                    <a:lnTo>
                      <a:pt x="632619" y="1092199"/>
                    </a:lnTo>
                    <a:lnTo>
                      <a:pt x="639100" y="1092199"/>
                    </a:lnTo>
                    <a:lnTo>
                      <a:pt x="632619" y="1079499"/>
                    </a:lnTo>
                    <a:lnTo>
                      <a:pt x="639100" y="1069974"/>
                    </a:lnTo>
                    <a:lnTo>
                      <a:pt x="639100" y="1066799"/>
                    </a:lnTo>
                    <a:close/>
                  </a:path>
                  <a:path w="3439795" h="1447800">
                    <a:moveTo>
                      <a:pt x="639100" y="1069974"/>
                    </a:moveTo>
                    <a:lnTo>
                      <a:pt x="632619" y="1079499"/>
                    </a:lnTo>
                    <a:lnTo>
                      <a:pt x="639100" y="1092199"/>
                    </a:lnTo>
                    <a:lnTo>
                      <a:pt x="639100" y="1069974"/>
                    </a:lnTo>
                    <a:close/>
                  </a:path>
                  <a:path w="3439795" h="1447800">
                    <a:moveTo>
                      <a:pt x="641260" y="1066799"/>
                    </a:moveTo>
                    <a:lnTo>
                      <a:pt x="639100" y="1069974"/>
                    </a:lnTo>
                    <a:lnTo>
                      <a:pt x="639100" y="1092199"/>
                    </a:lnTo>
                    <a:lnTo>
                      <a:pt x="643420" y="1092199"/>
                    </a:lnTo>
                    <a:lnTo>
                      <a:pt x="654221" y="1079499"/>
                    </a:lnTo>
                    <a:lnTo>
                      <a:pt x="641260" y="1066799"/>
                    </a:lnTo>
                    <a:close/>
                  </a:path>
                  <a:path w="3439795" h="1447800">
                    <a:moveTo>
                      <a:pt x="516057" y="1066799"/>
                    </a:moveTo>
                    <a:lnTo>
                      <a:pt x="522538" y="1079499"/>
                    </a:lnTo>
                    <a:lnTo>
                      <a:pt x="524698" y="1079499"/>
                    </a:lnTo>
                    <a:lnTo>
                      <a:pt x="516057" y="1066799"/>
                    </a:lnTo>
                    <a:close/>
                  </a:path>
                  <a:path w="3439795" h="1447800">
                    <a:moveTo>
                      <a:pt x="531179" y="1066799"/>
                    </a:moveTo>
                    <a:lnTo>
                      <a:pt x="516057" y="1066799"/>
                    </a:lnTo>
                    <a:lnTo>
                      <a:pt x="524698" y="1079499"/>
                    </a:lnTo>
                    <a:lnTo>
                      <a:pt x="535499" y="1079499"/>
                    </a:lnTo>
                    <a:lnTo>
                      <a:pt x="531179" y="1066799"/>
                    </a:lnTo>
                    <a:close/>
                  </a:path>
                  <a:path w="3439795" h="1447800">
                    <a:moveTo>
                      <a:pt x="531179" y="1066799"/>
                    </a:moveTo>
                    <a:lnTo>
                      <a:pt x="535499" y="1079499"/>
                    </a:lnTo>
                    <a:lnTo>
                      <a:pt x="539820" y="1079499"/>
                    </a:lnTo>
                    <a:lnTo>
                      <a:pt x="531179" y="1066799"/>
                    </a:lnTo>
                    <a:close/>
                  </a:path>
                  <a:path w="3439795" h="1447800">
                    <a:moveTo>
                      <a:pt x="537659" y="1054099"/>
                    </a:moveTo>
                    <a:lnTo>
                      <a:pt x="531179" y="1066799"/>
                    </a:lnTo>
                    <a:lnTo>
                      <a:pt x="539820" y="1079499"/>
                    </a:lnTo>
                    <a:lnTo>
                      <a:pt x="550621" y="1079499"/>
                    </a:lnTo>
                    <a:lnTo>
                      <a:pt x="552781" y="1066799"/>
                    </a:lnTo>
                    <a:lnTo>
                      <a:pt x="537659" y="1054099"/>
                    </a:lnTo>
                    <a:close/>
                  </a:path>
                  <a:path w="3439795" h="1447800">
                    <a:moveTo>
                      <a:pt x="561422" y="1066799"/>
                    </a:moveTo>
                    <a:lnTo>
                      <a:pt x="552781" y="1066799"/>
                    </a:lnTo>
                    <a:lnTo>
                      <a:pt x="550621" y="1079499"/>
                    </a:lnTo>
                    <a:lnTo>
                      <a:pt x="565742" y="1079499"/>
                    </a:lnTo>
                    <a:lnTo>
                      <a:pt x="561422" y="1066799"/>
                    </a:lnTo>
                    <a:close/>
                  </a:path>
                  <a:path w="3439795" h="1447800">
                    <a:moveTo>
                      <a:pt x="570063" y="1054099"/>
                    </a:moveTo>
                    <a:lnTo>
                      <a:pt x="561422" y="1066799"/>
                    </a:lnTo>
                    <a:lnTo>
                      <a:pt x="565742" y="1079499"/>
                    </a:lnTo>
                    <a:lnTo>
                      <a:pt x="565742" y="1066799"/>
                    </a:lnTo>
                    <a:lnTo>
                      <a:pt x="571143" y="1066799"/>
                    </a:lnTo>
                    <a:lnTo>
                      <a:pt x="570063" y="1054099"/>
                    </a:lnTo>
                    <a:close/>
                  </a:path>
                  <a:path w="3439795" h="1447800">
                    <a:moveTo>
                      <a:pt x="571143" y="1066799"/>
                    </a:moveTo>
                    <a:lnTo>
                      <a:pt x="565742" y="1066799"/>
                    </a:lnTo>
                    <a:lnTo>
                      <a:pt x="565742" y="1079499"/>
                    </a:lnTo>
                    <a:lnTo>
                      <a:pt x="572223" y="1079499"/>
                    </a:lnTo>
                    <a:lnTo>
                      <a:pt x="571143" y="1066799"/>
                    </a:lnTo>
                    <a:close/>
                  </a:path>
                  <a:path w="3439795" h="1447800">
                    <a:moveTo>
                      <a:pt x="570063" y="1054099"/>
                    </a:moveTo>
                    <a:lnTo>
                      <a:pt x="572223" y="1079499"/>
                    </a:lnTo>
                    <a:lnTo>
                      <a:pt x="574293" y="1079499"/>
                    </a:lnTo>
                    <a:lnTo>
                      <a:pt x="570063" y="1054099"/>
                    </a:lnTo>
                    <a:close/>
                  </a:path>
                  <a:path w="3439795" h="1447800">
                    <a:moveTo>
                      <a:pt x="589415" y="1054099"/>
                    </a:moveTo>
                    <a:lnTo>
                      <a:pt x="570063" y="1054099"/>
                    </a:lnTo>
                    <a:lnTo>
                      <a:pt x="574293" y="1079499"/>
                    </a:lnTo>
                    <a:lnTo>
                      <a:pt x="598055" y="1079499"/>
                    </a:lnTo>
                    <a:lnTo>
                      <a:pt x="589415" y="1066799"/>
                    </a:lnTo>
                    <a:lnTo>
                      <a:pt x="589415" y="1054099"/>
                    </a:lnTo>
                    <a:close/>
                  </a:path>
                  <a:path w="3439795" h="1447800">
                    <a:moveTo>
                      <a:pt x="598055" y="1056639"/>
                    </a:moveTo>
                    <a:lnTo>
                      <a:pt x="589415" y="1066799"/>
                    </a:lnTo>
                    <a:lnTo>
                      <a:pt x="598055" y="1079499"/>
                    </a:lnTo>
                    <a:lnTo>
                      <a:pt x="598055" y="1056639"/>
                    </a:lnTo>
                    <a:close/>
                  </a:path>
                  <a:path w="3439795" h="1447800">
                    <a:moveTo>
                      <a:pt x="608857" y="1054099"/>
                    </a:moveTo>
                    <a:lnTo>
                      <a:pt x="600216" y="1054099"/>
                    </a:lnTo>
                    <a:lnTo>
                      <a:pt x="598055" y="1056639"/>
                    </a:lnTo>
                    <a:lnTo>
                      <a:pt x="598055" y="1079499"/>
                    </a:lnTo>
                    <a:lnTo>
                      <a:pt x="607656" y="1068211"/>
                    </a:lnTo>
                    <a:lnTo>
                      <a:pt x="608857" y="1054099"/>
                    </a:lnTo>
                    <a:close/>
                  </a:path>
                  <a:path w="3439795" h="1447800">
                    <a:moveTo>
                      <a:pt x="607656" y="1068211"/>
                    </a:moveTo>
                    <a:lnTo>
                      <a:pt x="598055" y="1079499"/>
                    </a:lnTo>
                    <a:lnTo>
                      <a:pt x="606696" y="1079499"/>
                    </a:lnTo>
                    <a:lnTo>
                      <a:pt x="607656" y="1068211"/>
                    </a:lnTo>
                    <a:close/>
                  </a:path>
                  <a:path w="3439795" h="1447800">
                    <a:moveTo>
                      <a:pt x="608857" y="1066799"/>
                    </a:moveTo>
                    <a:lnTo>
                      <a:pt x="607656" y="1068211"/>
                    </a:lnTo>
                    <a:lnTo>
                      <a:pt x="606696" y="1079499"/>
                    </a:lnTo>
                    <a:lnTo>
                      <a:pt x="608857" y="1066799"/>
                    </a:lnTo>
                    <a:close/>
                  </a:path>
                  <a:path w="3439795" h="1447800">
                    <a:moveTo>
                      <a:pt x="608857" y="1066799"/>
                    </a:moveTo>
                    <a:lnTo>
                      <a:pt x="606696" y="1079499"/>
                    </a:lnTo>
                    <a:lnTo>
                      <a:pt x="608857" y="1079499"/>
                    </a:lnTo>
                    <a:lnTo>
                      <a:pt x="608857" y="1066799"/>
                    </a:lnTo>
                    <a:close/>
                  </a:path>
                  <a:path w="3439795" h="1447800">
                    <a:moveTo>
                      <a:pt x="617497" y="1054099"/>
                    </a:moveTo>
                    <a:lnTo>
                      <a:pt x="611017" y="1054099"/>
                    </a:lnTo>
                    <a:lnTo>
                      <a:pt x="608857" y="1066799"/>
                    </a:lnTo>
                    <a:lnTo>
                      <a:pt x="608857" y="1079499"/>
                    </a:lnTo>
                    <a:lnTo>
                      <a:pt x="611017" y="1079499"/>
                    </a:lnTo>
                    <a:lnTo>
                      <a:pt x="611017" y="1066799"/>
                    </a:lnTo>
                    <a:lnTo>
                      <a:pt x="614257" y="1066799"/>
                    </a:lnTo>
                    <a:lnTo>
                      <a:pt x="617497" y="1054099"/>
                    </a:lnTo>
                    <a:close/>
                  </a:path>
                  <a:path w="3439795" h="1447800">
                    <a:moveTo>
                      <a:pt x="614257" y="1066799"/>
                    </a:moveTo>
                    <a:lnTo>
                      <a:pt x="611017" y="1066799"/>
                    </a:lnTo>
                    <a:lnTo>
                      <a:pt x="611017" y="1079499"/>
                    </a:lnTo>
                    <a:lnTo>
                      <a:pt x="614257" y="1066799"/>
                    </a:lnTo>
                    <a:close/>
                  </a:path>
                  <a:path w="3439795" h="1447800">
                    <a:moveTo>
                      <a:pt x="615534" y="1077190"/>
                    </a:moveTo>
                    <a:lnTo>
                      <a:pt x="613177" y="1079499"/>
                    </a:lnTo>
                    <a:lnTo>
                      <a:pt x="615337" y="1079499"/>
                    </a:lnTo>
                    <a:lnTo>
                      <a:pt x="615534" y="1077190"/>
                    </a:lnTo>
                    <a:close/>
                  </a:path>
                  <a:path w="3439795" h="1447800">
                    <a:moveTo>
                      <a:pt x="628298" y="1066799"/>
                    </a:moveTo>
                    <a:lnTo>
                      <a:pt x="626138" y="1066799"/>
                    </a:lnTo>
                    <a:lnTo>
                      <a:pt x="615534" y="1077190"/>
                    </a:lnTo>
                    <a:lnTo>
                      <a:pt x="615337" y="1079499"/>
                    </a:lnTo>
                    <a:lnTo>
                      <a:pt x="619658" y="1079499"/>
                    </a:lnTo>
                    <a:lnTo>
                      <a:pt x="628658" y="1068916"/>
                    </a:lnTo>
                    <a:lnTo>
                      <a:pt x="628298" y="1066799"/>
                    </a:lnTo>
                    <a:close/>
                  </a:path>
                  <a:path w="3439795" h="1447800">
                    <a:moveTo>
                      <a:pt x="628658" y="1068916"/>
                    </a:moveTo>
                    <a:lnTo>
                      <a:pt x="619658" y="1079499"/>
                    </a:lnTo>
                    <a:lnTo>
                      <a:pt x="630459" y="1079499"/>
                    </a:lnTo>
                    <a:lnTo>
                      <a:pt x="628658" y="1068916"/>
                    </a:lnTo>
                    <a:close/>
                  </a:path>
                  <a:path w="3439795" h="1447800">
                    <a:moveTo>
                      <a:pt x="630459" y="1066799"/>
                    </a:moveTo>
                    <a:lnTo>
                      <a:pt x="628658" y="1068916"/>
                    </a:lnTo>
                    <a:lnTo>
                      <a:pt x="630459" y="1079499"/>
                    </a:lnTo>
                    <a:lnTo>
                      <a:pt x="631539" y="1079499"/>
                    </a:lnTo>
                    <a:lnTo>
                      <a:pt x="630459" y="1066799"/>
                    </a:lnTo>
                    <a:close/>
                  </a:path>
                  <a:path w="3439795" h="1447800">
                    <a:moveTo>
                      <a:pt x="645580" y="1066799"/>
                    </a:moveTo>
                    <a:lnTo>
                      <a:pt x="641260" y="1066799"/>
                    </a:lnTo>
                    <a:lnTo>
                      <a:pt x="654221" y="1079499"/>
                    </a:lnTo>
                    <a:lnTo>
                      <a:pt x="660702" y="1079499"/>
                    </a:lnTo>
                    <a:lnTo>
                      <a:pt x="645580" y="1066799"/>
                    </a:lnTo>
                    <a:close/>
                  </a:path>
                  <a:path w="3439795" h="1447800">
                    <a:moveTo>
                      <a:pt x="647740" y="1066799"/>
                    </a:moveTo>
                    <a:lnTo>
                      <a:pt x="645580" y="1066799"/>
                    </a:lnTo>
                    <a:lnTo>
                      <a:pt x="660702" y="1079499"/>
                    </a:lnTo>
                    <a:lnTo>
                      <a:pt x="647740" y="1066799"/>
                    </a:lnTo>
                    <a:close/>
                  </a:path>
                  <a:path w="3439795" h="1447800">
                    <a:moveTo>
                      <a:pt x="649661" y="1055511"/>
                    </a:moveTo>
                    <a:lnTo>
                      <a:pt x="647740" y="1066799"/>
                    </a:lnTo>
                    <a:lnTo>
                      <a:pt x="660702" y="1079499"/>
                    </a:lnTo>
                    <a:lnTo>
                      <a:pt x="662862" y="1066799"/>
                    </a:lnTo>
                    <a:lnTo>
                      <a:pt x="665022" y="1066799"/>
                    </a:lnTo>
                    <a:lnTo>
                      <a:pt x="649661" y="1055511"/>
                    </a:lnTo>
                    <a:close/>
                  </a:path>
                  <a:path w="3439795" h="1447800">
                    <a:moveTo>
                      <a:pt x="617497" y="1054099"/>
                    </a:moveTo>
                    <a:lnTo>
                      <a:pt x="615534" y="1077190"/>
                    </a:lnTo>
                    <a:lnTo>
                      <a:pt x="626138" y="1066799"/>
                    </a:lnTo>
                    <a:lnTo>
                      <a:pt x="621818" y="1066799"/>
                    </a:lnTo>
                    <a:lnTo>
                      <a:pt x="617497" y="1054099"/>
                    </a:lnTo>
                    <a:close/>
                  </a:path>
                  <a:path w="3439795" h="1447800">
                    <a:moveTo>
                      <a:pt x="611017" y="1054099"/>
                    </a:moveTo>
                    <a:lnTo>
                      <a:pt x="608857" y="1054099"/>
                    </a:lnTo>
                    <a:lnTo>
                      <a:pt x="607656" y="1068211"/>
                    </a:lnTo>
                    <a:lnTo>
                      <a:pt x="608857" y="1066799"/>
                    </a:lnTo>
                    <a:lnTo>
                      <a:pt x="611017" y="1054099"/>
                    </a:lnTo>
                    <a:close/>
                  </a:path>
                  <a:path w="3439795" h="1447800">
                    <a:moveTo>
                      <a:pt x="289324" y="1054099"/>
                    </a:moveTo>
                    <a:lnTo>
                      <a:pt x="285004" y="1054099"/>
                    </a:lnTo>
                    <a:lnTo>
                      <a:pt x="285004" y="1066799"/>
                    </a:lnTo>
                    <a:lnTo>
                      <a:pt x="300126" y="1066799"/>
                    </a:lnTo>
                    <a:lnTo>
                      <a:pt x="289324" y="1054099"/>
                    </a:lnTo>
                    <a:close/>
                  </a:path>
                  <a:path w="3439795" h="1447800">
                    <a:moveTo>
                      <a:pt x="297965" y="1041399"/>
                    </a:moveTo>
                    <a:lnTo>
                      <a:pt x="291485" y="1041399"/>
                    </a:lnTo>
                    <a:lnTo>
                      <a:pt x="289324" y="1054099"/>
                    </a:lnTo>
                    <a:lnTo>
                      <a:pt x="300126" y="1066799"/>
                    </a:lnTo>
                    <a:lnTo>
                      <a:pt x="304446" y="1058333"/>
                    </a:lnTo>
                    <a:lnTo>
                      <a:pt x="304446" y="1054099"/>
                    </a:lnTo>
                    <a:lnTo>
                      <a:pt x="297965" y="1041399"/>
                    </a:lnTo>
                    <a:close/>
                  </a:path>
                  <a:path w="3439795" h="1447800">
                    <a:moveTo>
                      <a:pt x="304446" y="1058333"/>
                    </a:moveTo>
                    <a:lnTo>
                      <a:pt x="300126" y="1066799"/>
                    </a:lnTo>
                    <a:lnTo>
                      <a:pt x="302286" y="1066799"/>
                    </a:lnTo>
                    <a:lnTo>
                      <a:pt x="304446" y="1060449"/>
                    </a:lnTo>
                    <a:lnTo>
                      <a:pt x="304446" y="1058333"/>
                    </a:lnTo>
                    <a:close/>
                  </a:path>
                  <a:path w="3439795" h="1447800">
                    <a:moveTo>
                      <a:pt x="306606" y="1054099"/>
                    </a:moveTo>
                    <a:lnTo>
                      <a:pt x="304446" y="1060449"/>
                    </a:lnTo>
                    <a:lnTo>
                      <a:pt x="304446" y="1066799"/>
                    </a:lnTo>
                    <a:lnTo>
                      <a:pt x="306606" y="1054099"/>
                    </a:lnTo>
                    <a:close/>
                  </a:path>
                  <a:path w="3439795" h="1447800">
                    <a:moveTo>
                      <a:pt x="537659" y="1054099"/>
                    </a:moveTo>
                    <a:lnTo>
                      <a:pt x="535499" y="1054099"/>
                    </a:lnTo>
                    <a:lnTo>
                      <a:pt x="531179" y="1066799"/>
                    </a:lnTo>
                    <a:lnTo>
                      <a:pt x="537659" y="1054099"/>
                    </a:lnTo>
                    <a:close/>
                  </a:path>
                  <a:path w="3439795" h="1447800">
                    <a:moveTo>
                      <a:pt x="598055" y="1054099"/>
                    </a:moveTo>
                    <a:lnTo>
                      <a:pt x="589415" y="1054099"/>
                    </a:lnTo>
                    <a:lnTo>
                      <a:pt x="589415" y="1066799"/>
                    </a:lnTo>
                    <a:lnTo>
                      <a:pt x="598055" y="1056639"/>
                    </a:lnTo>
                    <a:lnTo>
                      <a:pt x="598055" y="1054099"/>
                    </a:lnTo>
                    <a:close/>
                  </a:path>
                  <a:path w="3439795" h="1447800">
                    <a:moveTo>
                      <a:pt x="649901" y="1054099"/>
                    </a:moveTo>
                    <a:lnTo>
                      <a:pt x="649661" y="1055511"/>
                    </a:lnTo>
                    <a:lnTo>
                      <a:pt x="665022" y="1066799"/>
                    </a:lnTo>
                    <a:lnTo>
                      <a:pt x="649901" y="1054099"/>
                    </a:lnTo>
                    <a:close/>
                  </a:path>
                  <a:path w="3439795" h="1447800">
                    <a:moveTo>
                      <a:pt x="654221" y="1041399"/>
                    </a:moveTo>
                    <a:lnTo>
                      <a:pt x="652061" y="1041399"/>
                    </a:lnTo>
                    <a:lnTo>
                      <a:pt x="649901" y="1054099"/>
                    </a:lnTo>
                    <a:lnTo>
                      <a:pt x="665022" y="1066799"/>
                    </a:lnTo>
                    <a:lnTo>
                      <a:pt x="667182" y="1066799"/>
                    </a:lnTo>
                    <a:lnTo>
                      <a:pt x="667182" y="1054099"/>
                    </a:lnTo>
                    <a:lnTo>
                      <a:pt x="669343" y="1054099"/>
                    </a:lnTo>
                    <a:lnTo>
                      <a:pt x="654221" y="1041399"/>
                    </a:lnTo>
                    <a:close/>
                  </a:path>
                  <a:path w="3439795" h="1447800">
                    <a:moveTo>
                      <a:pt x="300126" y="1028699"/>
                    </a:moveTo>
                    <a:lnTo>
                      <a:pt x="297965" y="1041399"/>
                    </a:lnTo>
                    <a:lnTo>
                      <a:pt x="304446" y="1054099"/>
                    </a:lnTo>
                    <a:lnTo>
                      <a:pt x="304446" y="1058333"/>
                    </a:lnTo>
                    <a:lnTo>
                      <a:pt x="306606" y="1054099"/>
                    </a:lnTo>
                    <a:lnTo>
                      <a:pt x="307038" y="1051559"/>
                    </a:lnTo>
                    <a:lnTo>
                      <a:pt x="300126" y="1041399"/>
                    </a:lnTo>
                    <a:lnTo>
                      <a:pt x="301566" y="1032933"/>
                    </a:lnTo>
                    <a:lnTo>
                      <a:pt x="300126" y="1028699"/>
                    </a:lnTo>
                    <a:close/>
                  </a:path>
                  <a:path w="3439795" h="1447800">
                    <a:moveTo>
                      <a:pt x="600216" y="1054099"/>
                    </a:moveTo>
                    <a:lnTo>
                      <a:pt x="598055" y="1054099"/>
                    </a:lnTo>
                    <a:lnTo>
                      <a:pt x="598055" y="1056639"/>
                    </a:lnTo>
                    <a:lnTo>
                      <a:pt x="600216" y="1054099"/>
                    </a:lnTo>
                    <a:close/>
                  </a:path>
                  <a:path w="3439795" h="1447800">
                    <a:moveTo>
                      <a:pt x="649901" y="1054099"/>
                    </a:moveTo>
                    <a:lnTo>
                      <a:pt x="647740" y="1054099"/>
                    </a:lnTo>
                    <a:lnTo>
                      <a:pt x="649661" y="1055511"/>
                    </a:lnTo>
                    <a:lnTo>
                      <a:pt x="649901" y="1054099"/>
                    </a:lnTo>
                    <a:close/>
                  </a:path>
                  <a:path w="3439795" h="1447800">
                    <a:moveTo>
                      <a:pt x="307038" y="1051559"/>
                    </a:moveTo>
                    <a:lnTo>
                      <a:pt x="306606" y="1054099"/>
                    </a:lnTo>
                    <a:lnTo>
                      <a:pt x="308766" y="1054099"/>
                    </a:lnTo>
                    <a:lnTo>
                      <a:pt x="307038" y="1051559"/>
                    </a:lnTo>
                    <a:close/>
                  </a:path>
                  <a:path w="3439795" h="1447800">
                    <a:moveTo>
                      <a:pt x="307326" y="1049866"/>
                    </a:moveTo>
                    <a:lnTo>
                      <a:pt x="307038" y="1051559"/>
                    </a:lnTo>
                    <a:lnTo>
                      <a:pt x="308766" y="1054099"/>
                    </a:lnTo>
                    <a:lnTo>
                      <a:pt x="307326" y="1049866"/>
                    </a:lnTo>
                    <a:close/>
                  </a:path>
                  <a:path w="3439795" h="1447800">
                    <a:moveTo>
                      <a:pt x="313087" y="1041399"/>
                    </a:moveTo>
                    <a:lnTo>
                      <a:pt x="308766" y="1041399"/>
                    </a:lnTo>
                    <a:lnTo>
                      <a:pt x="307326" y="1049866"/>
                    </a:lnTo>
                    <a:lnTo>
                      <a:pt x="308766" y="1054099"/>
                    </a:lnTo>
                    <a:lnTo>
                      <a:pt x="313087" y="1054099"/>
                    </a:lnTo>
                    <a:lnTo>
                      <a:pt x="313087" y="1041399"/>
                    </a:lnTo>
                    <a:close/>
                  </a:path>
                  <a:path w="3439795" h="1447800">
                    <a:moveTo>
                      <a:pt x="660702" y="1015999"/>
                    </a:moveTo>
                    <a:lnTo>
                      <a:pt x="656381" y="1015999"/>
                    </a:lnTo>
                    <a:lnTo>
                      <a:pt x="654221" y="1028699"/>
                    </a:lnTo>
                    <a:lnTo>
                      <a:pt x="654221" y="1041399"/>
                    </a:lnTo>
                    <a:lnTo>
                      <a:pt x="669343" y="1054099"/>
                    </a:lnTo>
                    <a:lnTo>
                      <a:pt x="671503" y="1041399"/>
                    </a:lnTo>
                    <a:lnTo>
                      <a:pt x="671503" y="1028699"/>
                    </a:lnTo>
                    <a:lnTo>
                      <a:pt x="673663" y="1028699"/>
                    </a:lnTo>
                    <a:lnTo>
                      <a:pt x="660702" y="1015999"/>
                    </a:lnTo>
                    <a:close/>
                  </a:path>
                  <a:path w="3439795" h="1447800">
                    <a:moveTo>
                      <a:pt x="671503" y="1041399"/>
                    </a:moveTo>
                    <a:lnTo>
                      <a:pt x="669343" y="1054099"/>
                    </a:lnTo>
                    <a:lnTo>
                      <a:pt x="671503" y="1054099"/>
                    </a:lnTo>
                    <a:lnTo>
                      <a:pt x="671503" y="1041399"/>
                    </a:lnTo>
                    <a:close/>
                  </a:path>
                  <a:path w="3439795" h="1447800">
                    <a:moveTo>
                      <a:pt x="301566" y="1032933"/>
                    </a:moveTo>
                    <a:lnTo>
                      <a:pt x="300126" y="1041399"/>
                    </a:lnTo>
                    <a:lnTo>
                      <a:pt x="307038" y="1051559"/>
                    </a:lnTo>
                    <a:lnTo>
                      <a:pt x="307326" y="1049866"/>
                    </a:lnTo>
                    <a:lnTo>
                      <a:pt x="301566" y="1032933"/>
                    </a:lnTo>
                    <a:close/>
                  </a:path>
                  <a:path w="3439795" h="1447800">
                    <a:moveTo>
                      <a:pt x="302286" y="1028699"/>
                    </a:moveTo>
                    <a:lnTo>
                      <a:pt x="301566" y="1032933"/>
                    </a:lnTo>
                    <a:lnTo>
                      <a:pt x="307326" y="1049866"/>
                    </a:lnTo>
                    <a:lnTo>
                      <a:pt x="308766" y="1041399"/>
                    </a:lnTo>
                    <a:lnTo>
                      <a:pt x="315247" y="1041399"/>
                    </a:lnTo>
                    <a:lnTo>
                      <a:pt x="302286" y="1028699"/>
                    </a:lnTo>
                    <a:close/>
                  </a:path>
                  <a:path w="3439795" h="1447800">
                    <a:moveTo>
                      <a:pt x="302286" y="1028699"/>
                    </a:moveTo>
                    <a:lnTo>
                      <a:pt x="315247" y="1041399"/>
                    </a:lnTo>
                    <a:lnTo>
                      <a:pt x="317407" y="1041399"/>
                    </a:lnTo>
                    <a:lnTo>
                      <a:pt x="302286" y="1028699"/>
                    </a:lnTo>
                    <a:close/>
                  </a:path>
                  <a:path w="3439795" h="1447800">
                    <a:moveTo>
                      <a:pt x="308766" y="1028699"/>
                    </a:moveTo>
                    <a:lnTo>
                      <a:pt x="302286" y="1028699"/>
                    </a:lnTo>
                    <a:lnTo>
                      <a:pt x="317407" y="1041399"/>
                    </a:lnTo>
                    <a:lnTo>
                      <a:pt x="319568" y="1041399"/>
                    </a:lnTo>
                    <a:lnTo>
                      <a:pt x="308766" y="1028699"/>
                    </a:lnTo>
                    <a:close/>
                  </a:path>
                  <a:path w="3439795" h="1447800">
                    <a:moveTo>
                      <a:pt x="308766" y="1028699"/>
                    </a:moveTo>
                    <a:lnTo>
                      <a:pt x="319568" y="1041399"/>
                    </a:lnTo>
                    <a:lnTo>
                      <a:pt x="320288" y="1039988"/>
                    </a:lnTo>
                    <a:lnTo>
                      <a:pt x="308766" y="1028699"/>
                    </a:lnTo>
                    <a:close/>
                  </a:path>
                  <a:path w="3439795" h="1447800">
                    <a:moveTo>
                      <a:pt x="320288" y="1039988"/>
                    </a:moveTo>
                    <a:lnTo>
                      <a:pt x="319568" y="1041399"/>
                    </a:lnTo>
                    <a:lnTo>
                      <a:pt x="321728" y="1041399"/>
                    </a:lnTo>
                    <a:lnTo>
                      <a:pt x="320288" y="1039988"/>
                    </a:lnTo>
                    <a:close/>
                  </a:path>
                  <a:path w="3439795" h="1447800">
                    <a:moveTo>
                      <a:pt x="316622" y="1017154"/>
                    </a:moveTo>
                    <a:lnTo>
                      <a:pt x="308766" y="1028699"/>
                    </a:lnTo>
                    <a:lnTo>
                      <a:pt x="320288" y="1039988"/>
                    </a:lnTo>
                    <a:lnTo>
                      <a:pt x="326048" y="1028699"/>
                    </a:lnTo>
                    <a:lnTo>
                      <a:pt x="326048" y="1025071"/>
                    </a:lnTo>
                    <a:lnTo>
                      <a:pt x="316622" y="1017154"/>
                    </a:lnTo>
                    <a:close/>
                  </a:path>
                  <a:path w="3439795" h="1447800">
                    <a:moveTo>
                      <a:pt x="326048" y="1025071"/>
                    </a:moveTo>
                    <a:lnTo>
                      <a:pt x="326048" y="1028699"/>
                    </a:lnTo>
                    <a:lnTo>
                      <a:pt x="330369" y="1028699"/>
                    </a:lnTo>
                    <a:lnTo>
                      <a:pt x="326048" y="1025071"/>
                    </a:lnTo>
                    <a:close/>
                  </a:path>
                  <a:path w="3439795" h="1447800">
                    <a:moveTo>
                      <a:pt x="326048" y="1024466"/>
                    </a:moveTo>
                    <a:lnTo>
                      <a:pt x="326048" y="1025071"/>
                    </a:lnTo>
                    <a:lnTo>
                      <a:pt x="330369" y="1028699"/>
                    </a:lnTo>
                    <a:lnTo>
                      <a:pt x="326048" y="1024466"/>
                    </a:lnTo>
                    <a:close/>
                  </a:path>
                  <a:path w="3439795" h="1447800">
                    <a:moveTo>
                      <a:pt x="334689" y="1015999"/>
                    </a:moveTo>
                    <a:lnTo>
                      <a:pt x="326048" y="1015999"/>
                    </a:lnTo>
                    <a:lnTo>
                      <a:pt x="326048" y="1024466"/>
                    </a:lnTo>
                    <a:lnTo>
                      <a:pt x="330369" y="1028699"/>
                    </a:lnTo>
                    <a:lnTo>
                      <a:pt x="334689" y="1015999"/>
                    </a:lnTo>
                    <a:close/>
                  </a:path>
                  <a:path w="3439795" h="1447800">
                    <a:moveTo>
                      <a:pt x="334689" y="1015999"/>
                    </a:moveTo>
                    <a:lnTo>
                      <a:pt x="330369" y="1028699"/>
                    </a:lnTo>
                    <a:lnTo>
                      <a:pt x="334689" y="1028699"/>
                    </a:lnTo>
                    <a:lnTo>
                      <a:pt x="334689" y="1015999"/>
                    </a:lnTo>
                    <a:close/>
                  </a:path>
                  <a:path w="3439795" h="1447800">
                    <a:moveTo>
                      <a:pt x="336849" y="1015999"/>
                    </a:moveTo>
                    <a:lnTo>
                      <a:pt x="334689" y="1015999"/>
                    </a:lnTo>
                    <a:lnTo>
                      <a:pt x="334689" y="1028699"/>
                    </a:lnTo>
                    <a:lnTo>
                      <a:pt x="349811" y="1028699"/>
                    </a:lnTo>
                    <a:lnTo>
                      <a:pt x="336849" y="1015999"/>
                    </a:lnTo>
                    <a:close/>
                  </a:path>
                  <a:path w="3439795" h="1447800">
                    <a:moveTo>
                      <a:pt x="347650" y="1003299"/>
                    </a:moveTo>
                    <a:lnTo>
                      <a:pt x="345490" y="1003299"/>
                    </a:lnTo>
                    <a:lnTo>
                      <a:pt x="336849" y="1015999"/>
                    </a:lnTo>
                    <a:lnTo>
                      <a:pt x="349811" y="1028699"/>
                    </a:lnTo>
                    <a:lnTo>
                      <a:pt x="343330" y="1015999"/>
                    </a:lnTo>
                    <a:lnTo>
                      <a:pt x="354131" y="1015999"/>
                    </a:lnTo>
                    <a:lnTo>
                      <a:pt x="347650" y="1003299"/>
                    </a:lnTo>
                    <a:close/>
                  </a:path>
                  <a:path w="3439795" h="1447800">
                    <a:moveTo>
                      <a:pt x="347650" y="1003299"/>
                    </a:moveTo>
                    <a:lnTo>
                      <a:pt x="354131" y="1015999"/>
                    </a:lnTo>
                    <a:lnTo>
                      <a:pt x="343330" y="1015999"/>
                    </a:lnTo>
                    <a:lnTo>
                      <a:pt x="349811" y="1028699"/>
                    </a:lnTo>
                    <a:lnTo>
                      <a:pt x="358451" y="1015999"/>
                    </a:lnTo>
                    <a:lnTo>
                      <a:pt x="347650" y="1003299"/>
                    </a:lnTo>
                    <a:close/>
                  </a:path>
                  <a:path w="3439795" h="1447800">
                    <a:moveTo>
                      <a:pt x="662862" y="1015999"/>
                    </a:moveTo>
                    <a:lnTo>
                      <a:pt x="660702" y="1015999"/>
                    </a:lnTo>
                    <a:lnTo>
                      <a:pt x="673663" y="1028699"/>
                    </a:lnTo>
                    <a:lnTo>
                      <a:pt x="662862" y="1015999"/>
                    </a:lnTo>
                    <a:close/>
                  </a:path>
                  <a:path w="3439795" h="1447800">
                    <a:moveTo>
                      <a:pt x="665022" y="1003299"/>
                    </a:moveTo>
                    <a:lnTo>
                      <a:pt x="662862" y="1015999"/>
                    </a:lnTo>
                    <a:lnTo>
                      <a:pt x="673663" y="1028699"/>
                    </a:lnTo>
                    <a:lnTo>
                      <a:pt x="675823" y="1028699"/>
                    </a:lnTo>
                    <a:lnTo>
                      <a:pt x="677983" y="1015999"/>
                    </a:lnTo>
                    <a:lnTo>
                      <a:pt x="680144" y="1015999"/>
                    </a:lnTo>
                    <a:lnTo>
                      <a:pt x="680384" y="1014588"/>
                    </a:lnTo>
                    <a:lnTo>
                      <a:pt x="665022" y="1003299"/>
                    </a:lnTo>
                    <a:close/>
                  </a:path>
                  <a:path w="3439795" h="1447800">
                    <a:moveTo>
                      <a:pt x="317407" y="1015999"/>
                    </a:moveTo>
                    <a:lnTo>
                      <a:pt x="316622" y="1017154"/>
                    </a:lnTo>
                    <a:lnTo>
                      <a:pt x="326048" y="1025071"/>
                    </a:lnTo>
                    <a:lnTo>
                      <a:pt x="326048" y="1024466"/>
                    </a:lnTo>
                    <a:lnTo>
                      <a:pt x="317407" y="1015999"/>
                    </a:lnTo>
                    <a:close/>
                  </a:path>
                  <a:path w="3439795" h="1447800">
                    <a:moveTo>
                      <a:pt x="326048" y="1015999"/>
                    </a:moveTo>
                    <a:lnTo>
                      <a:pt x="317407" y="1015999"/>
                    </a:lnTo>
                    <a:lnTo>
                      <a:pt x="326048" y="1024466"/>
                    </a:lnTo>
                    <a:lnTo>
                      <a:pt x="326048" y="1015999"/>
                    </a:lnTo>
                    <a:close/>
                  </a:path>
                  <a:path w="3439795" h="1447800">
                    <a:moveTo>
                      <a:pt x="317407" y="1015999"/>
                    </a:moveTo>
                    <a:lnTo>
                      <a:pt x="315247" y="1015999"/>
                    </a:lnTo>
                    <a:lnTo>
                      <a:pt x="316622" y="1017154"/>
                    </a:lnTo>
                    <a:lnTo>
                      <a:pt x="317407" y="1015999"/>
                    </a:lnTo>
                    <a:close/>
                  </a:path>
                  <a:path w="3439795" h="1447800">
                    <a:moveTo>
                      <a:pt x="347650" y="1003299"/>
                    </a:moveTo>
                    <a:lnTo>
                      <a:pt x="358451" y="1015999"/>
                    </a:lnTo>
                    <a:lnTo>
                      <a:pt x="362772" y="1015999"/>
                    </a:lnTo>
                    <a:lnTo>
                      <a:pt x="347650" y="1003299"/>
                    </a:lnTo>
                    <a:close/>
                  </a:path>
                  <a:path w="3439795" h="1447800">
                    <a:moveTo>
                      <a:pt x="351971" y="1003299"/>
                    </a:moveTo>
                    <a:lnTo>
                      <a:pt x="347650" y="1003299"/>
                    </a:lnTo>
                    <a:lnTo>
                      <a:pt x="362772" y="1015999"/>
                    </a:lnTo>
                    <a:lnTo>
                      <a:pt x="351971" y="1003299"/>
                    </a:lnTo>
                    <a:close/>
                  </a:path>
                  <a:path w="3439795" h="1447800">
                    <a:moveTo>
                      <a:pt x="354131" y="1003299"/>
                    </a:moveTo>
                    <a:lnTo>
                      <a:pt x="351971" y="1003299"/>
                    </a:lnTo>
                    <a:lnTo>
                      <a:pt x="362772" y="1015999"/>
                    </a:lnTo>
                    <a:lnTo>
                      <a:pt x="354131" y="1003299"/>
                    </a:lnTo>
                    <a:close/>
                  </a:path>
                  <a:path w="3439795" h="1447800">
                    <a:moveTo>
                      <a:pt x="354131" y="1003299"/>
                    </a:moveTo>
                    <a:lnTo>
                      <a:pt x="362772" y="1015999"/>
                    </a:lnTo>
                    <a:lnTo>
                      <a:pt x="364932" y="1015999"/>
                    </a:lnTo>
                    <a:lnTo>
                      <a:pt x="354131" y="1003299"/>
                    </a:lnTo>
                    <a:close/>
                  </a:path>
                  <a:path w="3439795" h="1447800">
                    <a:moveTo>
                      <a:pt x="362772" y="990599"/>
                    </a:moveTo>
                    <a:lnTo>
                      <a:pt x="358451" y="990599"/>
                    </a:lnTo>
                    <a:lnTo>
                      <a:pt x="354131" y="1003299"/>
                    </a:lnTo>
                    <a:lnTo>
                      <a:pt x="364932" y="1015999"/>
                    </a:lnTo>
                    <a:lnTo>
                      <a:pt x="362772" y="990599"/>
                    </a:lnTo>
                    <a:close/>
                  </a:path>
                  <a:path w="3439795" h="1447800">
                    <a:moveTo>
                      <a:pt x="362772" y="990599"/>
                    </a:moveTo>
                    <a:lnTo>
                      <a:pt x="364932" y="1015999"/>
                    </a:lnTo>
                    <a:lnTo>
                      <a:pt x="369252" y="1015999"/>
                    </a:lnTo>
                    <a:lnTo>
                      <a:pt x="362772" y="990599"/>
                    </a:lnTo>
                    <a:close/>
                  </a:path>
                  <a:path w="3439795" h="1447800">
                    <a:moveTo>
                      <a:pt x="369252" y="990599"/>
                    </a:moveTo>
                    <a:lnTo>
                      <a:pt x="362772" y="990599"/>
                    </a:lnTo>
                    <a:lnTo>
                      <a:pt x="369252" y="1015999"/>
                    </a:lnTo>
                    <a:lnTo>
                      <a:pt x="373573" y="1015999"/>
                    </a:lnTo>
                    <a:lnTo>
                      <a:pt x="369252" y="990599"/>
                    </a:lnTo>
                    <a:close/>
                  </a:path>
                  <a:path w="3439795" h="1447800">
                    <a:moveTo>
                      <a:pt x="373573" y="990599"/>
                    </a:moveTo>
                    <a:lnTo>
                      <a:pt x="369252" y="990599"/>
                    </a:lnTo>
                    <a:lnTo>
                      <a:pt x="373573" y="1015999"/>
                    </a:lnTo>
                    <a:lnTo>
                      <a:pt x="380054" y="1003299"/>
                    </a:lnTo>
                    <a:lnTo>
                      <a:pt x="382214" y="1003299"/>
                    </a:lnTo>
                    <a:lnTo>
                      <a:pt x="373573" y="990599"/>
                    </a:lnTo>
                    <a:close/>
                  </a:path>
                  <a:path w="3439795" h="1447800">
                    <a:moveTo>
                      <a:pt x="684464" y="1003299"/>
                    </a:moveTo>
                    <a:lnTo>
                      <a:pt x="682304" y="1003299"/>
                    </a:lnTo>
                    <a:lnTo>
                      <a:pt x="680384" y="1014588"/>
                    </a:lnTo>
                    <a:lnTo>
                      <a:pt x="682304" y="1015999"/>
                    </a:lnTo>
                    <a:lnTo>
                      <a:pt x="684464" y="1003299"/>
                    </a:lnTo>
                    <a:close/>
                  </a:path>
                  <a:path w="3439795" h="1447800">
                    <a:moveTo>
                      <a:pt x="669343" y="990599"/>
                    </a:moveTo>
                    <a:lnTo>
                      <a:pt x="665022" y="1003299"/>
                    </a:lnTo>
                    <a:lnTo>
                      <a:pt x="680384" y="1014588"/>
                    </a:lnTo>
                    <a:lnTo>
                      <a:pt x="682304" y="1003299"/>
                    </a:lnTo>
                    <a:lnTo>
                      <a:pt x="684464" y="1003299"/>
                    </a:lnTo>
                    <a:lnTo>
                      <a:pt x="669343" y="990599"/>
                    </a:lnTo>
                    <a:close/>
                  </a:path>
                  <a:path w="3439795" h="1447800">
                    <a:moveTo>
                      <a:pt x="388604" y="977899"/>
                    </a:moveTo>
                    <a:lnTo>
                      <a:pt x="373573" y="990599"/>
                    </a:lnTo>
                    <a:lnTo>
                      <a:pt x="382214" y="1003299"/>
                    </a:lnTo>
                    <a:lnTo>
                      <a:pt x="375733" y="990599"/>
                    </a:lnTo>
                    <a:lnTo>
                      <a:pt x="386534" y="990599"/>
                    </a:lnTo>
                    <a:lnTo>
                      <a:pt x="391797" y="985407"/>
                    </a:lnTo>
                    <a:lnTo>
                      <a:pt x="388604" y="977899"/>
                    </a:lnTo>
                    <a:close/>
                  </a:path>
                  <a:path w="3439795" h="1447800">
                    <a:moveTo>
                      <a:pt x="386534" y="990599"/>
                    </a:moveTo>
                    <a:lnTo>
                      <a:pt x="375733" y="990599"/>
                    </a:lnTo>
                    <a:lnTo>
                      <a:pt x="382214" y="1003299"/>
                    </a:lnTo>
                    <a:lnTo>
                      <a:pt x="399406" y="1003299"/>
                    </a:lnTo>
                    <a:lnTo>
                      <a:pt x="386534" y="990599"/>
                    </a:lnTo>
                    <a:close/>
                  </a:path>
                  <a:path w="3439795" h="1447800">
                    <a:moveTo>
                      <a:pt x="391797" y="985407"/>
                    </a:moveTo>
                    <a:lnTo>
                      <a:pt x="386534" y="990599"/>
                    </a:lnTo>
                    <a:lnTo>
                      <a:pt x="399406" y="1003299"/>
                    </a:lnTo>
                    <a:lnTo>
                      <a:pt x="391797" y="985407"/>
                    </a:lnTo>
                    <a:close/>
                  </a:path>
                  <a:path w="3439795" h="1447800">
                    <a:moveTo>
                      <a:pt x="399406" y="977899"/>
                    </a:moveTo>
                    <a:lnTo>
                      <a:pt x="391797" y="985407"/>
                    </a:lnTo>
                    <a:lnTo>
                      <a:pt x="399406" y="1003299"/>
                    </a:lnTo>
                    <a:lnTo>
                      <a:pt x="410207" y="990599"/>
                    </a:lnTo>
                    <a:lnTo>
                      <a:pt x="408046" y="990599"/>
                    </a:lnTo>
                    <a:lnTo>
                      <a:pt x="399406" y="977899"/>
                    </a:lnTo>
                    <a:close/>
                  </a:path>
                  <a:path w="3439795" h="1447800">
                    <a:moveTo>
                      <a:pt x="677983" y="939799"/>
                    </a:moveTo>
                    <a:lnTo>
                      <a:pt x="675823" y="952499"/>
                    </a:lnTo>
                    <a:lnTo>
                      <a:pt x="673663" y="952499"/>
                    </a:lnTo>
                    <a:lnTo>
                      <a:pt x="673663" y="977899"/>
                    </a:lnTo>
                    <a:lnTo>
                      <a:pt x="671503" y="990599"/>
                    </a:lnTo>
                    <a:lnTo>
                      <a:pt x="669343" y="990599"/>
                    </a:lnTo>
                    <a:lnTo>
                      <a:pt x="684464" y="1003299"/>
                    </a:lnTo>
                    <a:lnTo>
                      <a:pt x="688785" y="990599"/>
                    </a:lnTo>
                    <a:lnTo>
                      <a:pt x="690945" y="977899"/>
                    </a:lnTo>
                    <a:lnTo>
                      <a:pt x="690945" y="952499"/>
                    </a:lnTo>
                    <a:lnTo>
                      <a:pt x="685544" y="946149"/>
                    </a:lnTo>
                    <a:lnTo>
                      <a:pt x="677983" y="939799"/>
                    </a:lnTo>
                    <a:close/>
                  </a:path>
                  <a:path w="3439795" h="1447800">
                    <a:moveTo>
                      <a:pt x="399406" y="977899"/>
                    </a:moveTo>
                    <a:lnTo>
                      <a:pt x="408046" y="990599"/>
                    </a:lnTo>
                    <a:lnTo>
                      <a:pt x="409126" y="989329"/>
                    </a:lnTo>
                    <a:lnTo>
                      <a:pt x="399406" y="977899"/>
                    </a:lnTo>
                    <a:close/>
                  </a:path>
                  <a:path w="3439795" h="1447800">
                    <a:moveTo>
                      <a:pt x="409126" y="989329"/>
                    </a:moveTo>
                    <a:lnTo>
                      <a:pt x="408046" y="990599"/>
                    </a:lnTo>
                    <a:lnTo>
                      <a:pt x="410207" y="990599"/>
                    </a:lnTo>
                    <a:lnTo>
                      <a:pt x="409126" y="989329"/>
                    </a:lnTo>
                    <a:close/>
                  </a:path>
                  <a:path w="3439795" h="1447800">
                    <a:moveTo>
                      <a:pt x="412367" y="965199"/>
                    </a:moveTo>
                    <a:lnTo>
                      <a:pt x="410207" y="965199"/>
                    </a:lnTo>
                    <a:lnTo>
                      <a:pt x="399406" y="977899"/>
                    </a:lnTo>
                    <a:lnTo>
                      <a:pt x="409126" y="989329"/>
                    </a:lnTo>
                    <a:lnTo>
                      <a:pt x="418847" y="977899"/>
                    </a:lnTo>
                    <a:lnTo>
                      <a:pt x="416687" y="977899"/>
                    </a:lnTo>
                    <a:lnTo>
                      <a:pt x="412367" y="965199"/>
                    </a:lnTo>
                    <a:close/>
                  </a:path>
                  <a:path w="3439795" h="1447800">
                    <a:moveTo>
                      <a:pt x="412367" y="965199"/>
                    </a:moveTo>
                    <a:lnTo>
                      <a:pt x="416687" y="977899"/>
                    </a:lnTo>
                    <a:lnTo>
                      <a:pt x="418847" y="977899"/>
                    </a:lnTo>
                    <a:lnTo>
                      <a:pt x="412367" y="965199"/>
                    </a:lnTo>
                    <a:close/>
                  </a:path>
                  <a:path w="3439795" h="1447800">
                    <a:moveTo>
                      <a:pt x="416687" y="965199"/>
                    </a:moveTo>
                    <a:lnTo>
                      <a:pt x="412367" y="965199"/>
                    </a:lnTo>
                    <a:lnTo>
                      <a:pt x="418847" y="977899"/>
                    </a:lnTo>
                    <a:lnTo>
                      <a:pt x="433969" y="977899"/>
                    </a:lnTo>
                    <a:lnTo>
                      <a:pt x="416687" y="965199"/>
                    </a:lnTo>
                    <a:close/>
                  </a:path>
                  <a:path w="3439795" h="1447800">
                    <a:moveTo>
                      <a:pt x="421008" y="965199"/>
                    </a:moveTo>
                    <a:lnTo>
                      <a:pt x="416687" y="965199"/>
                    </a:lnTo>
                    <a:lnTo>
                      <a:pt x="433969" y="977899"/>
                    </a:lnTo>
                    <a:lnTo>
                      <a:pt x="421008" y="965199"/>
                    </a:lnTo>
                    <a:close/>
                  </a:path>
                  <a:path w="3439795" h="1447800">
                    <a:moveTo>
                      <a:pt x="427488" y="952499"/>
                    </a:moveTo>
                    <a:lnTo>
                      <a:pt x="421008" y="965199"/>
                    </a:lnTo>
                    <a:lnTo>
                      <a:pt x="433969" y="977899"/>
                    </a:lnTo>
                    <a:lnTo>
                      <a:pt x="423168" y="965199"/>
                    </a:lnTo>
                    <a:lnTo>
                      <a:pt x="433969" y="965199"/>
                    </a:lnTo>
                    <a:lnTo>
                      <a:pt x="427488" y="952499"/>
                    </a:lnTo>
                    <a:close/>
                  </a:path>
                  <a:path w="3439795" h="1447800">
                    <a:moveTo>
                      <a:pt x="427488" y="952499"/>
                    </a:moveTo>
                    <a:lnTo>
                      <a:pt x="433969" y="965199"/>
                    </a:lnTo>
                    <a:lnTo>
                      <a:pt x="423168" y="965199"/>
                    </a:lnTo>
                    <a:lnTo>
                      <a:pt x="433969" y="977899"/>
                    </a:lnTo>
                    <a:lnTo>
                      <a:pt x="436129" y="965199"/>
                    </a:lnTo>
                    <a:lnTo>
                      <a:pt x="427488" y="952499"/>
                    </a:lnTo>
                    <a:close/>
                  </a:path>
                  <a:path w="3439795" h="1447800">
                    <a:moveTo>
                      <a:pt x="431809" y="952499"/>
                    </a:moveTo>
                    <a:lnTo>
                      <a:pt x="427488" y="952499"/>
                    </a:lnTo>
                    <a:lnTo>
                      <a:pt x="436129" y="965199"/>
                    </a:lnTo>
                    <a:lnTo>
                      <a:pt x="440450" y="965199"/>
                    </a:lnTo>
                    <a:lnTo>
                      <a:pt x="431809" y="952499"/>
                    </a:lnTo>
                    <a:close/>
                  </a:path>
                  <a:path w="3439795" h="1447800">
                    <a:moveTo>
                      <a:pt x="433969" y="952499"/>
                    </a:moveTo>
                    <a:lnTo>
                      <a:pt x="431809" y="952499"/>
                    </a:lnTo>
                    <a:lnTo>
                      <a:pt x="440450" y="965199"/>
                    </a:lnTo>
                    <a:lnTo>
                      <a:pt x="433969" y="952499"/>
                    </a:lnTo>
                    <a:close/>
                  </a:path>
                  <a:path w="3439795" h="1447800">
                    <a:moveTo>
                      <a:pt x="444770" y="952499"/>
                    </a:moveTo>
                    <a:lnTo>
                      <a:pt x="433969" y="952499"/>
                    </a:lnTo>
                    <a:lnTo>
                      <a:pt x="440450" y="965199"/>
                    </a:lnTo>
                    <a:lnTo>
                      <a:pt x="444770" y="965199"/>
                    </a:lnTo>
                    <a:lnTo>
                      <a:pt x="444770" y="952499"/>
                    </a:lnTo>
                    <a:close/>
                  </a:path>
                  <a:path w="3439795" h="1447800">
                    <a:moveTo>
                      <a:pt x="444770" y="952499"/>
                    </a:moveTo>
                    <a:lnTo>
                      <a:pt x="444770" y="965199"/>
                    </a:lnTo>
                    <a:lnTo>
                      <a:pt x="446930" y="965199"/>
                    </a:lnTo>
                    <a:lnTo>
                      <a:pt x="444770" y="952499"/>
                    </a:lnTo>
                    <a:close/>
                  </a:path>
                  <a:path w="3439795" h="1447800">
                    <a:moveTo>
                      <a:pt x="449090" y="952499"/>
                    </a:moveTo>
                    <a:lnTo>
                      <a:pt x="444770" y="952499"/>
                    </a:lnTo>
                    <a:lnTo>
                      <a:pt x="446930" y="965199"/>
                    </a:lnTo>
                    <a:lnTo>
                      <a:pt x="449090" y="965199"/>
                    </a:lnTo>
                    <a:lnTo>
                      <a:pt x="449090" y="952499"/>
                    </a:lnTo>
                    <a:close/>
                  </a:path>
                  <a:path w="3439795" h="1447800">
                    <a:moveTo>
                      <a:pt x="451251" y="952499"/>
                    </a:moveTo>
                    <a:lnTo>
                      <a:pt x="449090" y="952499"/>
                    </a:lnTo>
                    <a:lnTo>
                      <a:pt x="449090" y="965199"/>
                    </a:lnTo>
                    <a:lnTo>
                      <a:pt x="462052" y="965199"/>
                    </a:lnTo>
                    <a:lnTo>
                      <a:pt x="451251" y="952499"/>
                    </a:lnTo>
                    <a:close/>
                  </a:path>
                  <a:path w="3439795" h="1447800">
                    <a:moveTo>
                      <a:pt x="455571" y="952499"/>
                    </a:moveTo>
                    <a:lnTo>
                      <a:pt x="451251" y="952499"/>
                    </a:lnTo>
                    <a:lnTo>
                      <a:pt x="462052" y="965199"/>
                    </a:lnTo>
                    <a:lnTo>
                      <a:pt x="455571" y="952499"/>
                    </a:lnTo>
                    <a:close/>
                  </a:path>
                  <a:path w="3439795" h="1447800">
                    <a:moveTo>
                      <a:pt x="457731" y="939799"/>
                    </a:moveTo>
                    <a:lnTo>
                      <a:pt x="455571" y="952499"/>
                    </a:lnTo>
                    <a:lnTo>
                      <a:pt x="462052" y="965199"/>
                    </a:lnTo>
                    <a:lnTo>
                      <a:pt x="464212" y="965199"/>
                    </a:lnTo>
                    <a:lnTo>
                      <a:pt x="457731" y="939799"/>
                    </a:lnTo>
                    <a:close/>
                  </a:path>
                  <a:path w="3439795" h="1447800">
                    <a:moveTo>
                      <a:pt x="457731" y="939799"/>
                    </a:moveTo>
                    <a:lnTo>
                      <a:pt x="464212" y="965199"/>
                    </a:lnTo>
                    <a:lnTo>
                      <a:pt x="465652" y="963083"/>
                    </a:lnTo>
                    <a:lnTo>
                      <a:pt x="457731" y="939799"/>
                    </a:lnTo>
                    <a:close/>
                  </a:path>
                  <a:path w="3439795" h="1447800">
                    <a:moveTo>
                      <a:pt x="465652" y="963083"/>
                    </a:moveTo>
                    <a:lnTo>
                      <a:pt x="464212" y="965199"/>
                    </a:lnTo>
                    <a:lnTo>
                      <a:pt x="466372" y="965199"/>
                    </a:lnTo>
                    <a:lnTo>
                      <a:pt x="465652" y="963083"/>
                    </a:lnTo>
                    <a:close/>
                  </a:path>
                  <a:path w="3439795" h="1447800">
                    <a:moveTo>
                      <a:pt x="471233" y="942974"/>
                    </a:moveTo>
                    <a:lnTo>
                      <a:pt x="472853" y="952499"/>
                    </a:lnTo>
                    <a:lnTo>
                      <a:pt x="470693" y="955674"/>
                    </a:lnTo>
                    <a:lnTo>
                      <a:pt x="470693" y="965199"/>
                    </a:lnTo>
                    <a:lnTo>
                      <a:pt x="472853" y="965199"/>
                    </a:lnTo>
                    <a:lnTo>
                      <a:pt x="479334" y="952499"/>
                    </a:lnTo>
                    <a:lnTo>
                      <a:pt x="471233" y="942974"/>
                    </a:lnTo>
                    <a:close/>
                  </a:path>
                  <a:path w="3439795" h="1447800">
                    <a:moveTo>
                      <a:pt x="479334" y="952499"/>
                    </a:moveTo>
                    <a:lnTo>
                      <a:pt x="472853" y="965199"/>
                    </a:lnTo>
                    <a:lnTo>
                      <a:pt x="477173" y="965199"/>
                    </a:lnTo>
                    <a:lnTo>
                      <a:pt x="479334" y="952499"/>
                    </a:lnTo>
                    <a:close/>
                  </a:path>
                  <a:path w="3439795" h="1447800">
                    <a:moveTo>
                      <a:pt x="747110" y="939799"/>
                    </a:moveTo>
                    <a:lnTo>
                      <a:pt x="744950" y="939799"/>
                    </a:lnTo>
                    <a:lnTo>
                      <a:pt x="734149" y="952499"/>
                    </a:lnTo>
                    <a:lnTo>
                      <a:pt x="738469" y="965199"/>
                    </a:lnTo>
                    <a:lnTo>
                      <a:pt x="742790" y="960966"/>
                    </a:lnTo>
                    <a:lnTo>
                      <a:pt x="747110" y="952499"/>
                    </a:lnTo>
                    <a:lnTo>
                      <a:pt x="751431" y="952499"/>
                    </a:lnTo>
                    <a:lnTo>
                      <a:pt x="747110" y="939799"/>
                    </a:lnTo>
                    <a:close/>
                  </a:path>
                  <a:path w="3439795" h="1447800">
                    <a:moveTo>
                      <a:pt x="742790" y="960966"/>
                    </a:moveTo>
                    <a:lnTo>
                      <a:pt x="738469" y="965199"/>
                    </a:lnTo>
                    <a:lnTo>
                      <a:pt x="740630" y="965199"/>
                    </a:lnTo>
                    <a:lnTo>
                      <a:pt x="742790" y="960966"/>
                    </a:lnTo>
                    <a:close/>
                  </a:path>
                  <a:path w="3439795" h="1447800">
                    <a:moveTo>
                      <a:pt x="751431" y="952499"/>
                    </a:moveTo>
                    <a:lnTo>
                      <a:pt x="742790" y="960966"/>
                    </a:lnTo>
                    <a:lnTo>
                      <a:pt x="740630" y="965199"/>
                    </a:lnTo>
                    <a:lnTo>
                      <a:pt x="751431" y="956128"/>
                    </a:lnTo>
                    <a:lnTo>
                      <a:pt x="751431" y="952499"/>
                    </a:lnTo>
                    <a:close/>
                  </a:path>
                  <a:path w="3439795" h="1447800">
                    <a:moveTo>
                      <a:pt x="751431" y="956128"/>
                    </a:moveTo>
                    <a:lnTo>
                      <a:pt x="740630" y="965199"/>
                    </a:lnTo>
                    <a:lnTo>
                      <a:pt x="751431" y="965199"/>
                    </a:lnTo>
                    <a:lnTo>
                      <a:pt x="751431" y="956128"/>
                    </a:lnTo>
                    <a:close/>
                  </a:path>
                  <a:path w="3439795" h="1447800">
                    <a:moveTo>
                      <a:pt x="759451" y="948849"/>
                    </a:moveTo>
                    <a:lnTo>
                      <a:pt x="757911" y="952499"/>
                    </a:lnTo>
                    <a:lnTo>
                      <a:pt x="755751" y="952499"/>
                    </a:lnTo>
                    <a:lnTo>
                      <a:pt x="751431" y="956128"/>
                    </a:lnTo>
                    <a:lnTo>
                      <a:pt x="751431" y="965199"/>
                    </a:lnTo>
                    <a:lnTo>
                      <a:pt x="760072" y="965199"/>
                    </a:lnTo>
                    <a:lnTo>
                      <a:pt x="760072" y="952499"/>
                    </a:lnTo>
                    <a:lnTo>
                      <a:pt x="759451" y="948849"/>
                    </a:lnTo>
                    <a:close/>
                  </a:path>
                  <a:path w="3439795" h="1447800">
                    <a:moveTo>
                      <a:pt x="760072" y="952499"/>
                    </a:moveTo>
                    <a:lnTo>
                      <a:pt x="760072" y="965199"/>
                    </a:lnTo>
                    <a:lnTo>
                      <a:pt x="766462" y="965199"/>
                    </a:lnTo>
                    <a:lnTo>
                      <a:pt x="760072" y="952499"/>
                    </a:lnTo>
                    <a:close/>
                  </a:path>
                  <a:path w="3439795" h="1447800">
                    <a:moveTo>
                      <a:pt x="760072" y="952499"/>
                    </a:moveTo>
                    <a:lnTo>
                      <a:pt x="766462" y="965199"/>
                    </a:lnTo>
                    <a:lnTo>
                      <a:pt x="766462" y="957220"/>
                    </a:lnTo>
                    <a:lnTo>
                      <a:pt x="760072" y="952499"/>
                    </a:lnTo>
                    <a:close/>
                  </a:path>
                  <a:path w="3439795" h="1447800">
                    <a:moveTo>
                      <a:pt x="766462" y="957220"/>
                    </a:moveTo>
                    <a:lnTo>
                      <a:pt x="766462" y="965199"/>
                    </a:lnTo>
                    <a:lnTo>
                      <a:pt x="777263" y="965199"/>
                    </a:lnTo>
                    <a:lnTo>
                      <a:pt x="766462" y="957220"/>
                    </a:lnTo>
                    <a:close/>
                  </a:path>
                  <a:path w="3439795" h="1447800">
                    <a:moveTo>
                      <a:pt x="766462" y="956128"/>
                    </a:moveTo>
                    <a:lnTo>
                      <a:pt x="766462" y="957220"/>
                    </a:lnTo>
                    <a:lnTo>
                      <a:pt x="777263" y="965199"/>
                    </a:lnTo>
                    <a:lnTo>
                      <a:pt x="766462" y="956128"/>
                    </a:lnTo>
                    <a:close/>
                  </a:path>
                  <a:path w="3439795" h="1447800">
                    <a:moveTo>
                      <a:pt x="779424" y="952499"/>
                    </a:moveTo>
                    <a:lnTo>
                      <a:pt x="766462" y="952499"/>
                    </a:lnTo>
                    <a:lnTo>
                      <a:pt x="766462" y="956128"/>
                    </a:lnTo>
                    <a:lnTo>
                      <a:pt x="777263" y="965199"/>
                    </a:lnTo>
                    <a:lnTo>
                      <a:pt x="779424" y="952499"/>
                    </a:lnTo>
                    <a:close/>
                  </a:path>
                  <a:path w="3439795" h="1447800">
                    <a:moveTo>
                      <a:pt x="468532" y="939799"/>
                    </a:moveTo>
                    <a:lnTo>
                      <a:pt x="457731" y="939799"/>
                    </a:lnTo>
                    <a:lnTo>
                      <a:pt x="465652" y="963083"/>
                    </a:lnTo>
                    <a:lnTo>
                      <a:pt x="470693" y="955674"/>
                    </a:lnTo>
                    <a:lnTo>
                      <a:pt x="470693" y="942339"/>
                    </a:lnTo>
                    <a:lnTo>
                      <a:pt x="468532" y="939799"/>
                    </a:lnTo>
                    <a:close/>
                  </a:path>
                  <a:path w="3439795" h="1447800">
                    <a:moveTo>
                      <a:pt x="751431" y="952499"/>
                    </a:moveTo>
                    <a:lnTo>
                      <a:pt x="747110" y="952499"/>
                    </a:lnTo>
                    <a:lnTo>
                      <a:pt x="742790" y="960966"/>
                    </a:lnTo>
                    <a:lnTo>
                      <a:pt x="751431" y="952499"/>
                    </a:lnTo>
                    <a:close/>
                  </a:path>
                  <a:path w="3439795" h="1447800">
                    <a:moveTo>
                      <a:pt x="775344" y="941217"/>
                    </a:moveTo>
                    <a:lnTo>
                      <a:pt x="760072" y="952499"/>
                    </a:lnTo>
                    <a:lnTo>
                      <a:pt x="766462" y="957220"/>
                    </a:lnTo>
                    <a:lnTo>
                      <a:pt x="766462" y="956128"/>
                    </a:lnTo>
                    <a:lnTo>
                      <a:pt x="762142" y="952499"/>
                    </a:lnTo>
                    <a:lnTo>
                      <a:pt x="775373" y="941387"/>
                    </a:lnTo>
                    <a:lnTo>
                      <a:pt x="775344" y="941217"/>
                    </a:lnTo>
                    <a:close/>
                  </a:path>
                  <a:path w="3439795" h="1447800">
                    <a:moveTo>
                      <a:pt x="755751" y="952499"/>
                    </a:moveTo>
                    <a:lnTo>
                      <a:pt x="751431" y="952499"/>
                    </a:lnTo>
                    <a:lnTo>
                      <a:pt x="751431" y="956128"/>
                    </a:lnTo>
                    <a:lnTo>
                      <a:pt x="755751" y="952499"/>
                    </a:lnTo>
                    <a:close/>
                  </a:path>
                  <a:path w="3439795" h="1447800">
                    <a:moveTo>
                      <a:pt x="775373" y="941387"/>
                    </a:moveTo>
                    <a:lnTo>
                      <a:pt x="762142" y="952499"/>
                    </a:lnTo>
                    <a:lnTo>
                      <a:pt x="766462" y="956128"/>
                    </a:lnTo>
                    <a:lnTo>
                      <a:pt x="766462" y="952499"/>
                    </a:lnTo>
                    <a:lnTo>
                      <a:pt x="777263" y="952499"/>
                    </a:lnTo>
                    <a:lnTo>
                      <a:pt x="775373" y="941387"/>
                    </a:lnTo>
                    <a:close/>
                  </a:path>
                  <a:path w="3439795" h="1447800">
                    <a:moveTo>
                      <a:pt x="470693" y="942339"/>
                    </a:moveTo>
                    <a:lnTo>
                      <a:pt x="470693" y="955674"/>
                    </a:lnTo>
                    <a:lnTo>
                      <a:pt x="472853" y="952499"/>
                    </a:lnTo>
                    <a:lnTo>
                      <a:pt x="471233" y="942974"/>
                    </a:lnTo>
                    <a:lnTo>
                      <a:pt x="470693" y="942339"/>
                    </a:lnTo>
                    <a:close/>
                  </a:path>
                  <a:path w="3439795" h="1447800">
                    <a:moveTo>
                      <a:pt x="472853" y="939799"/>
                    </a:moveTo>
                    <a:lnTo>
                      <a:pt x="470693" y="939799"/>
                    </a:lnTo>
                    <a:lnTo>
                      <a:pt x="471233" y="942974"/>
                    </a:lnTo>
                    <a:lnTo>
                      <a:pt x="479334" y="952499"/>
                    </a:lnTo>
                    <a:lnTo>
                      <a:pt x="472853" y="939799"/>
                    </a:lnTo>
                    <a:close/>
                  </a:path>
                  <a:path w="3439795" h="1447800">
                    <a:moveTo>
                      <a:pt x="475013" y="939799"/>
                    </a:moveTo>
                    <a:lnTo>
                      <a:pt x="472853" y="939799"/>
                    </a:lnTo>
                    <a:lnTo>
                      <a:pt x="479334" y="952499"/>
                    </a:lnTo>
                    <a:lnTo>
                      <a:pt x="483654" y="952499"/>
                    </a:lnTo>
                    <a:lnTo>
                      <a:pt x="475013" y="939799"/>
                    </a:lnTo>
                    <a:close/>
                  </a:path>
                  <a:path w="3439795" h="1447800">
                    <a:moveTo>
                      <a:pt x="475013" y="939799"/>
                    </a:moveTo>
                    <a:lnTo>
                      <a:pt x="483654" y="952499"/>
                    </a:lnTo>
                    <a:lnTo>
                      <a:pt x="485814" y="952499"/>
                    </a:lnTo>
                    <a:lnTo>
                      <a:pt x="475013" y="939799"/>
                    </a:lnTo>
                    <a:close/>
                  </a:path>
                  <a:path w="3439795" h="1447800">
                    <a:moveTo>
                      <a:pt x="475013" y="939799"/>
                    </a:moveTo>
                    <a:lnTo>
                      <a:pt x="485814" y="952499"/>
                    </a:lnTo>
                    <a:lnTo>
                      <a:pt x="483654" y="948266"/>
                    </a:lnTo>
                    <a:lnTo>
                      <a:pt x="475013" y="939799"/>
                    </a:lnTo>
                    <a:close/>
                  </a:path>
                  <a:path w="3439795" h="1447800">
                    <a:moveTo>
                      <a:pt x="483654" y="948266"/>
                    </a:moveTo>
                    <a:lnTo>
                      <a:pt x="485814" y="952499"/>
                    </a:lnTo>
                    <a:lnTo>
                      <a:pt x="487974" y="952499"/>
                    </a:lnTo>
                    <a:lnTo>
                      <a:pt x="483654" y="948266"/>
                    </a:lnTo>
                    <a:close/>
                  </a:path>
                  <a:path w="3439795" h="1447800">
                    <a:moveTo>
                      <a:pt x="482574" y="946149"/>
                    </a:moveTo>
                    <a:lnTo>
                      <a:pt x="483654" y="948266"/>
                    </a:lnTo>
                    <a:lnTo>
                      <a:pt x="487974" y="952499"/>
                    </a:lnTo>
                    <a:lnTo>
                      <a:pt x="482574" y="946149"/>
                    </a:lnTo>
                    <a:close/>
                  </a:path>
                  <a:path w="3439795" h="1447800">
                    <a:moveTo>
                      <a:pt x="479334" y="939799"/>
                    </a:moveTo>
                    <a:lnTo>
                      <a:pt x="482574" y="946149"/>
                    </a:lnTo>
                    <a:lnTo>
                      <a:pt x="487974" y="952499"/>
                    </a:lnTo>
                    <a:lnTo>
                      <a:pt x="490135" y="952499"/>
                    </a:lnTo>
                    <a:lnTo>
                      <a:pt x="479334" y="939799"/>
                    </a:lnTo>
                    <a:close/>
                  </a:path>
                  <a:path w="3439795" h="1447800">
                    <a:moveTo>
                      <a:pt x="483654" y="927099"/>
                    </a:moveTo>
                    <a:lnTo>
                      <a:pt x="479334" y="939799"/>
                    </a:lnTo>
                    <a:lnTo>
                      <a:pt x="490135" y="952499"/>
                    </a:lnTo>
                    <a:lnTo>
                      <a:pt x="486894" y="939799"/>
                    </a:lnTo>
                    <a:lnTo>
                      <a:pt x="485814" y="939799"/>
                    </a:lnTo>
                    <a:lnTo>
                      <a:pt x="486431" y="937985"/>
                    </a:lnTo>
                    <a:lnTo>
                      <a:pt x="483654" y="927099"/>
                    </a:lnTo>
                    <a:close/>
                  </a:path>
                  <a:path w="3439795" h="1447800">
                    <a:moveTo>
                      <a:pt x="490135" y="927099"/>
                    </a:moveTo>
                    <a:lnTo>
                      <a:pt x="486431" y="937985"/>
                    </a:lnTo>
                    <a:lnTo>
                      <a:pt x="490135" y="952499"/>
                    </a:lnTo>
                    <a:lnTo>
                      <a:pt x="494455" y="952499"/>
                    </a:lnTo>
                    <a:lnTo>
                      <a:pt x="500936" y="939799"/>
                    </a:lnTo>
                    <a:lnTo>
                      <a:pt x="490135" y="927099"/>
                    </a:lnTo>
                    <a:close/>
                  </a:path>
                  <a:path w="3439795" h="1447800">
                    <a:moveTo>
                      <a:pt x="500936" y="939799"/>
                    </a:moveTo>
                    <a:lnTo>
                      <a:pt x="494455" y="952499"/>
                    </a:lnTo>
                    <a:lnTo>
                      <a:pt x="498775" y="952499"/>
                    </a:lnTo>
                    <a:lnTo>
                      <a:pt x="500936" y="939799"/>
                    </a:lnTo>
                    <a:close/>
                  </a:path>
                  <a:path w="3439795" h="1447800">
                    <a:moveTo>
                      <a:pt x="685544" y="946149"/>
                    </a:moveTo>
                    <a:lnTo>
                      <a:pt x="690945" y="952499"/>
                    </a:lnTo>
                    <a:lnTo>
                      <a:pt x="693105" y="952499"/>
                    </a:lnTo>
                    <a:lnTo>
                      <a:pt x="685544" y="946149"/>
                    </a:lnTo>
                    <a:close/>
                  </a:path>
                  <a:path w="3439795" h="1447800">
                    <a:moveTo>
                      <a:pt x="683744" y="944033"/>
                    </a:moveTo>
                    <a:lnTo>
                      <a:pt x="685544" y="946149"/>
                    </a:lnTo>
                    <a:lnTo>
                      <a:pt x="693105" y="952499"/>
                    </a:lnTo>
                    <a:lnTo>
                      <a:pt x="695265" y="952499"/>
                    </a:lnTo>
                    <a:lnTo>
                      <a:pt x="683744" y="944033"/>
                    </a:lnTo>
                    <a:close/>
                  </a:path>
                  <a:path w="3439795" h="1447800">
                    <a:moveTo>
                      <a:pt x="680144" y="939799"/>
                    </a:moveTo>
                    <a:lnTo>
                      <a:pt x="683744" y="944033"/>
                    </a:lnTo>
                    <a:lnTo>
                      <a:pt x="695265" y="952499"/>
                    </a:lnTo>
                    <a:lnTo>
                      <a:pt x="680144" y="939799"/>
                    </a:lnTo>
                    <a:close/>
                  </a:path>
                  <a:path w="3439795" h="1447800">
                    <a:moveTo>
                      <a:pt x="688785" y="927099"/>
                    </a:moveTo>
                    <a:lnTo>
                      <a:pt x="684464" y="939799"/>
                    </a:lnTo>
                    <a:lnTo>
                      <a:pt x="680144" y="939799"/>
                    </a:lnTo>
                    <a:lnTo>
                      <a:pt x="695265" y="952499"/>
                    </a:lnTo>
                    <a:lnTo>
                      <a:pt x="688785" y="927099"/>
                    </a:lnTo>
                    <a:close/>
                  </a:path>
                  <a:path w="3439795" h="1447800">
                    <a:moveTo>
                      <a:pt x="714707" y="927099"/>
                    </a:moveTo>
                    <a:lnTo>
                      <a:pt x="688785" y="927099"/>
                    </a:lnTo>
                    <a:lnTo>
                      <a:pt x="695265" y="952499"/>
                    </a:lnTo>
                    <a:lnTo>
                      <a:pt x="721188" y="939799"/>
                    </a:lnTo>
                    <a:lnTo>
                      <a:pt x="714707" y="927099"/>
                    </a:lnTo>
                    <a:close/>
                  </a:path>
                  <a:path w="3439795" h="1447800">
                    <a:moveTo>
                      <a:pt x="721188" y="939799"/>
                    </a:moveTo>
                    <a:lnTo>
                      <a:pt x="721188" y="952499"/>
                    </a:lnTo>
                    <a:lnTo>
                      <a:pt x="725508" y="952499"/>
                    </a:lnTo>
                    <a:lnTo>
                      <a:pt x="721188" y="939799"/>
                    </a:lnTo>
                    <a:close/>
                  </a:path>
                  <a:path w="3439795" h="1447800">
                    <a:moveTo>
                      <a:pt x="722628" y="931333"/>
                    </a:moveTo>
                    <a:lnTo>
                      <a:pt x="721188" y="939799"/>
                    </a:lnTo>
                    <a:lnTo>
                      <a:pt x="725508" y="952499"/>
                    </a:lnTo>
                    <a:lnTo>
                      <a:pt x="734149" y="952499"/>
                    </a:lnTo>
                    <a:lnTo>
                      <a:pt x="744950" y="939799"/>
                    </a:lnTo>
                    <a:lnTo>
                      <a:pt x="725508" y="939799"/>
                    </a:lnTo>
                    <a:lnTo>
                      <a:pt x="722628" y="931333"/>
                    </a:lnTo>
                    <a:close/>
                  </a:path>
                  <a:path w="3439795" h="1447800">
                    <a:moveTo>
                      <a:pt x="763443" y="928375"/>
                    </a:moveTo>
                    <a:lnTo>
                      <a:pt x="755751" y="939799"/>
                    </a:lnTo>
                    <a:lnTo>
                      <a:pt x="757911" y="952499"/>
                    </a:lnTo>
                    <a:lnTo>
                      <a:pt x="757911" y="939799"/>
                    </a:lnTo>
                    <a:lnTo>
                      <a:pt x="763267" y="939799"/>
                    </a:lnTo>
                    <a:lnTo>
                      <a:pt x="766728" y="931593"/>
                    </a:lnTo>
                    <a:lnTo>
                      <a:pt x="763443" y="928375"/>
                    </a:lnTo>
                    <a:close/>
                  </a:path>
                  <a:path w="3439795" h="1447800">
                    <a:moveTo>
                      <a:pt x="757911" y="939799"/>
                    </a:moveTo>
                    <a:lnTo>
                      <a:pt x="757911" y="952499"/>
                    </a:lnTo>
                    <a:lnTo>
                      <a:pt x="759451" y="948849"/>
                    </a:lnTo>
                    <a:lnTo>
                      <a:pt x="757911" y="939799"/>
                    </a:lnTo>
                    <a:close/>
                  </a:path>
                  <a:path w="3439795" h="1447800">
                    <a:moveTo>
                      <a:pt x="766728" y="931593"/>
                    </a:moveTo>
                    <a:lnTo>
                      <a:pt x="759451" y="948849"/>
                    </a:lnTo>
                    <a:lnTo>
                      <a:pt x="760072" y="952499"/>
                    </a:lnTo>
                    <a:lnTo>
                      <a:pt x="775103" y="939799"/>
                    </a:lnTo>
                    <a:lnTo>
                      <a:pt x="772943" y="939799"/>
                    </a:lnTo>
                    <a:lnTo>
                      <a:pt x="771863" y="936624"/>
                    </a:lnTo>
                    <a:lnTo>
                      <a:pt x="766728" y="931593"/>
                    </a:lnTo>
                    <a:close/>
                  </a:path>
                  <a:path w="3439795" h="1447800">
                    <a:moveTo>
                      <a:pt x="775103" y="939799"/>
                    </a:moveTo>
                    <a:lnTo>
                      <a:pt x="760072" y="952499"/>
                    </a:lnTo>
                    <a:lnTo>
                      <a:pt x="775344" y="941217"/>
                    </a:lnTo>
                    <a:lnTo>
                      <a:pt x="775103" y="939799"/>
                    </a:lnTo>
                    <a:close/>
                  </a:path>
                  <a:path w="3439795" h="1447800">
                    <a:moveTo>
                      <a:pt x="763267" y="939799"/>
                    </a:moveTo>
                    <a:lnTo>
                      <a:pt x="757911" y="939799"/>
                    </a:lnTo>
                    <a:lnTo>
                      <a:pt x="759451" y="948849"/>
                    </a:lnTo>
                    <a:lnTo>
                      <a:pt x="763267" y="939799"/>
                    </a:lnTo>
                    <a:close/>
                  </a:path>
                  <a:path w="3439795" h="1447800">
                    <a:moveTo>
                      <a:pt x="477173" y="939799"/>
                    </a:moveTo>
                    <a:lnTo>
                      <a:pt x="475013" y="939799"/>
                    </a:lnTo>
                    <a:lnTo>
                      <a:pt x="483654" y="948266"/>
                    </a:lnTo>
                    <a:lnTo>
                      <a:pt x="482574" y="946149"/>
                    </a:lnTo>
                    <a:lnTo>
                      <a:pt x="477173" y="939799"/>
                    </a:lnTo>
                    <a:close/>
                  </a:path>
                  <a:path w="3439795" h="1447800">
                    <a:moveTo>
                      <a:pt x="479334" y="939799"/>
                    </a:moveTo>
                    <a:lnTo>
                      <a:pt x="477173" y="939799"/>
                    </a:lnTo>
                    <a:lnTo>
                      <a:pt x="482574" y="946149"/>
                    </a:lnTo>
                    <a:lnTo>
                      <a:pt x="479334" y="939799"/>
                    </a:lnTo>
                    <a:close/>
                  </a:path>
                  <a:path w="3439795" h="1447800">
                    <a:moveTo>
                      <a:pt x="677983" y="939799"/>
                    </a:moveTo>
                    <a:lnTo>
                      <a:pt x="685544" y="946149"/>
                    </a:lnTo>
                    <a:lnTo>
                      <a:pt x="683744" y="944033"/>
                    </a:lnTo>
                    <a:lnTo>
                      <a:pt x="677983" y="939799"/>
                    </a:lnTo>
                    <a:close/>
                  </a:path>
                  <a:path w="3439795" h="1447800">
                    <a:moveTo>
                      <a:pt x="680144" y="939799"/>
                    </a:moveTo>
                    <a:lnTo>
                      <a:pt x="677983" y="939799"/>
                    </a:lnTo>
                    <a:lnTo>
                      <a:pt x="683744" y="944033"/>
                    </a:lnTo>
                    <a:lnTo>
                      <a:pt x="680144" y="939799"/>
                    </a:lnTo>
                    <a:close/>
                  </a:path>
                  <a:path w="3439795" h="1447800">
                    <a:moveTo>
                      <a:pt x="470693" y="939799"/>
                    </a:moveTo>
                    <a:lnTo>
                      <a:pt x="470693" y="942339"/>
                    </a:lnTo>
                    <a:lnTo>
                      <a:pt x="471233" y="942974"/>
                    </a:lnTo>
                    <a:lnTo>
                      <a:pt x="470693" y="939799"/>
                    </a:lnTo>
                    <a:close/>
                  </a:path>
                  <a:path w="3439795" h="1447800">
                    <a:moveTo>
                      <a:pt x="470693" y="939799"/>
                    </a:moveTo>
                    <a:lnTo>
                      <a:pt x="468532" y="939799"/>
                    </a:lnTo>
                    <a:lnTo>
                      <a:pt x="470693" y="942339"/>
                    </a:lnTo>
                    <a:lnTo>
                      <a:pt x="470693" y="939799"/>
                    </a:lnTo>
                    <a:close/>
                  </a:path>
                  <a:path w="3439795" h="1447800">
                    <a:moveTo>
                      <a:pt x="777263" y="939799"/>
                    </a:moveTo>
                    <a:lnTo>
                      <a:pt x="775344" y="941217"/>
                    </a:lnTo>
                    <a:lnTo>
                      <a:pt x="775373" y="941387"/>
                    </a:lnTo>
                    <a:lnTo>
                      <a:pt x="777263" y="939799"/>
                    </a:lnTo>
                    <a:close/>
                  </a:path>
                  <a:path w="3439795" h="1447800">
                    <a:moveTo>
                      <a:pt x="770783" y="914399"/>
                    </a:moveTo>
                    <a:lnTo>
                      <a:pt x="781584" y="927099"/>
                    </a:lnTo>
                    <a:lnTo>
                      <a:pt x="768623" y="927099"/>
                    </a:lnTo>
                    <a:lnTo>
                      <a:pt x="771863" y="936624"/>
                    </a:lnTo>
                    <a:lnTo>
                      <a:pt x="775103" y="939799"/>
                    </a:lnTo>
                    <a:lnTo>
                      <a:pt x="775344" y="941217"/>
                    </a:lnTo>
                    <a:lnTo>
                      <a:pt x="777263" y="939799"/>
                    </a:lnTo>
                    <a:lnTo>
                      <a:pt x="785904" y="927099"/>
                    </a:lnTo>
                    <a:lnTo>
                      <a:pt x="770783" y="914399"/>
                    </a:lnTo>
                    <a:close/>
                  </a:path>
                  <a:path w="3439795" h="1447800">
                    <a:moveTo>
                      <a:pt x="486431" y="937985"/>
                    </a:moveTo>
                    <a:lnTo>
                      <a:pt x="485814" y="939799"/>
                    </a:lnTo>
                    <a:lnTo>
                      <a:pt x="486894" y="939799"/>
                    </a:lnTo>
                    <a:lnTo>
                      <a:pt x="486431" y="937985"/>
                    </a:lnTo>
                    <a:close/>
                  </a:path>
                  <a:path w="3439795" h="1447800">
                    <a:moveTo>
                      <a:pt x="492295" y="927099"/>
                    </a:moveTo>
                    <a:lnTo>
                      <a:pt x="490135" y="927099"/>
                    </a:lnTo>
                    <a:lnTo>
                      <a:pt x="500936" y="939799"/>
                    </a:lnTo>
                    <a:lnTo>
                      <a:pt x="505256" y="939799"/>
                    </a:lnTo>
                    <a:lnTo>
                      <a:pt x="492295" y="927099"/>
                    </a:lnTo>
                    <a:close/>
                  </a:path>
                  <a:path w="3439795" h="1447800">
                    <a:moveTo>
                      <a:pt x="503096" y="914399"/>
                    </a:moveTo>
                    <a:lnTo>
                      <a:pt x="500936" y="914399"/>
                    </a:lnTo>
                    <a:lnTo>
                      <a:pt x="492295" y="927099"/>
                    </a:lnTo>
                    <a:lnTo>
                      <a:pt x="505256" y="939799"/>
                    </a:lnTo>
                    <a:lnTo>
                      <a:pt x="513897" y="927099"/>
                    </a:lnTo>
                    <a:lnTo>
                      <a:pt x="509577" y="927099"/>
                    </a:lnTo>
                    <a:lnTo>
                      <a:pt x="503096" y="914399"/>
                    </a:lnTo>
                    <a:close/>
                  </a:path>
                  <a:path w="3439795" h="1447800">
                    <a:moveTo>
                      <a:pt x="721188" y="927099"/>
                    </a:moveTo>
                    <a:lnTo>
                      <a:pt x="714707" y="927099"/>
                    </a:lnTo>
                    <a:lnTo>
                      <a:pt x="721188" y="939799"/>
                    </a:lnTo>
                    <a:lnTo>
                      <a:pt x="721188" y="927099"/>
                    </a:lnTo>
                    <a:close/>
                  </a:path>
                  <a:path w="3439795" h="1447800">
                    <a:moveTo>
                      <a:pt x="721188" y="927099"/>
                    </a:moveTo>
                    <a:lnTo>
                      <a:pt x="721188" y="939799"/>
                    </a:lnTo>
                    <a:lnTo>
                      <a:pt x="722628" y="931333"/>
                    </a:lnTo>
                    <a:lnTo>
                      <a:pt x="721188" y="927099"/>
                    </a:lnTo>
                    <a:close/>
                  </a:path>
                  <a:path w="3439795" h="1447800">
                    <a:moveTo>
                      <a:pt x="722916" y="929639"/>
                    </a:moveTo>
                    <a:lnTo>
                      <a:pt x="722628" y="931333"/>
                    </a:lnTo>
                    <a:lnTo>
                      <a:pt x="725508" y="939799"/>
                    </a:lnTo>
                    <a:lnTo>
                      <a:pt x="729829" y="939799"/>
                    </a:lnTo>
                    <a:lnTo>
                      <a:pt x="722916" y="929639"/>
                    </a:lnTo>
                    <a:close/>
                  </a:path>
                  <a:path w="3439795" h="1447800">
                    <a:moveTo>
                      <a:pt x="723348" y="927099"/>
                    </a:moveTo>
                    <a:lnTo>
                      <a:pt x="722916" y="929639"/>
                    </a:lnTo>
                    <a:lnTo>
                      <a:pt x="729829" y="939799"/>
                    </a:lnTo>
                    <a:lnTo>
                      <a:pt x="731989" y="939799"/>
                    </a:lnTo>
                    <a:lnTo>
                      <a:pt x="731989" y="933449"/>
                    </a:lnTo>
                    <a:lnTo>
                      <a:pt x="723348" y="927099"/>
                    </a:lnTo>
                    <a:close/>
                  </a:path>
                  <a:path w="3439795" h="1447800">
                    <a:moveTo>
                      <a:pt x="731989" y="933449"/>
                    </a:moveTo>
                    <a:lnTo>
                      <a:pt x="731989" y="939799"/>
                    </a:lnTo>
                    <a:lnTo>
                      <a:pt x="734149" y="939799"/>
                    </a:lnTo>
                    <a:lnTo>
                      <a:pt x="734149" y="935037"/>
                    </a:lnTo>
                    <a:lnTo>
                      <a:pt x="731989" y="933449"/>
                    </a:lnTo>
                    <a:close/>
                  </a:path>
                  <a:path w="3439795" h="1447800">
                    <a:moveTo>
                      <a:pt x="734149" y="935037"/>
                    </a:moveTo>
                    <a:lnTo>
                      <a:pt x="734149" y="939799"/>
                    </a:lnTo>
                    <a:lnTo>
                      <a:pt x="740630" y="939799"/>
                    </a:lnTo>
                    <a:lnTo>
                      <a:pt x="734149" y="935037"/>
                    </a:lnTo>
                    <a:close/>
                  </a:path>
                  <a:path w="3439795" h="1447800">
                    <a:moveTo>
                      <a:pt x="742790" y="927099"/>
                    </a:moveTo>
                    <a:lnTo>
                      <a:pt x="734149" y="927099"/>
                    </a:lnTo>
                    <a:lnTo>
                      <a:pt x="734149" y="935037"/>
                    </a:lnTo>
                    <a:lnTo>
                      <a:pt x="740630" y="939799"/>
                    </a:lnTo>
                    <a:lnTo>
                      <a:pt x="742790" y="927099"/>
                    </a:lnTo>
                    <a:close/>
                  </a:path>
                  <a:path w="3439795" h="1447800">
                    <a:moveTo>
                      <a:pt x="753591" y="927099"/>
                    </a:moveTo>
                    <a:lnTo>
                      <a:pt x="747110" y="939799"/>
                    </a:lnTo>
                    <a:lnTo>
                      <a:pt x="755751" y="939799"/>
                    </a:lnTo>
                    <a:lnTo>
                      <a:pt x="753591" y="927099"/>
                    </a:lnTo>
                    <a:close/>
                  </a:path>
                  <a:path w="3439795" h="1447800">
                    <a:moveTo>
                      <a:pt x="762142" y="927099"/>
                    </a:moveTo>
                    <a:lnTo>
                      <a:pt x="753591" y="927099"/>
                    </a:lnTo>
                    <a:lnTo>
                      <a:pt x="755751" y="939799"/>
                    </a:lnTo>
                    <a:lnTo>
                      <a:pt x="763443" y="928375"/>
                    </a:lnTo>
                    <a:lnTo>
                      <a:pt x="762142" y="927099"/>
                    </a:lnTo>
                    <a:close/>
                  </a:path>
                  <a:path w="3439795" h="1447800">
                    <a:moveTo>
                      <a:pt x="771863" y="936624"/>
                    </a:moveTo>
                    <a:lnTo>
                      <a:pt x="772943" y="939799"/>
                    </a:lnTo>
                    <a:lnTo>
                      <a:pt x="775103" y="939799"/>
                    </a:lnTo>
                    <a:lnTo>
                      <a:pt x="771863" y="936624"/>
                    </a:lnTo>
                    <a:close/>
                  </a:path>
                  <a:path w="3439795" h="1447800">
                    <a:moveTo>
                      <a:pt x="490135" y="927099"/>
                    </a:moveTo>
                    <a:lnTo>
                      <a:pt x="483654" y="927099"/>
                    </a:lnTo>
                    <a:lnTo>
                      <a:pt x="486431" y="937985"/>
                    </a:lnTo>
                    <a:lnTo>
                      <a:pt x="490135" y="927099"/>
                    </a:lnTo>
                    <a:close/>
                  </a:path>
                  <a:path w="3439795" h="1447800">
                    <a:moveTo>
                      <a:pt x="768623" y="927099"/>
                    </a:moveTo>
                    <a:lnTo>
                      <a:pt x="766728" y="931593"/>
                    </a:lnTo>
                    <a:lnTo>
                      <a:pt x="771863" y="936624"/>
                    </a:lnTo>
                    <a:lnTo>
                      <a:pt x="768623" y="927099"/>
                    </a:lnTo>
                    <a:close/>
                  </a:path>
                  <a:path w="3439795" h="1447800">
                    <a:moveTo>
                      <a:pt x="734149" y="927099"/>
                    </a:moveTo>
                    <a:lnTo>
                      <a:pt x="731989" y="927099"/>
                    </a:lnTo>
                    <a:lnTo>
                      <a:pt x="731989" y="933449"/>
                    </a:lnTo>
                    <a:lnTo>
                      <a:pt x="734149" y="935037"/>
                    </a:lnTo>
                    <a:lnTo>
                      <a:pt x="734149" y="927099"/>
                    </a:lnTo>
                    <a:close/>
                  </a:path>
                  <a:path w="3439795" h="1447800">
                    <a:moveTo>
                      <a:pt x="731989" y="927099"/>
                    </a:moveTo>
                    <a:lnTo>
                      <a:pt x="723348" y="927099"/>
                    </a:lnTo>
                    <a:lnTo>
                      <a:pt x="731989" y="933449"/>
                    </a:lnTo>
                    <a:lnTo>
                      <a:pt x="731989" y="927099"/>
                    </a:lnTo>
                    <a:close/>
                  </a:path>
                  <a:path w="3439795" h="1447800">
                    <a:moveTo>
                      <a:pt x="768623" y="927099"/>
                    </a:moveTo>
                    <a:lnTo>
                      <a:pt x="764302" y="927099"/>
                    </a:lnTo>
                    <a:lnTo>
                      <a:pt x="763443" y="928375"/>
                    </a:lnTo>
                    <a:lnTo>
                      <a:pt x="766728" y="931593"/>
                    </a:lnTo>
                    <a:lnTo>
                      <a:pt x="768623" y="927099"/>
                    </a:lnTo>
                    <a:close/>
                  </a:path>
                  <a:path w="3439795" h="1447800">
                    <a:moveTo>
                      <a:pt x="721188" y="927099"/>
                    </a:moveTo>
                    <a:lnTo>
                      <a:pt x="722628" y="931333"/>
                    </a:lnTo>
                    <a:lnTo>
                      <a:pt x="722916" y="929639"/>
                    </a:lnTo>
                    <a:lnTo>
                      <a:pt x="721188" y="927099"/>
                    </a:lnTo>
                    <a:close/>
                  </a:path>
                  <a:path w="3439795" h="1447800">
                    <a:moveTo>
                      <a:pt x="723348" y="927099"/>
                    </a:moveTo>
                    <a:lnTo>
                      <a:pt x="721188" y="927099"/>
                    </a:lnTo>
                    <a:lnTo>
                      <a:pt x="722916" y="929639"/>
                    </a:lnTo>
                    <a:lnTo>
                      <a:pt x="723348" y="927099"/>
                    </a:lnTo>
                    <a:close/>
                  </a:path>
                  <a:path w="3439795" h="1447800">
                    <a:moveTo>
                      <a:pt x="770783" y="914399"/>
                    </a:moveTo>
                    <a:lnTo>
                      <a:pt x="762142" y="927099"/>
                    </a:lnTo>
                    <a:lnTo>
                      <a:pt x="763443" y="928375"/>
                    </a:lnTo>
                    <a:lnTo>
                      <a:pt x="764302" y="927099"/>
                    </a:lnTo>
                    <a:lnTo>
                      <a:pt x="781584" y="927099"/>
                    </a:lnTo>
                    <a:lnTo>
                      <a:pt x="770783" y="914399"/>
                    </a:lnTo>
                    <a:close/>
                  </a:path>
                  <a:path w="3439795" h="1447800">
                    <a:moveTo>
                      <a:pt x="503096" y="914399"/>
                    </a:moveTo>
                    <a:lnTo>
                      <a:pt x="509577" y="927099"/>
                    </a:lnTo>
                    <a:lnTo>
                      <a:pt x="513897" y="927099"/>
                    </a:lnTo>
                    <a:lnTo>
                      <a:pt x="503096" y="914399"/>
                    </a:lnTo>
                    <a:close/>
                  </a:path>
                  <a:path w="3439795" h="1447800">
                    <a:moveTo>
                      <a:pt x="511737" y="914399"/>
                    </a:moveTo>
                    <a:lnTo>
                      <a:pt x="503096" y="914399"/>
                    </a:lnTo>
                    <a:lnTo>
                      <a:pt x="513897" y="927099"/>
                    </a:lnTo>
                    <a:lnTo>
                      <a:pt x="520378" y="927099"/>
                    </a:lnTo>
                    <a:lnTo>
                      <a:pt x="511737" y="914399"/>
                    </a:lnTo>
                    <a:close/>
                  </a:path>
                  <a:path w="3439795" h="1447800">
                    <a:moveTo>
                      <a:pt x="518217" y="914399"/>
                    </a:moveTo>
                    <a:lnTo>
                      <a:pt x="511737" y="914399"/>
                    </a:lnTo>
                    <a:lnTo>
                      <a:pt x="520378" y="927099"/>
                    </a:lnTo>
                    <a:lnTo>
                      <a:pt x="526858" y="927099"/>
                    </a:lnTo>
                    <a:lnTo>
                      <a:pt x="518217" y="914399"/>
                    </a:lnTo>
                    <a:close/>
                  </a:path>
                  <a:path w="3439795" h="1447800">
                    <a:moveTo>
                      <a:pt x="518217" y="914399"/>
                    </a:moveTo>
                    <a:lnTo>
                      <a:pt x="526858" y="927099"/>
                    </a:lnTo>
                    <a:lnTo>
                      <a:pt x="529019" y="927099"/>
                    </a:lnTo>
                    <a:lnTo>
                      <a:pt x="518217" y="914399"/>
                    </a:lnTo>
                    <a:close/>
                  </a:path>
                  <a:path w="3439795" h="1447800">
                    <a:moveTo>
                      <a:pt x="524698" y="901699"/>
                    </a:moveTo>
                    <a:lnTo>
                      <a:pt x="522538" y="901699"/>
                    </a:lnTo>
                    <a:lnTo>
                      <a:pt x="518217" y="914399"/>
                    </a:lnTo>
                    <a:lnTo>
                      <a:pt x="529019" y="927099"/>
                    </a:lnTo>
                    <a:lnTo>
                      <a:pt x="524698" y="901699"/>
                    </a:lnTo>
                    <a:close/>
                  </a:path>
                  <a:path w="3439795" h="1447800">
                    <a:moveTo>
                      <a:pt x="524698" y="901699"/>
                    </a:moveTo>
                    <a:lnTo>
                      <a:pt x="529019" y="927099"/>
                    </a:lnTo>
                    <a:lnTo>
                      <a:pt x="531179" y="927099"/>
                    </a:lnTo>
                    <a:lnTo>
                      <a:pt x="524698" y="901699"/>
                    </a:lnTo>
                    <a:close/>
                  </a:path>
                  <a:path w="3439795" h="1447800">
                    <a:moveTo>
                      <a:pt x="533339" y="901699"/>
                    </a:moveTo>
                    <a:lnTo>
                      <a:pt x="524698" y="901699"/>
                    </a:lnTo>
                    <a:lnTo>
                      <a:pt x="531179" y="927099"/>
                    </a:lnTo>
                    <a:lnTo>
                      <a:pt x="533339" y="927099"/>
                    </a:lnTo>
                    <a:lnTo>
                      <a:pt x="533339" y="901699"/>
                    </a:lnTo>
                    <a:close/>
                  </a:path>
                  <a:path w="3439795" h="1447800">
                    <a:moveTo>
                      <a:pt x="533339" y="901699"/>
                    </a:moveTo>
                    <a:lnTo>
                      <a:pt x="533339" y="927099"/>
                    </a:lnTo>
                    <a:lnTo>
                      <a:pt x="535499" y="927099"/>
                    </a:lnTo>
                    <a:lnTo>
                      <a:pt x="533339" y="901699"/>
                    </a:lnTo>
                    <a:close/>
                  </a:path>
                  <a:path w="3439795" h="1447800">
                    <a:moveTo>
                      <a:pt x="544140" y="901699"/>
                    </a:moveTo>
                    <a:lnTo>
                      <a:pt x="533339" y="901699"/>
                    </a:lnTo>
                    <a:lnTo>
                      <a:pt x="535499" y="927099"/>
                    </a:lnTo>
                    <a:lnTo>
                      <a:pt x="544140" y="927099"/>
                    </a:lnTo>
                    <a:lnTo>
                      <a:pt x="544140" y="901699"/>
                    </a:lnTo>
                    <a:close/>
                  </a:path>
                  <a:path w="3439795" h="1447800">
                    <a:moveTo>
                      <a:pt x="557101" y="901699"/>
                    </a:moveTo>
                    <a:lnTo>
                      <a:pt x="544140" y="901699"/>
                    </a:lnTo>
                    <a:lnTo>
                      <a:pt x="544140" y="927099"/>
                    </a:lnTo>
                    <a:lnTo>
                      <a:pt x="548460" y="927099"/>
                    </a:lnTo>
                    <a:lnTo>
                      <a:pt x="548460" y="914399"/>
                    </a:lnTo>
                    <a:lnTo>
                      <a:pt x="546300" y="914399"/>
                    </a:lnTo>
                    <a:lnTo>
                      <a:pt x="557101" y="903816"/>
                    </a:lnTo>
                    <a:lnTo>
                      <a:pt x="557101" y="901699"/>
                    </a:lnTo>
                    <a:close/>
                  </a:path>
                  <a:path w="3439795" h="1447800">
                    <a:moveTo>
                      <a:pt x="557101" y="903816"/>
                    </a:moveTo>
                    <a:lnTo>
                      <a:pt x="546300" y="914399"/>
                    </a:lnTo>
                    <a:lnTo>
                      <a:pt x="548460" y="914399"/>
                    </a:lnTo>
                    <a:lnTo>
                      <a:pt x="548460" y="927099"/>
                    </a:lnTo>
                    <a:lnTo>
                      <a:pt x="557101" y="906779"/>
                    </a:lnTo>
                    <a:lnTo>
                      <a:pt x="557101" y="903816"/>
                    </a:lnTo>
                    <a:close/>
                  </a:path>
                  <a:path w="3439795" h="1447800">
                    <a:moveTo>
                      <a:pt x="557101" y="906779"/>
                    </a:moveTo>
                    <a:lnTo>
                      <a:pt x="548460" y="927099"/>
                    </a:lnTo>
                    <a:lnTo>
                      <a:pt x="552781" y="927099"/>
                    </a:lnTo>
                    <a:lnTo>
                      <a:pt x="556993" y="910589"/>
                    </a:lnTo>
                    <a:lnTo>
                      <a:pt x="557101" y="906779"/>
                    </a:lnTo>
                    <a:close/>
                  </a:path>
                  <a:path w="3439795" h="1447800">
                    <a:moveTo>
                      <a:pt x="557101" y="910166"/>
                    </a:moveTo>
                    <a:lnTo>
                      <a:pt x="552781" y="927099"/>
                    </a:lnTo>
                    <a:lnTo>
                      <a:pt x="557101" y="927099"/>
                    </a:lnTo>
                    <a:lnTo>
                      <a:pt x="557101" y="910166"/>
                    </a:lnTo>
                    <a:close/>
                  </a:path>
                  <a:path w="3439795" h="1447800">
                    <a:moveTo>
                      <a:pt x="559262" y="901699"/>
                    </a:moveTo>
                    <a:lnTo>
                      <a:pt x="557101" y="910166"/>
                    </a:lnTo>
                    <a:lnTo>
                      <a:pt x="557101" y="927099"/>
                    </a:lnTo>
                    <a:lnTo>
                      <a:pt x="560882" y="915987"/>
                    </a:lnTo>
                    <a:lnTo>
                      <a:pt x="559262" y="914399"/>
                    </a:lnTo>
                    <a:lnTo>
                      <a:pt x="560882" y="911224"/>
                    </a:lnTo>
                    <a:lnTo>
                      <a:pt x="559262" y="901699"/>
                    </a:lnTo>
                    <a:close/>
                  </a:path>
                  <a:path w="3439795" h="1447800">
                    <a:moveTo>
                      <a:pt x="560882" y="915987"/>
                    </a:moveTo>
                    <a:lnTo>
                      <a:pt x="557101" y="927099"/>
                    </a:lnTo>
                    <a:lnTo>
                      <a:pt x="561422" y="927099"/>
                    </a:lnTo>
                    <a:lnTo>
                      <a:pt x="561422" y="916516"/>
                    </a:lnTo>
                    <a:lnTo>
                      <a:pt x="560882" y="915987"/>
                    </a:lnTo>
                    <a:close/>
                  </a:path>
                  <a:path w="3439795" h="1447800">
                    <a:moveTo>
                      <a:pt x="561422" y="916516"/>
                    </a:moveTo>
                    <a:lnTo>
                      <a:pt x="561422" y="927099"/>
                    </a:lnTo>
                    <a:lnTo>
                      <a:pt x="572223" y="927099"/>
                    </a:lnTo>
                    <a:lnTo>
                      <a:pt x="561422" y="916516"/>
                    </a:lnTo>
                    <a:close/>
                  </a:path>
                  <a:path w="3439795" h="1447800">
                    <a:moveTo>
                      <a:pt x="565742" y="901699"/>
                    </a:moveTo>
                    <a:lnTo>
                      <a:pt x="561422" y="910166"/>
                    </a:lnTo>
                    <a:lnTo>
                      <a:pt x="561422" y="916516"/>
                    </a:lnTo>
                    <a:lnTo>
                      <a:pt x="572223" y="927099"/>
                    </a:lnTo>
                    <a:lnTo>
                      <a:pt x="565742" y="901699"/>
                    </a:lnTo>
                    <a:close/>
                  </a:path>
                  <a:path w="3439795" h="1447800">
                    <a:moveTo>
                      <a:pt x="565742" y="901699"/>
                    </a:moveTo>
                    <a:lnTo>
                      <a:pt x="572223" y="927099"/>
                    </a:lnTo>
                    <a:lnTo>
                      <a:pt x="578613" y="914399"/>
                    </a:lnTo>
                    <a:lnTo>
                      <a:pt x="565742" y="901699"/>
                    </a:lnTo>
                    <a:close/>
                  </a:path>
                  <a:path w="3439795" h="1447800">
                    <a:moveTo>
                      <a:pt x="788064" y="901699"/>
                    </a:moveTo>
                    <a:lnTo>
                      <a:pt x="770783" y="914399"/>
                    </a:lnTo>
                    <a:lnTo>
                      <a:pt x="785904" y="927099"/>
                    </a:lnTo>
                    <a:lnTo>
                      <a:pt x="796705" y="927099"/>
                    </a:lnTo>
                    <a:lnTo>
                      <a:pt x="788064" y="901699"/>
                    </a:lnTo>
                    <a:close/>
                  </a:path>
                  <a:path w="3439795" h="1447800">
                    <a:moveTo>
                      <a:pt x="798866" y="901699"/>
                    </a:moveTo>
                    <a:lnTo>
                      <a:pt x="788064" y="901699"/>
                    </a:lnTo>
                    <a:lnTo>
                      <a:pt x="796705" y="927099"/>
                    </a:lnTo>
                    <a:lnTo>
                      <a:pt x="807506" y="914399"/>
                    </a:lnTo>
                    <a:lnTo>
                      <a:pt x="798866" y="914399"/>
                    </a:lnTo>
                    <a:lnTo>
                      <a:pt x="798866" y="901699"/>
                    </a:lnTo>
                    <a:close/>
                  </a:path>
                  <a:path w="3439795" h="1447800">
                    <a:moveTo>
                      <a:pt x="561422" y="914399"/>
                    </a:moveTo>
                    <a:lnTo>
                      <a:pt x="560882" y="915987"/>
                    </a:lnTo>
                    <a:lnTo>
                      <a:pt x="561422" y="916516"/>
                    </a:lnTo>
                    <a:lnTo>
                      <a:pt x="561422" y="914399"/>
                    </a:lnTo>
                    <a:close/>
                  </a:path>
                  <a:path w="3439795" h="1447800">
                    <a:moveTo>
                      <a:pt x="560882" y="911224"/>
                    </a:moveTo>
                    <a:lnTo>
                      <a:pt x="559262" y="914399"/>
                    </a:lnTo>
                    <a:lnTo>
                      <a:pt x="560882" y="915987"/>
                    </a:lnTo>
                    <a:lnTo>
                      <a:pt x="561422" y="914399"/>
                    </a:lnTo>
                    <a:lnTo>
                      <a:pt x="560882" y="911224"/>
                    </a:lnTo>
                    <a:close/>
                  </a:path>
                  <a:path w="3439795" h="1447800">
                    <a:moveTo>
                      <a:pt x="561422" y="910166"/>
                    </a:moveTo>
                    <a:lnTo>
                      <a:pt x="560882" y="911224"/>
                    </a:lnTo>
                    <a:lnTo>
                      <a:pt x="561422" y="914399"/>
                    </a:lnTo>
                    <a:lnTo>
                      <a:pt x="561422" y="910166"/>
                    </a:lnTo>
                    <a:close/>
                  </a:path>
                  <a:path w="3439795" h="1447800">
                    <a:moveTo>
                      <a:pt x="580774" y="863599"/>
                    </a:moveTo>
                    <a:lnTo>
                      <a:pt x="565742" y="876299"/>
                    </a:lnTo>
                    <a:lnTo>
                      <a:pt x="565742" y="888999"/>
                    </a:lnTo>
                    <a:lnTo>
                      <a:pt x="567902" y="901699"/>
                    </a:lnTo>
                    <a:lnTo>
                      <a:pt x="565742" y="901699"/>
                    </a:lnTo>
                    <a:lnTo>
                      <a:pt x="578613" y="914399"/>
                    </a:lnTo>
                    <a:lnTo>
                      <a:pt x="585094" y="914399"/>
                    </a:lnTo>
                    <a:lnTo>
                      <a:pt x="587254" y="901699"/>
                    </a:lnTo>
                    <a:lnTo>
                      <a:pt x="585094" y="888999"/>
                    </a:lnTo>
                    <a:lnTo>
                      <a:pt x="585094" y="876299"/>
                    </a:lnTo>
                    <a:lnTo>
                      <a:pt x="570063" y="876299"/>
                    </a:lnTo>
                    <a:lnTo>
                      <a:pt x="580774" y="863599"/>
                    </a:lnTo>
                    <a:close/>
                  </a:path>
                  <a:path w="3439795" h="1447800">
                    <a:moveTo>
                      <a:pt x="798866" y="901699"/>
                    </a:moveTo>
                    <a:lnTo>
                      <a:pt x="798866" y="914399"/>
                    </a:lnTo>
                    <a:lnTo>
                      <a:pt x="801026" y="914399"/>
                    </a:lnTo>
                    <a:lnTo>
                      <a:pt x="798866" y="901699"/>
                    </a:lnTo>
                    <a:close/>
                  </a:path>
                  <a:path w="3439795" h="1447800">
                    <a:moveTo>
                      <a:pt x="807506" y="888999"/>
                    </a:moveTo>
                    <a:lnTo>
                      <a:pt x="803186" y="888999"/>
                    </a:lnTo>
                    <a:lnTo>
                      <a:pt x="798866" y="901699"/>
                    </a:lnTo>
                    <a:lnTo>
                      <a:pt x="801026" y="914399"/>
                    </a:lnTo>
                    <a:lnTo>
                      <a:pt x="805076" y="909637"/>
                    </a:lnTo>
                    <a:lnTo>
                      <a:pt x="801026" y="901699"/>
                    </a:lnTo>
                    <a:lnTo>
                      <a:pt x="811827" y="901699"/>
                    </a:lnTo>
                    <a:lnTo>
                      <a:pt x="807506" y="888999"/>
                    </a:lnTo>
                    <a:close/>
                  </a:path>
                  <a:path w="3439795" h="1447800">
                    <a:moveTo>
                      <a:pt x="805076" y="909637"/>
                    </a:moveTo>
                    <a:lnTo>
                      <a:pt x="801026" y="914399"/>
                    </a:lnTo>
                    <a:lnTo>
                      <a:pt x="805562" y="910589"/>
                    </a:lnTo>
                    <a:lnTo>
                      <a:pt x="805076" y="909637"/>
                    </a:lnTo>
                    <a:close/>
                  </a:path>
                  <a:path w="3439795" h="1447800">
                    <a:moveTo>
                      <a:pt x="805562" y="910589"/>
                    </a:moveTo>
                    <a:lnTo>
                      <a:pt x="801026" y="914399"/>
                    </a:lnTo>
                    <a:lnTo>
                      <a:pt x="807506" y="914399"/>
                    </a:lnTo>
                    <a:lnTo>
                      <a:pt x="805562" y="910589"/>
                    </a:lnTo>
                    <a:close/>
                  </a:path>
                  <a:path w="3439795" h="1447800">
                    <a:moveTo>
                      <a:pt x="807326" y="909108"/>
                    </a:moveTo>
                    <a:lnTo>
                      <a:pt x="805562" y="910589"/>
                    </a:lnTo>
                    <a:lnTo>
                      <a:pt x="807506" y="914399"/>
                    </a:lnTo>
                    <a:lnTo>
                      <a:pt x="811827" y="914399"/>
                    </a:lnTo>
                    <a:lnTo>
                      <a:pt x="807326" y="909108"/>
                    </a:lnTo>
                    <a:close/>
                  </a:path>
                  <a:path w="3439795" h="1447800">
                    <a:moveTo>
                      <a:pt x="809168" y="907561"/>
                    </a:moveTo>
                    <a:lnTo>
                      <a:pt x="807326" y="909108"/>
                    </a:lnTo>
                    <a:lnTo>
                      <a:pt x="811827" y="914399"/>
                    </a:lnTo>
                    <a:lnTo>
                      <a:pt x="816147" y="914399"/>
                    </a:lnTo>
                    <a:lnTo>
                      <a:pt x="809168" y="907561"/>
                    </a:lnTo>
                    <a:close/>
                  </a:path>
                  <a:path w="3439795" h="1447800">
                    <a:moveTo>
                      <a:pt x="814257" y="903287"/>
                    </a:moveTo>
                    <a:lnTo>
                      <a:pt x="809168" y="907561"/>
                    </a:lnTo>
                    <a:lnTo>
                      <a:pt x="816147" y="914399"/>
                    </a:lnTo>
                    <a:lnTo>
                      <a:pt x="814257" y="903287"/>
                    </a:lnTo>
                    <a:close/>
                  </a:path>
                  <a:path w="3439795" h="1447800">
                    <a:moveTo>
                      <a:pt x="813987" y="893233"/>
                    </a:moveTo>
                    <a:lnTo>
                      <a:pt x="813987" y="898524"/>
                    </a:lnTo>
                    <a:lnTo>
                      <a:pt x="816147" y="901699"/>
                    </a:lnTo>
                    <a:lnTo>
                      <a:pt x="814257" y="903287"/>
                    </a:lnTo>
                    <a:lnTo>
                      <a:pt x="816147" y="914399"/>
                    </a:lnTo>
                    <a:lnTo>
                      <a:pt x="822628" y="901699"/>
                    </a:lnTo>
                    <a:lnTo>
                      <a:pt x="820468" y="901699"/>
                    </a:lnTo>
                    <a:lnTo>
                      <a:pt x="818307" y="897466"/>
                    </a:lnTo>
                    <a:lnTo>
                      <a:pt x="813987" y="893233"/>
                    </a:lnTo>
                    <a:close/>
                  </a:path>
                  <a:path w="3439795" h="1447800">
                    <a:moveTo>
                      <a:pt x="561422" y="901699"/>
                    </a:moveTo>
                    <a:lnTo>
                      <a:pt x="559262" y="901699"/>
                    </a:lnTo>
                    <a:lnTo>
                      <a:pt x="560882" y="911224"/>
                    </a:lnTo>
                    <a:lnTo>
                      <a:pt x="561422" y="910166"/>
                    </a:lnTo>
                    <a:lnTo>
                      <a:pt x="561422" y="901699"/>
                    </a:lnTo>
                    <a:close/>
                  </a:path>
                  <a:path w="3439795" h="1447800">
                    <a:moveTo>
                      <a:pt x="806426" y="908049"/>
                    </a:moveTo>
                    <a:lnTo>
                      <a:pt x="805076" y="909637"/>
                    </a:lnTo>
                    <a:lnTo>
                      <a:pt x="805562" y="910589"/>
                    </a:lnTo>
                    <a:lnTo>
                      <a:pt x="807326" y="909108"/>
                    </a:lnTo>
                    <a:lnTo>
                      <a:pt x="806426" y="908049"/>
                    </a:lnTo>
                    <a:close/>
                  </a:path>
                  <a:path w="3439795" h="1447800">
                    <a:moveTo>
                      <a:pt x="559262" y="901699"/>
                    </a:moveTo>
                    <a:lnTo>
                      <a:pt x="557101" y="906779"/>
                    </a:lnTo>
                    <a:lnTo>
                      <a:pt x="557101" y="910166"/>
                    </a:lnTo>
                    <a:lnTo>
                      <a:pt x="559262" y="901699"/>
                    </a:lnTo>
                    <a:close/>
                  </a:path>
                  <a:path w="3439795" h="1447800">
                    <a:moveTo>
                      <a:pt x="565742" y="901699"/>
                    </a:moveTo>
                    <a:lnTo>
                      <a:pt x="561422" y="901699"/>
                    </a:lnTo>
                    <a:lnTo>
                      <a:pt x="561422" y="910166"/>
                    </a:lnTo>
                    <a:lnTo>
                      <a:pt x="565742" y="901699"/>
                    </a:lnTo>
                    <a:close/>
                  </a:path>
                  <a:path w="3439795" h="1447800">
                    <a:moveTo>
                      <a:pt x="801026" y="901699"/>
                    </a:moveTo>
                    <a:lnTo>
                      <a:pt x="805076" y="909637"/>
                    </a:lnTo>
                    <a:lnTo>
                      <a:pt x="806426" y="908049"/>
                    </a:lnTo>
                    <a:lnTo>
                      <a:pt x="801026" y="901699"/>
                    </a:lnTo>
                    <a:close/>
                  </a:path>
                  <a:path w="3439795" h="1447800">
                    <a:moveTo>
                      <a:pt x="807899" y="906318"/>
                    </a:moveTo>
                    <a:lnTo>
                      <a:pt x="806426" y="908049"/>
                    </a:lnTo>
                    <a:lnTo>
                      <a:pt x="807326" y="909108"/>
                    </a:lnTo>
                    <a:lnTo>
                      <a:pt x="809168" y="907561"/>
                    </a:lnTo>
                    <a:lnTo>
                      <a:pt x="807899" y="906318"/>
                    </a:lnTo>
                    <a:close/>
                  </a:path>
                  <a:path w="3439795" h="1447800">
                    <a:moveTo>
                      <a:pt x="803186" y="901699"/>
                    </a:moveTo>
                    <a:lnTo>
                      <a:pt x="801026" y="901699"/>
                    </a:lnTo>
                    <a:lnTo>
                      <a:pt x="806426" y="908049"/>
                    </a:lnTo>
                    <a:lnTo>
                      <a:pt x="807899" y="906318"/>
                    </a:lnTo>
                    <a:lnTo>
                      <a:pt x="803186" y="901699"/>
                    </a:lnTo>
                    <a:close/>
                  </a:path>
                  <a:path w="3439795" h="1447800">
                    <a:moveTo>
                      <a:pt x="807506" y="888999"/>
                    </a:moveTo>
                    <a:lnTo>
                      <a:pt x="811827" y="901699"/>
                    </a:lnTo>
                    <a:lnTo>
                      <a:pt x="807899" y="906318"/>
                    </a:lnTo>
                    <a:lnTo>
                      <a:pt x="809168" y="907561"/>
                    </a:lnTo>
                    <a:lnTo>
                      <a:pt x="814257" y="903287"/>
                    </a:lnTo>
                    <a:lnTo>
                      <a:pt x="813987" y="901699"/>
                    </a:lnTo>
                    <a:lnTo>
                      <a:pt x="811827" y="895349"/>
                    </a:lnTo>
                    <a:lnTo>
                      <a:pt x="807506" y="888999"/>
                    </a:lnTo>
                    <a:close/>
                  </a:path>
                  <a:path w="3439795" h="1447800">
                    <a:moveTo>
                      <a:pt x="559262" y="901699"/>
                    </a:moveTo>
                    <a:lnTo>
                      <a:pt x="557101" y="903816"/>
                    </a:lnTo>
                    <a:lnTo>
                      <a:pt x="557101" y="906779"/>
                    </a:lnTo>
                    <a:lnTo>
                      <a:pt x="559262" y="901699"/>
                    </a:lnTo>
                    <a:close/>
                  </a:path>
                  <a:path w="3439795" h="1447800">
                    <a:moveTo>
                      <a:pt x="811827" y="901699"/>
                    </a:moveTo>
                    <a:lnTo>
                      <a:pt x="803186" y="901699"/>
                    </a:lnTo>
                    <a:lnTo>
                      <a:pt x="807899" y="906318"/>
                    </a:lnTo>
                    <a:lnTo>
                      <a:pt x="811827" y="901699"/>
                    </a:lnTo>
                    <a:close/>
                  </a:path>
                  <a:path w="3439795" h="1447800">
                    <a:moveTo>
                      <a:pt x="559262" y="901699"/>
                    </a:moveTo>
                    <a:lnTo>
                      <a:pt x="557101" y="901699"/>
                    </a:lnTo>
                    <a:lnTo>
                      <a:pt x="557101" y="903816"/>
                    </a:lnTo>
                    <a:lnTo>
                      <a:pt x="559262" y="901699"/>
                    </a:lnTo>
                    <a:close/>
                  </a:path>
                  <a:path w="3439795" h="1447800">
                    <a:moveTo>
                      <a:pt x="813987" y="898524"/>
                    </a:moveTo>
                    <a:lnTo>
                      <a:pt x="813987" y="901699"/>
                    </a:lnTo>
                    <a:lnTo>
                      <a:pt x="814257" y="903287"/>
                    </a:lnTo>
                    <a:lnTo>
                      <a:pt x="816147" y="901699"/>
                    </a:lnTo>
                    <a:lnTo>
                      <a:pt x="813987" y="898524"/>
                    </a:lnTo>
                    <a:close/>
                  </a:path>
                  <a:path w="3439795" h="1447800">
                    <a:moveTo>
                      <a:pt x="803186" y="888999"/>
                    </a:moveTo>
                    <a:lnTo>
                      <a:pt x="798866" y="888999"/>
                    </a:lnTo>
                    <a:lnTo>
                      <a:pt x="798866" y="901699"/>
                    </a:lnTo>
                    <a:lnTo>
                      <a:pt x="803186" y="888999"/>
                    </a:lnTo>
                    <a:close/>
                  </a:path>
                  <a:path w="3439795" h="1447800">
                    <a:moveTo>
                      <a:pt x="811827" y="895349"/>
                    </a:moveTo>
                    <a:lnTo>
                      <a:pt x="813987" y="901699"/>
                    </a:lnTo>
                    <a:lnTo>
                      <a:pt x="813987" y="898524"/>
                    </a:lnTo>
                    <a:lnTo>
                      <a:pt x="811827" y="895349"/>
                    </a:lnTo>
                    <a:close/>
                  </a:path>
                  <a:path w="3439795" h="1447800">
                    <a:moveTo>
                      <a:pt x="818307" y="897466"/>
                    </a:moveTo>
                    <a:lnTo>
                      <a:pt x="820468" y="901699"/>
                    </a:lnTo>
                    <a:lnTo>
                      <a:pt x="822628" y="901699"/>
                    </a:lnTo>
                    <a:lnTo>
                      <a:pt x="818307" y="897466"/>
                    </a:lnTo>
                    <a:close/>
                  </a:path>
                  <a:path w="3439795" h="1447800">
                    <a:moveTo>
                      <a:pt x="817227" y="895349"/>
                    </a:moveTo>
                    <a:lnTo>
                      <a:pt x="818307" y="897466"/>
                    </a:lnTo>
                    <a:lnTo>
                      <a:pt x="822628" y="901699"/>
                    </a:lnTo>
                    <a:lnTo>
                      <a:pt x="817227" y="895349"/>
                    </a:lnTo>
                    <a:close/>
                  </a:path>
                  <a:path w="3439795" h="1447800">
                    <a:moveTo>
                      <a:pt x="813987" y="888999"/>
                    </a:moveTo>
                    <a:lnTo>
                      <a:pt x="817227" y="895349"/>
                    </a:lnTo>
                    <a:lnTo>
                      <a:pt x="822628" y="901699"/>
                    </a:lnTo>
                    <a:lnTo>
                      <a:pt x="821764" y="896619"/>
                    </a:lnTo>
                    <a:lnTo>
                      <a:pt x="813987" y="888999"/>
                    </a:lnTo>
                    <a:close/>
                  </a:path>
                  <a:path w="3439795" h="1447800">
                    <a:moveTo>
                      <a:pt x="821764" y="896619"/>
                    </a:moveTo>
                    <a:lnTo>
                      <a:pt x="822628" y="901699"/>
                    </a:lnTo>
                    <a:lnTo>
                      <a:pt x="824788" y="901699"/>
                    </a:lnTo>
                    <a:lnTo>
                      <a:pt x="822628" y="897466"/>
                    </a:lnTo>
                    <a:lnTo>
                      <a:pt x="821764" y="896619"/>
                    </a:lnTo>
                    <a:close/>
                  </a:path>
                  <a:path w="3439795" h="1447800">
                    <a:moveTo>
                      <a:pt x="822628" y="897466"/>
                    </a:moveTo>
                    <a:lnTo>
                      <a:pt x="824788" y="901699"/>
                    </a:lnTo>
                    <a:lnTo>
                      <a:pt x="824788" y="899583"/>
                    </a:lnTo>
                    <a:lnTo>
                      <a:pt x="822628" y="897466"/>
                    </a:lnTo>
                    <a:close/>
                  </a:path>
                  <a:path w="3439795" h="1447800">
                    <a:moveTo>
                      <a:pt x="824788" y="899583"/>
                    </a:moveTo>
                    <a:lnTo>
                      <a:pt x="824788" y="901699"/>
                    </a:lnTo>
                    <a:lnTo>
                      <a:pt x="826948" y="901699"/>
                    </a:lnTo>
                    <a:lnTo>
                      <a:pt x="824788" y="899583"/>
                    </a:lnTo>
                    <a:close/>
                  </a:path>
                  <a:path w="3439795" h="1447800">
                    <a:moveTo>
                      <a:pt x="824788" y="895349"/>
                    </a:moveTo>
                    <a:lnTo>
                      <a:pt x="824788" y="899583"/>
                    </a:lnTo>
                    <a:lnTo>
                      <a:pt x="826948" y="901699"/>
                    </a:lnTo>
                    <a:lnTo>
                      <a:pt x="824788" y="895349"/>
                    </a:lnTo>
                    <a:close/>
                  </a:path>
                  <a:path w="3439795" h="1447800">
                    <a:moveTo>
                      <a:pt x="824788" y="893233"/>
                    </a:moveTo>
                    <a:lnTo>
                      <a:pt x="824788" y="895349"/>
                    </a:lnTo>
                    <a:lnTo>
                      <a:pt x="826948" y="901699"/>
                    </a:lnTo>
                    <a:lnTo>
                      <a:pt x="829109" y="898524"/>
                    </a:lnTo>
                    <a:lnTo>
                      <a:pt x="826948" y="895349"/>
                    </a:lnTo>
                    <a:lnTo>
                      <a:pt x="824788" y="893233"/>
                    </a:lnTo>
                    <a:close/>
                  </a:path>
                  <a:path w="3439795" h="1447800">
                    <a:moveTo>
                      <a:pt x="829109" y="898524"/>
                    </a:moveTo>
                    <a:lnTo>
                      <a:pt x="826948" y="901699"/>
                    </a:lnTo>
                    <a:lnTo>
                      <a:pt x="829541" y="899159"/>
                    </a:lnTo>
                    <a:lnTo>
                      <a:pt x="829109" y="898524"/>
                    </a:lnTo>
                    <a:close/>
                  </a:path>
                  <a:path w="3439795" h="1447800">
                    <a:moveTo>
                      <a:pt x="829541" y="899159"/>
                    </a:moveTo>
                    <a:lnTo>
                      <a:pt x="826948" y="901699"/>
                    </a:lnTo>
                    <a:lnTo>
                      <a:pt x="831269" y="901699"/>
                    </a:lnTo>
                    <a:lnTo>
                      <a:pt x="829541" y="899159"/>
                    </a:lnTo>
                    <a:close/>
                  </a:path>
                  <a:path w="3439795" h="1447800">
                    <a:moveTo>
                      <a:pt x="830189" y="898524"/>
                    </a:moveTo>
                    <a:lnTo>
                      <a:pt x="829541" y="899159"/>
                    </a:lnTo>
                    <a:lnTo>
                      <a:pt x="831269" y="901699"/>
                    </a:lnTo>
                    <a:lnTo>
                      <a:pt x="833429" y="901699"/>
                    </a:lnTo>
                    <a:lnTo>
                      <a:pt x="830189" y="898524"/>
                    </a:lnTo>
                    <a:close/>
                  </a:path>
                  <a:path w="3439795" h="1447800">
                    <a:moveTo>
                      <a:pt x="830837" y="897889"/>
                    </a:moveTo>
                    <a:lnTo>
                      <a:pt x="830189" y="898524"/>
                    </a:lnTo>
                    <a:lnTo>
                      <a:pt x="833429" y="901699"/>
                    </a:lnTo>
                    <a:lnTo>
                      <a:pt x="830837" y="897889"/>
                    </a:lnTo>
                    <a:close/>
                  </a:path>
                  <a:path w="3439795" h="1447800">
                    <a:moveTo>
                      <a:pt x="833429" y="895349"/>
                    </a:moveTo>
                    <a:lnTo>
                      <a:pt x="830837" y="897889"/>
                    </a:lnTo>
                    <a:lnTo>
                      <a:pt x="833429" y="901699"/>
                    </a:lnTo>
                    <a:lnTo>
                      <a:pt x="833429" y="895349"/>
                    </a:lnTo>
                    <a:close/>
                  </a:path>
                  <a:path w="3439795" h="1447800">
                    <a:moveTo>
                      <a:pt x="839910" y="888999"/>
                    </a:moveTo>
                    <a:lnTo>
                      <a:pt x="833429" y="895349"/>
                    </a:lnTo>
                    <a:lnTo>
                      <a:pt x="833429" y="901699"/>
                    </a:lnTo>
                    <a:lnTo>
                      <a:pt x="839910" y="892174"/>
                    </a:lnTo>
                    <a:lnTo>
                      <a:pt x="839910" y="888999"/>
                    </a:lnTo>
                    <a:close/>
                  </a:path>
                  <a:path w="3439795" h="1447800">
                    <a:moveTo>
                      <a:pt x="839910" y="892174"/>
                    </a:moveTo>
                    <a:lnTo>
                      <a:pt x="833429" y="901699"/>
                    </a:lnTo>
                    <a:lnTo>
                      <a:pt x="839910" y="901699"/>
                    </a:lnTo>
                    <a:lnTo>
                      <a:pt x="839910" y="892174"/>
                    </a:lnTo>
                    <a:close/>
                  </a:path>
                  <a:path w="3439795" h="1447800">
                    <a:moveTo>
                      <a:pt x="842070" y="888999"/>
                    </a:moveTo>
                    <a:lnTo>
                      <a:pt x="839910" y="892174"/>
                    </a:lnTo>
                    <a:lnTo>
                      <a:pt x="839910" y="901699"/>
                    </a:lnTo>
                    <a:lnTo>
                      <a:pt x="842070" y="888999"/>
                    </a:lnTo>
                    <a:close/>
                  </a:path>
                  <a:path w="3439795" h="1447800">
                    <a:moveTo>
                      <a:pt x="820468" y="888999"/>
                    </a:moveTo>
                    <a:lnTo>
                      <a:pt x="821548" y="895349"/>
                    </a:lnTo>
                    <a:lnTo>
                      <a:pt x="822628" y="897466"/>
                    </a:lnTo>
                    <a:lnTo>
                      <a:pt x="824788" y="899583"/>
                    </a:lnTo>
                    <a:lnTo>
                      <a:pt x="824788" y="895349"/>
                    </a:lnTo>
                    <a:lnTo>
                      <a:pt x="823708" y="892174"/>
                    </a:lnTo>
                    <a:lnTo>
                      <a:pt x="820468" y="888999"/>
                    </a:lnTo>
                    <a:close/>
                  </a:path>
                  <a:path w="3439795" h="1447800">
                    <a:moveTo>
                      <a:pt x="829541" y="897889"/>
                    </a:moveTo>
                    <a:lnTo>
                      <a:pt x="829109" y="898524"/>
                    </a:lnTo>
                    <a:lnTo>
                      <a:pt x="829541" y="899159"/>
                    </a:lnTo>
                    <a:lnTo>
                      <a:pt x="830189" y="898524"/>
                    </a:lnTo>
                    <a:lnTo>
                      <a:pt x="829541" y="897889"/>
                    </a:lnTo>
                    <a:close/>
                  </a:path>
                  <a:path w="3439795" h="1447800">
                    <a:moveTo>
                      <a:pt x="809667" y="888999"/>
                    </a:moveTo>
                    <a:lnTo>
                      <a:pt x="811827" y="895349"/>
                    </a:lnTo>
                    <a:lnTo>
                      <a:pt x="813987" y="898524"/>
                    </a:lnTo>
                    <a:lnTo>
                      <a:pt x="813987" y="893233"/>
                    </a:lnTo>
                    <a:lnTo>
                      <a:pt x="809667" y="888999"/>
                    </a:lnTo>
                    <a:close/>
                  </a:path>
                  <a:path w="3439795" h="1447800">
                    <a:moveTo>
                      <a:pt x="826948" y="895349"/>
                    </a:moveTo>
                    <a:lnTo>
                      <a:pt x="829109" y="898524"/>
                    </a:lnTo>
                    <a:lnTo>
                      <a:pt x="829541" y="897889"/>
                    </a:lnTo>
                    <a:lnTo>
                      <a:pt x="826948" y="895349"/>
                    </a:lnTo>
                    <a:close/>
                  </a:path>
                  <a:path w="3439795" h="1447800">
                    <a:moveTo>
                      <a:pt x="830189" y="896937"/>
                    </a:moveTo>
                    <a:lnTo>
                      <a:pt x="829541" y="897889"/>
                    </a:lnTo>
                    <a:lnTo>
                      <a:pt x="830189" y="898524"/>
                    </a:lnTo>
                    <a:lnTo>
                      <a:pt x="830837" y="897889"/>
                    </a:lnTo>
                    <a:lnTo>
                      <a:pt x="830189" y="896937"/>
                    </a:lnTo>
                    <a:close/>
                  </a:path>
                  <a:path w="3439795" h="1447800">
                    <a:moveTo>
                      <a:pt x="824788" y="888999"/>
                    </a:moveTo>
                    <a:lnTo>
                      <a:pt x="824788" y="892174"/>
                    </a:lnTo>
                    <a:lnTo>
                      <a:pt x="826948" y="895349"/>
                    </a:lnTo>
                    <a:lnTo>
                      <a:pt x="829541" y="897889"/>
                    </a:lnTo>
                    <a:lnTo>
                      <a:pt x="830189" y="896937"/>
                    </a:lnTo>
                    <a:lnTo>
                      <a:pt x="824788" y="888999"/>
                    </a:lnTo>
                    <a:close/>
                  </a:path>
                  <a:path w="3439795" h="1447800">
                    <a:moveTo>
                      <a:pt x="833429" y="892174"/>
                    </a:moveTo>
                    <a:lnTo>
                      <a:pt x="830189" y="896937"/>
                    </a:lnTo>
                    <a:lnTo>
                      <a:pt x="830837" y="897889"/>
                    </a:lnTo>
                    <a:lnTo>
                      <a:pt x="833429" y="895349"/>
                    </a:lnTo>
                    <a:lnTo>
                      <a:pt x="833429" y="892174"/>
                    </a:lnTo>
                    <a:close/>
                  </a:path>
                  <a:path w="3439795" h="1447800">
                    <a:moveTo>
                      <a:pt x="813987" y="891539"/>
                    </a:moveTo>
                    <a:lnTo>
                      <a:pt x="813987" y="893233"/>
                    </a:lnTo>
                    <a:lnTo>
                      <a:pt x="818307" y="897466"/>
                    </a:lnTo>
                    <a:lnTo>
                      <a:pt x="817227" y="895349"/>
                    </a:lnTo>
                    <a:lnTo>
                      <a:pt x="813987" y="891539"/>
                    </a:lnTo>
                    <a:close/>
                  </a:path>
                  <a:path w="3439795" h="1447800">
                    <a:moveTo>
                      <a:pt x="821548" y="895349"/>
                    </a:moveTo>
                    <a:lnTo>
                      <a:pt x="821764" y="896619"/>
                    </a:lnTo>
                    <a:lnTo>
                      <a:pt x="822628" y="897466"/>
                    </a:lnTo>
                    <a:lnTo>
                      <a:pt x="821548" y="895349"/>
                    </a:lnTo>
                    <a:close/>
                  </a:path>
                  <a:path w="3439795" h="1447800">
                    <a:moveTo>
                      <a:pt x="831269" y="876299"/>
                    </a:moveTo>
                    <a:lnTo>
                      <a:pt x="826948" y="882649"/>
                    </a:lnTo>
                    <a:lnTo>
                      <a:pt x="824788" y="888999"/>
                    </a:lnTo>
                    <a:lnTo>
                      <a:pt x="830189" y="896937"/>
                    </a:lnTo>
                    <a:lnTo>
                      <a:pt x="833429" y="892174"/>
                    </a:lnTo>
                    <a:lnTo>
                      <a:pt x="833429" y="882649"/>
                    </a:lnTo>
                    <a:lnTo>
                      <a:pt x="831269" y="876299"/>
                    </a:lnTo>
                    <a:close/>
                  </a:path>
                  <a:path w="3439795" h="1447800">
                    <a:moveTo>
                      <a:pt x="818307" y="888999"/>
                    </a:moveTo>
                    <a:lnTo>
                      <a:pt x="813987" y="888999"/>
                    </a:lnTo>
                    <a:lnTo>
                      <a:pt x="821764" y="896619"/>
                    </a:lnTo>
                    <a:lnTo>
                      <a:pt x="821548" y="895349"/>
                    </a:lnTo>
                    <a:lnTo>
                      <a:pt x="818307" y="888999"/>
                    </a:lnTo>
                    <a:close/>
                  </a:path>
                  <a:path w="3439795" h="1447800">
                    <a:moveTo>
                      <a:pt x="809667" y="888999"/>
                    </a:moveTo>
                    <a:lnTo>
                      <a:pt x="807506" y="888999"/>
                    </a:lnTo>
                    <a:lnTo>
                      <a:pt x="811827" y="895349"/>
                    </a:lnTo>
                    <a:lnTo>
                      <a:pt x="809667" y="888999"/>
                    </a:lnTo>
                    <a:close/>
                  </a:path>
                  <a:path w="3439795" h="1447800">
                    <a:moveTo>
                      <a:pt x="813987" y="888999"/>
                    </a:moveTo>
                    <a:lnTo>
                      <a:pt x="813987" y="891539"/>
                    </a:lnTo>
                    <a:lnTo>
                      <a:pt x="817227" y="895349"/>
                    </a:lnTo>
                    <a:lnTo>
                      <a:pt x="813987" y="888999"/>
                    </a:lnTo>
                    <a:close/>
                  </a:path>
                  <a:path w="3439795" h="1447800">
                    <a:moveTo>
                      <a:pt x="820468" y="888999"/>
                    </a:moveTo>
                    <a:lnTo>
                      <a:pt x="818307" y="888999"/>
                    </a:lnTo>
                    <a:lnTo>
                      <a:pt x="821548" y="895349"/>
                    </a:lnTo>
                    <a:lnTo>
                      <a:pt x="820468" y="888999"/>
                    </a:lnTo>
                    <a:close/>
                  </a:path>
                  <a:path w="3439795" h="1447800">
                    <a:moveTo>
                      <a:pt x="823708" y="892174"/>
                    </a:moveTo>
                    <a:lnTo>
                      <a:pt x="824788" y="895349"/>
                    </a:lnTo>
                    <a:lnTo>
                      <a:pt x="824788" y="893233"/>
                    </a:lnTo>
                    <a:lnTo>
                      <a:pt x="823708" y="892174"/>
                    </a:lnTo>
                    <a:close/>
                  </a:path>
                  <a:path w="3439795" h="1447800">
                    <a:moveTo>
                      <a:pt x="824788" y="892174"/>
                    </a:moveTo>
                    <a:lnTo>
                      <a:pt x="824788" y="893233"/>
                    </a:lnTo>
                    <a:lnTo>
                      <a:pt x="826948" y="895349"/>
                    </a:lnTo>
                    <a:lnTo>
                      <a:pt x="824788" y="892174"/>
                    </a:lnTo>
                    <a:close/>
                  </a:path>
                  <a:path w="3439795" h="1447800">
                    <a:moveTo>
                      <a:pt x="850711" y="876299"/>
                    </a:moveTo>
                    <a:lnTo>
                      <a:pt x="833429" y="876299"/>
                    </a:lnTo>
                    <a:lnTo>
                      <a:pt x="833429" y="882649"/>
                    </a:lnTo>
                    <a:lnTo>
                      <a:pt x="835589" y="888999"/>
                    </a:lnTo>
                    <a:lnTo>
                      <a:pt x="833429" y="892174"/>
                    </a:lnTo>
                    <a:lnTo>
                      <a:pt x="833429" y="895349"/>
                    </a:lnTo>
                    <a:lnTo>
                      <a:pt x="839910" y="888999"/>
                    </a:lnTo>
                    <a:lnTo>
                      <a:pt x="850711" y="876299"/>
                    </a:lnTo>
                    <a:close/>
                  </a:path>
                  <a:path w="3439795" h="1447800">
                    <a:moveTo>
                      <a:pt x="811827" y="888999"/>
                    </a:moveTo>
                    <a:lnTo>
                      <a:pt x="809667" y="888999"/>
                    </a:lnTo>
                    <a:lnTo>
                      <a:pt x="813987" y="893233"/>
                    </a:lnTo>
                    <a:lnTo>
                      <a:pt x="813987" y="891539"/>
                    </a:lnTo>
                    <a:lnTo>
                      <a:pt x="811827" y="888999"/>
                    </a:lnTo>
                    <a:close/>
                  </a:path>
                  <a:path w="3439795" h="1447800">
                    <a:moveTo>
                      <a:pt x="822628" y="888999"/>
                    </a:moveTo>
                    <a:lnTo>
                      <a:pt x="823708" y="892174"/>
                    </a:lnTo>
                    <a:lnTo>
                      <a:pt x="824788" y="893233"/>
                    </a:lnTo>
                    <a:lnTo>
                      <a:pt x="824788" y="892174"/>
                    </a:lnTo>
                    <a:lnTo>
                      <a:pt x="822628" y="888999"/>
                    </a:lnTo>
                    <a:close/>
                  </a:path>
                  <a:path w="3439795" h="1447800">
                    <a:moveTo>
                      <a:pt x="822628" y="886459"/>
                    </a:moveTo>
                    <a:lnTo>
                      <a:pt x="820468" y="888999"/>
                    </a:lnTo>
                    <a:lnTo>
                      <a:pt x="823708" y="892174"/>
                    </a:lnTo>
                    <a:lnTo>
                      <a:pt x="822628" y="888999"/>
                    </a:lnTo>
                    <a:lnTo>
                      <a:pt x="822628" y="886459"/>
                    </a:lnTo>
                    <a:close/>
                  </a:path>
                  <a:path w="3439795" h="1447800">
                    <a:moveTo>
                      <a:pt x="824788" y="885824"/>
                    </a:moveTo>
                    <a:lnTo>
                      <a:pt x="822628" y="888999"/>
                    </a:lnTo>
                    <a:lnTo>
                      <a:pt x="824788" y="892174"/>
                    </a:lnTo>
                    <a:lnTo>
                      <a:pt x="824788" y="885824"/>
                    </a:lnTo>
                    <a:close/>
                  </a:path>
                  <a:path w="3439795" h="1447800">
                    <a:moveTo>
                      <a:pt x="833429" y="882649"/>
                    </a:moveTo>
                    <a:lnTo>
                      <a:pt x="833429" y="892174"/>
                    </a:lnTo>
                    <a:lnTo>
                      <a:pt x="835589" y="888999"/>
                    </a:lnTo>
                    <a:lnTo>
                      <a:pt x="833429" y="882649"/>
                    </a:lnTo>
                    <a:close/>
                  </a:path>
                  <a:path w="3439795" h="1447800">
                    <a:moveTo>
                      <a:pt x="842070" y="888999"/>
                    </a:moveTo>
                    <a:lnTo>
                      <a:pt x="839910" y="888999"/>
                    </a:lnTo>
                    <a:lnTo>
                      <a:pt x="839910" y="892174"/>
                    </a:lnTo>
                    <a:lnTo>
                      <a:pt x="842070" y="888999"/>
                    </a:lnTo>
                    <a:close/>
                  </a:path>
                  <a:path w="3439795" h="1447800">
                    <a:moveTo>
                      <a:pt x="813987" y="888999"/>
                    </a:moveTo>
                    <a:lnTo>
                      <a:pt x="811827" y="888999"/>
                    </a:lnTo>
                    <a:lnTo>
                      <a:pt x="813987" y="891539"/>
                    </a:lnTo>
                    <a:lnTo>
                      <a:pt x="813987" y="888999"/>
                    </a:lnTo>
                    <a:close/>
                  </a:path>
                  <a:path w="3439795" h="1447800">
                    <a:moveTo>
                      <a:pt x="822628" y="882649"/>
                    </a:moveTo>
                    <a:lnTo>
                      <a:pt x="820468" y="888999"/>
                    </a:lnTo>
                    <a:lnTo>
                      <a:pt x="822628" y="886459"/>
                    </a:lnTo>
                    <a:lnTo>
                      <a:pt x="822628" y="882649"/>
                    </a:lnTo>
                    <a:close/>
                  </a:path>
                  <a:path w="3439795" h="1447800">
                    <a:moveTo>
                      <a:pt x="824788" y="883919"/>
                    </a:moveTo>
                    <a:lnTo>
                      <a:pt x="822628" y="886459"/>
                    </a:lnTo>
                    <a:lnTo>
                      <a:pt x="822628" y="888999"/>
                    </a:lnTo>
                    <a:lnTo>
                      <a:pt x="824788" y="885824"/>
                    </a:lnTo>
                    <a:lnTo>
                      <a:pt x="824788" y="883919"/>
                    </a:lnTo>
                    <a:close/>
                  </a:path>
                  <a:path w="3439795" h="1447800">
                    <a:moveTo>
                      <a:pt x="826948" y="882649"/>
                    </a:moveTo>
                    <a:lnTo>
                      <a:pt x="824788" y="885824"/>
                    </a:lnTo>
                    <a:lnTo>
                      <a:pt x="824788" y="888999"/>
                    </a:lnTo>
                    <a:lnTo>
                      <a:pt x="826948" y="882649"/>
                    </a:lnTo>
                    <a:close/>
                  </a:path>
                  <a:path w="3439795" h="1447800">
                    <a:moveTo>
                      <a:pt x="824788" y="876299"/>
                    </a:moveTo>
                    <a:lnTo>
                      <a:pt x="822628" y="882649"/>
                    </a:lnTo>
                    <a:lnTo>
                      <a:pt x="822628" y="886459"/>
                    </a:lnTo>
                    <a:lnTo>
                      <a:pt x="824788" y="883919"/>
                    </a:lnTo>
                    <a:lnTo>
                      <a:pt x="824788" y="876299"/>
                    </a:lnTo>
                    <a:close/>
                  </a:path>
                  <a:path w="3439795" h="1447800">
                    <a:moveTo>
                      <a:pt x="827668" y="880533"/>
                    </a:moveTo>
                    <a:lnTo>
                      <a:pt x="824788" y="883919"/>
                    </a:lnTo>
                    <a:lnTo>
                      <a:pt x="824788" y="885824"/>
                    </a:lnTo>
                    <a:lnTo>
                      <a:pt x="826948" y="882649"/>
                    </a:lnTo>
                    <a:lnTo>
                      <a:pt x="827668" y="880533"/>
                    </a:lnTo>
                    <a:close/>
                  </a:path>
                  <a:path w="3439795" h="1447800">
                    <a:moveTo>
                      <a:pt x="829109" y="876299"/>
                    </a:moveTo>
                    <a:lnTo>
                      <a:pt x="824788" y="876299"/>
                    </a:lnTo>
                    <a:lnTo>
                      <a:pt x="824788" y="883919"/>
                    </a:lnTo>
                    <a:lnTo>
                      <a:pt x="827668" y="880533"/>
                    </a:lnTo>
                    <a:lnTo>
                      <a:pt x="829109" y="876299"/>
                    </a:lnTo>
                    <a:close/>
                  </a:path>
                  <a:path w="3439795" h="1447800">
                    <a:moveTo>
                      <a:pt x="824788" y="876299"/>
                    </a:moveTo>
                    <a:lnTo>
                      <a:pt x="822628" y="876299"/>
                    </a:lnTo>
                    <a:lnTo>
                      <a:pt x="822628" y="882649"/>
                    </a:lnTo>
                    <a:lnTo>
                      <a:pt x="824788" y="876299"/>
                    </a:lnTo>
                    <a:close/>
                  </a:path>
                  <a:path w="3439795" h="1447800">
                    <a:moveTo>
                      <a:pt x="831269" y="876299"/>
                    </a:moveTo>
                    <a:lnTo>
                      <a:pt x="827668" y="880533"/>
                    </a:lnTo>
                    <a:lnTo>
                      <a:pt x="826948" y="882649"/>
                    </a:lnTo>
                    <a:lnTo>
                      <a:pt x="831269" y="876299"/>
                    </a:lnTo>
                    <a:close/>
                  </a:path>
                  <a:path w="3439795" h="1447800">
                    <a:moveTo>
                      <a:pt x="833429" y="876299"/>
                    </a:moveTo>
                    <a:lnTo>
                      <a:pt x="831269" y="876299"/>
                    </a:lnTo>
                    <a:lnTo>
                      <a:pt x="833429" y="882649"/>
                    </a:lnTo>
                    <a:lnTo>
                      <a:pt x="833429" y="876299"/>
                    </a:lnTo>
                    <a:close/>
                  </a:path>
                  <a:path w="3439795" h="1447800">
                    <a:moveTo>
                      <a:pt x="842070" y="863599"/>
                    </a:moveTo>
                    <a:lnTo>
                      <a:pt x="829109" y="876299"/>
                    </a:lnTo>
                    <a:lnTo>
                      <a:pt x="827668" y="880533"/>
                    </a:lnTo>
                    <a:lnTo>
                      <a:pt x="831269" y="876299"/>
                    </a:lnTo>
                    <a:lnTo>
                      <a:pt x="850711" y="876299"/>
                    </a:lnTo>
                    <a:lnTo>
                      <a:pt x="842070" y="863599"/>
                    </a:lnTo>
                    <a:close/>
                  </a:path>
                  <a:path w="3439795" h="1447800">
                    <a:moveTo>
                      <a:pt x="562415" y="875319"/>
                    </a:moveTo>
                    <a:lnTo>
                      <a:pt x="561422" y="876299"/>
                    </a:lnTo>
                    <a:lnTo>
                      <a:pt x="563582" y="876299"/>
                    </a:lnTo>
                    <a:lnTo>
                      <a:pt x="562415" y="875319"/>
                    </a:lnTo>
                    <a:close/>
                  </a:path>
                  <a:path w="3439795" h="1447800">
                    <a:moveTo>
                      <a:pt x="574293" y="863599"/>
                    </a:moveTo>
                    <a:lnTo>
                      <a:pt x="562415" y="875319"/>
                    </a:lnTo>
                    <a:lnTo>
                      <a:pt x="563582" y="876299"/>
                    </a:lnTo>
                    <a:lnTo>
                      <a:pt x="574293" y="863599"/>
                    </a:lnTo>
                    <a:close/>
                  </a:path>
                  <a:path w="3439795" h="1447800">
                    <a:moveTo>
                      <a:pt x="580774" y="863599"/>
                    </a:moveTo>
                    <a:lnTo>
                      <a:pt x="574293" y="863599"/>
                    </a:lnTo>
                    <a:lnTo>
                      <a:pt x="563582" y="876299"/>
                    </a:lnTo>
                    <a:lnTo>
                      <a:pt x="565742" y="876299"/>
                    </a:lnTo>
                    <a:lnTo>
                      <a:pt x="580774" y="863599"/>
                    </a:lnTo>
                    <a:close/>
                  </a:path>
                  <a:path w="3439795" h="1447800">
                    <a:moveTo>
                      <a:pt x="580774" y="863599"/>
                    </a:moveTo>
                    <a:lnTo>
                      <a:pt x="570063" y="876299"/>
                    </a:lnTo>
                    <a:lnTo>
                      <a:pt x="585094" y="876299"/>
                    </a:lnTo>
                    <a:lnTo>
                      <a:pt x="580774" y="863599"/>
                    </a:lnTo>
                    <a:close/>
                  </a:path>
                  <a:path w="3439795" h="1447800">
                    <a:moveTo>
                      <a:pt x="855031" y="863599"/>
                    </a:moveTo>
                    <a:lnTo>
                      <a:pt x="842070" y="863599"/>
                    </a:lnTo>
                    <a:lnTo>
                      <a:pt x="850711" y="876299"/>
                    </a:lnTo>
                    <a:lnTo>
                      <a:pt x="863672" y="876299"/>
                    </a:lnTo>
                    <a:lnTo>
                      <a:pt x="855031" y="863599"/>
                    </a:lnTo>
                    <a:close/>
                  </a:path>
                  <a:path w="3439795" h="1447800">
                    <a:moveTo>
                      <a:pt x="861512" y="863599"/>
                    </a:moveTo>
                    <a:lnTo>
                      <a:pt x="855031" y="863599"/>
                    </a:lnTo>
                    <a:lnTo>
                      <a:pt x="863672" y="876299"/>
                    </a:lnTo>
                    <a:lnTo>
                      <a:pt x="867992" y="876299"/>
                    </a:lnTo>
                    <a:lnTo>
                      <a:pt x="861512" y="863599"/>
                    </a:lnTo>
                    <a:close/>
                  </a:path>
                  <a:path w="3439795" h="1447800">
                    <a:moveTo>
                      <a:pt x="867992" y="857249"/>
                    </a:moveTo>
                    <a:lnTo>
                      <a:pt x="861512" y="863599"/>
                    </a:lnTo>
                    <a:lnTo>
                      <a:pt x="867992" y="876299"/>
                    </a:lnTo>
                    <a:lnTo>
                      <a:pt x="870153" y="876299"/>
                    </a:lnTo>
                    <a:lnTo>
                      <a:pt x="883114" y="863599"/>
                    </a:lnTo>
                    <a:lnTo>
                      <a:pt x="867992" y="863599"/>
                    </a:lnTo>
                    <a:lnTo>
                      <a:pt x="867992" y="857249"/>
                    </a:lnTo>
                    <a:close/>
                  </a:path>
                  <a:path w="3439795" h="1447800">
                    <a:moveTo>
                      <a:pt x="559262" y="850899"/>
                    </a:moveTo>
                    <a:lnTo>
                      <a:pt x="548460" y="863599"/>
                    </a:lnTo>
                    <a:lnTo>
                      <a:pt x="562415" y="875319"/>
                    </a:lnTo>
                    <a:lnTo>
                      <a:pt x="574293" y="863599"/>
                    </a:lnTo>
                    <a:lnTo>
                      <a:pt x="559262" y="850899"/>
                    </a:lnTo>
                    <a:close/>
                  </a:path>
                  <a:path w="3439795" h="1447800">
                    <a:moveTo>
                      <a:pt x="544140" y="855133"/>
                    </a:moveTo>
                    <a:lnTo>
                      <a:pt x="544140" y="863599"/>
                    </a:lnTo>
                    <a:lnTo>
                      <a:pt x="548460" y="863599"/>
                    </a:lnTo>
                    <a:lnTo>
                      <a:pt x="544140" y="855133"/>
                    </a:lnTo>
                    <a:close/>
                  </a:path>
                  <a:path w="3439795" h="1447800">
                    <a:moveTo>
                      <a:pt x="544140" y="850899"/>
                    </a:moveTo>
                    <a:lnTo>
                      <a:pt x="544140" y="855133"/>
                    </a:lnTo>
                    <a:lnTo>
                      <a:pt x="548460" y="863599"/>
                    </a:lnTo>
                    <a:lnTo>
                      <a:pt x="544140" y="850899"/>
                    </a:lnTo>
                    <a:close/>
                  </a:path>
                  <a:path w="3439795" h="1447800">
                    <a:moveTo>
                      <a:pt x="552781" y="838199"/>
                    </a:moveTo>
                    <a:lnTo>
                      <a:pt x="550621" y="838199"/>
                    </a:lnTo>
                    <a:lnTo>
                      <a:pt x="544140" y="850899"/>
                    </a:lnTo>
                    <a:lnTo>
                      <a:pt x="548460" y="863599"/>
                    </a:lnTo>
                    <a:lnTo>
                      <a:pt x="559262" y="850899"/>
                    </a:lnTo>
                    <a:lnTo>
                      <a:pt x="552781" y="838199"/>
                    </a:lnTo>
                    <a:close/>
                  </a:path>
                  <a:path w="3439795" h="1447800">
                    <a:moveTo>
                      <a:pt x="871233" y="854074"/>
                    </a:moveTo>
                    <a:lnTo>
                      <a:pt x="867992" y="857249"/>
                    </a:lnTo>
                    <a:lnTo>
                      <a:pt x="867992" y="863599"/>
                    </a:lnTo>
                    <a:lnTo>
                      <a:pt x="880954" y="863599"/>
                    </a:lnTo>
                    <a:lnTo>
                      <a:pt x="871233" y="854074"/>
                    </a:lnTo>
                    <a:close/>
                  </a:path>
                  <a:path w="3439795" h="1447800">
                    <a:moveTo>
                      <a:pt x="874473" y="850899"/>
                    </a:moveTo>
                    <a:lnTo>
                      <a:pt x="871233" y="854074"/>
                    </a:lnTo>
                    <a:lnTo>
                      <a:pt x="880954" y="863599"/>
                    </a:lnTo>
                    <a:lnTo>
                      <a:pt x="883114" y="863599"/>
                    </a:lnTo>
                    <a:lnTo>
                      <a:pt x="874473" y="850899"/>
                    </a:lnTo>
                    <a:close/>
                  </a:path>
                  <a:path w="3439795" h="1447800">
                    <a:moveTo>
                      <a:pt x="880954" y="850899"/>
                    </a:moveTo>
                    <a:lnTo>
                      <a:pt x="874473" y="850899"/>
                    </a:lnTo>
                    <a:lnTo>
                      <a:pt x="883114" y="863599"/>
                    </a:lnTo>
                    <a:lnTo>
                      <a:pt x="880954" y="850899"/>
                    </a:lnTo>
                    <a:close/>
                  </a:path>
                  <a:path w="3439795" h="1447800">
                    <a:moveTo>
                      <a:pt x="880954" y="850899"/>
                    </a:moveTo>
                    <a:lnTo>
                      <a:pt x="883114" y="863599"/>
                    </a:lnTo>
                    <a:lnTo>
                      <a:pt x="887434" y="863599"/>
                    </a:lnTo>
                    <a:lnTo>
                      <a:pt x="880954" y="850899"/>
                    </a:lnTo>
                    <a:close/>
                  </a:path>
                  <a:path w="3439795" h="1447800">
                    <a:moveTo>
                      <a:pt x="883114" y="850899"/>
                    </a:moveTo>
                    <a:lnTo>
                      <a:pt x="880954" y="850899"/>
                    </a:lnTo>
                    <a:lnTo>
                      <a:pt x="887434" y="863599"/>
                    </a:lnTo>
                    <a:lnTo>
                      <a:pt x="883114" y="850899"/>
                    </a:lnTo>
                    <a:close/>
                  </a:path>
                  <a:path w="3439795" h="1447800">
                    <a:moveTo>
                      <a:pt x="889595" y="838199"/>
                    </a:moveTo>
                    <a:lnTo>
                      <a:pt x="883114" y="850899"/>
                    </a:lnTo>
                    <a:lnTo>
                      <a:pt x="887434" y="863599"/>
                    </a:lnTo>
                    <a:lnTo>
                      <a:pt x="887434" y="850899"/>
                    </a:lnTo>
                    <a:lnTo>
                      <a:pt x="892835" y="850899"/>
                    </a:lnTo>
                    <a:lnTo>
                      <a:pt x="889595" y="838199"/>
                    </a:lnTo>
                    <a:close/>
                  </a:path>
                  <a:path w="3439795" h="1447800">
                    <a:moveTo>
                      <a:pt x="892835" y="850899"/>
                    </a:moveTo>
                    <a:lnTo>
                      <a:pt x="887434" y="850899"/>
                    </a:lnTo>
                    <a:lnTo>
                      <a:pt x="887434" y="863599"/>
                    </a:lnTo>
                    <a:lnTo>
                      <a:pt x="896075" y="863599"/>
                    </a:lnTo>
                    <a:lnTo>
                      <a:pt x="892835" y="850899"/>
                    </a:lnTo>
                    <a:close/>
                  </a:path>
                  <a:path w="3439795" h="1447800">
                    <a:moveTo>
                      <a:pt x="889595" y="838199"/>
                    </a:moveTo>
                    <a:lnTo>
                      <a:pt x="896075" y="863599"/>
                    </a:lnTo>
                    <a:lnTo>
                      <a:pt x="897515" y="861483"/>
                    </a:lnTo>
                    <a:lnTo>
                      <a:pt x="889595" y="838199"/>
                    </a:lnTo>
                    <a:close/>
                  </a:path>
                  <a:path w="3439795" h="1447800">
                    <a:moveTo>
                      <a:pt x="897515" y="861483"/>
                    </a:moveTo>
                    <a:lnTo>
                      <a:pt x="896075" y="863599"/>
                    </a:lnTo>
                    <a:lnTo>
                      <a:pt x="898235" y="863599"/>
                    </a:lnTo>
                    <a:lnTo>
                      <a:pt x="897515" y="861483"/>
                    </a:lnTo>
                    <a:close/>
                  </a:path>
                  <a:path w="3439795" h="1447800">
                    <a:moveTo>
                      <a:pt x="893915" y="838199"/>
                    </a:moveTo>
                    <a:lnTo>
                      <a:pt x="889595" y="838199"/>
                    </a:lnTo>
                    <a:lnTo>
                      <a:pt x="897515" y="861483"/>
                    </a:lnTo>
                    <a:lnTo>
                      <a:pt x="904716" y="850899"/>
                    </a:lnTo>
                    <a:lnTo>
                      <a:pt x="893915" y="838199"/>
                    </a:lnTo>
                    <a:close/>
                  </a:path>
                  <a:path w="3439795" h="1447800">
                    <a:moveTo>
                      <a:pt x="867992" y="850899"/>
                    </a:moveTo>
                    <a:lnTo>
                      <a:pt x="867992" y="857249"/>
                    </a:lnTo>
                    <a:lnTo>
                      <a:pt x="871233" y="854074"/>
                    </a:lnTo>
                    <a:lnTo>
                      <a:pt x="867992" y="850899"/>
                    </a:lnTo>
                    <a:close/>
                  </a:path>
                  <a:path w="3439795" h="1447800">
                    <a:moveTo>
                      <a:pt x="544140" y="847724"/>
                    </a:moveTo>
                    <a:lnTo>
                      <a:pt x="541980" y="850899"/>
                    </a:lnTo>
                    <a:lnTo>
                      <a:pt x="544140" y="855133"/>
                    </a:lnTo>
                    <a:lnTo>
                      <a:pt x="544140" y="847724"/>
                    </a:lnTo>
                    <a:close/>
                  </a:path>
                  <a:path w="3439795" h="1447800">
                    <a:moveTo>
                      <a:pt x="874473" y="850899"/>
                    </a:moveTo>
                    <a:lnTo>
                      <a:pt x="867992" y="850899"/>
                    </a:lnTo>
                    <a:lnTo>
                      <a:pt x="871233" y="854074"/>
                    </a:lnTo>
                    <a:lnTo>
                      <a:pt x="874473" y="850899"/>
                    </a:lnTo>
                    <a:close/>
                  </a:path>
                  <a:path w="3439795" h="1447800">
                    <a:moveTo>
                      <a:pt x="529019" y="825499"/>
                    </a:moveTo>
                    <a:lnTo>
                      <a:pt x="513897" y="838199"/>
                    </a:lnTo>
                    <a:lnTo>
                      <a:pt x="516057" y="850899"/>
                    </a:lnTo>
                    <a:lnTo>
                      <a:pt x="524698" y="838199"/>
                    </a:lnTo>
                    <a:lnTo>
                      <a:pt x="516057" y="838199"/>
                    </a:lnTo>
                    <a:lnTo>
                      <a:pt x="529019" y="825499"/>
                    </a:lnTo>
                    <a:close/>
                  </a:path>
                  <a:path w="3439795" h="1447800">
                    <a:moveTo>
                      <a:pt x="526858" y="838199"/>
                    </a:moveTo>
                    <a:lnTo>
                      <a:pt x="524698" y="838199"/>
                    </a:lnTo>
                    <a:lnTo>
                      <a:pt x="516057" y="850899"/>
                    </a:lnTo>
                    <a:lnTo>
                      <a:pt x="522970" y="845819"/>
                    </a:lnTo>
                    <a:lnTo>
                      <a:pt x="526858" y="838199"/>
                    </a:lnTo>
                    <a:close/>
                  </a:path>
                  <a:path w="3439795" h="1447800">
                    <a:moveTo>
                      <a:pt x="522970" y="845819"/>
                    </a:moveTo>
                    <a:lnTo>
                      <a:pt x="516057" y="850899"/>
                    </a:lnTo>
                    <a:lnTo>
                      <a:pt x="520378" y="850899"/>
                    </a:lnTo>
                    <a:lnTo>
                      <a:pt x="522970" y="845819"/>
                    </a:lnTo>
                    <a:close/>
                  </a:path>
                  <a:path w="3439795" h="1447800">
                    <a:moveTo>
                      <a:pt x="526858" y="842962"/>
                    </a:moveTo>
                    <a:lnTo>
                      <a:pt x="522970" y="845819"/>
                    </a:lnTo>
                    <a:lnTo>
                      <a:pt x="520378" y="850899"/>
                    </a:lnTo>
                    <a:lnTo>
                      <a:pt x="524698" y="850899"/>
                    </a:lnTo>
                    <a:lnTo>
                      <a:pt x="526858" y="846666"/>
                    </a:lnTo>
                    <a:lnTo>
                      <a:pt x="526858" y="842962"/>
                    </a:lnTo>
                    <a:close/>
                  </a:path>
                  <a:path w="3439795" h="1447800">
                    <a:moveTo>
                      <a:pt x="526858" y="846666"/>
                    </a:moveTo>
                    <a:lnTo>
                      <a:pt x="524698" y="850899"/>
                    </a:lnTo>
                    <a:lnTo>
                      <a:pt x="526858" y="848359"/>
                    </a:lnTo>
                    <a:lnTo>
                      <a:pt x="526858" y="846666"/>
                    </a:lnTo>
                    <a:close/>
                  </a:path>
                  <a:path w="3439795" h="1447800">
                    <a:moveTo>
                      <a:pt x="526858" y="848359"/>
                    </a:moveTo>
                    <a:lnTo>
                      <a:pt x="524698" y="850899"/>
                    </a:lnTo>
                    <a:lnTo>
                      <a:pt x="526858" y="850899"/>
                    </a:lnTo>
                    <a:lnTo>
                      <a:pt x="526858" y="848359"/>
                    </a:lnTo>
                    <a:close/>
                  </a:path>
                  <a:path w="3439795" h="1447800">
                    <a:moveTo>
                      <a:pt x="537659" y="838199"/>
                    </a:moveTo>
                    <a:lnTo>
                      <a:pt x="535499" y="838199"/>
                    </a:lnTo>
                    <a:lnTo>
                      <a:pt x="526858" y="848359"/>
                    </a:lnTo>
                    <a:lnTo>
                      <a:pt x="526858" y="850899"/>
                    </a:lnTo>
                    <a:lnTo>
                      <a:pt x="537659" y="850899"/>
                    </a:lnTo>
                    <a:lnTo>
                      <a:pt x="537659" y="838199"/>
                    </a:lnTo>
                    <a:close/>
                  </a:path>
                  <a:path w="3439795" h="1447800">
                    <a:moveTo>
                      <a:pt x="544140" y="838199"/>
                    </a:moveTo>
                    <a:lnTo>
                      <a:pt x="537659" y="838199"/>
                    </a:lnTo>
                    <a:lnTo>
                      <a:pt x="537659" y="850899"/>
                    </a:lnTo>
                    <a:lnTo>
                      <a:pt x="541980" y="850899"/>
                    </a:lnTo>
                    <a:lnTo>
                      <a:pt x="544140" y="838199"/>
                    </a:lnTo>
                    <a:close/>
                  </a:path>
                  <a:path w="3439795" h="1447800">
                    <a:moveTo>
                      <a:pt x="544140" y="838199"/>
                    </a:moveTo>
                    <a:lnTo>
                      <a:pt x="541980" y="850899"/>
                    </a:lnTo>
                    <a:lnTo>
                      <a:pt x="544140" y="847724"/>
                    </a:lnTo>
                    <a:lnTo>
                      <a:pt x="544140" y="838199"/>
                    </a:lnTo>
                    <a:close/>
                  </a:path>
                  <a:path w="3439795" h="1447800">
                    <a:moveTo>
                      <a:pt x="550621" y="838199"/>
                    </a:moveTo>
                    <a:lnTo>
                      <a:pt x="544140" y="847724"/>
                    </a:lnTo>
                    <a:lnTo>
                      <a:pt x="544140" y="850899"/>
                    </a:lnTo>
                    <a:lnTo>
                      <a:pt x="550621" y="838199"/>
                    </a:lnTo>
                    <a:close/>
                  </a:path>
                  <a:path w="3439795" h="1447800">
                    <a:moveTo>
                      <a:pt x="898235" y="838199"/>
                    </a:moveTo>
                    <a:lnTo>
                      <a:pt x="893915" y="838199"/>
                    </a:lnTo>
                    <a:lnTo>
                      <a:pt x="904716" y="850899"/>
                    </a:lnTo>
                    <a:lnTo>
                      <a:pt x="898235" y="838199"/>
                    </a:lnTo>
                    <a:close/>
                  </a:path>
                  <a:path w="3439795" h="1447800">
                    <a:moveTo>
                      <a:pt x="898235" y="838199"/>
                    </a:moveTo>
                    <a:lnTo>
                      <a:pt x="904716" y="850899"/>
                    </a:lnTo>
                    <a:lnTo>
                      <a:pt x="909037" y="850899"/>
                    </a:lnTo>
                    <a:lnTo>
                      <a:pt x="898235" y="838199"/>
                    </a:lnTo>
                    <a:close/>
                  </a:path>
                  <a:path w="3439795" h="1447800">
                    <a:moveTo>
                      <a:pt x="898235" y="838199"/>
                    </a:moveTo>
                    <a:lnTo>
                      <a:pt x="909037" y="850899"/>
                    </a:lnTo>
                    <a:lnTo>
                      <a:pt x="911197" y="850899"/>
                    </a:lnTo>
                    <a:lnTo>
                      <a:pt x="910333" y="848359"/>
                    </a:lnTo>
                    <a:lnTo>
                      <a:pt x="898235" y="838199"/>
                    </a:lnTo>
                    <a:close/>
                  </a:path>
                  <a:path w="3439795" h="1447800">
                    <a:moveTo>
                      <a:pt x="910333" y="848359"/>
                    </a:moveTo>
                    <a:lnTo>
                      <a:pt x="911197" y="850899"/>
                    </a:lnTo>
                    <a:lnTo>
                      <a:pt x="913357" y="850899"/>
                    </a:lnTo>
                    <a:lnTo>
                      <a:pt x="910333" y="848359"/>
                    </a:lnTo>
                    <a:close/>
                  </a:path>
                  <a:path w="3439795" h="1447800">
                    <a:moveTo>
                      <a:pt x="906876" y="838199"/>
                    </a:moveTo>
                    <a:lnTo>
                      <a:pt x="910333" y="848359"/>
                    </a:lnTo>
                    <a:lnTo>
                      <a:pt x="913357" y="850899"/>
                    </a:lnTo>
                    <a:lnTo>
                      <a:pt x="906876" y="838199"/>
                    </a:lnTo>
                    <a:close/>
                  </a:path>
                  <a:path w="3439795" h="1447800">
                    <a:moveTo>
                      <a:pt x="917677" y="825499"/>
                    </a:moveTo>
                    <a:lnTo>
                      <a:pt x="909037" y="838199"/>
                    </a:lnTo>
                    <a:lnTo>
                      <a:pt x="906876" y="838199"/>
                    </a:lnTo>
                    <a:lnTo>
                      <a:pt x="913357" y="850899"/>
                    </a:lnTo>
                    <a:lnTo>
                      <a:pt x="919838" y="850899"/>
                    </a:lnTo>
                    <a:lnTo>
                      <a:pt x="917677" y="825499"/>
                    </a:lnTo>
                    <a:close/>
                  </a:path>
                  <a:path w="3439795" h="1447800">
                    <a:moveTo>
                      <a:pt x="917677" y="825499"/>
                    </a:moveTo>
                    <a:lnTo>
                      <a:pt x="919838" y="850899"/>
                    </a:lnTo>
                    <a:lnTo>
                      <a:pt x="921998" y="850899"/>
                    </a:lnTo>
                    <a:lnTo>
                      <a:pt x="917677" y="825499"/>
                    </a:lnTo>
                    <a:close/>
                  </a:path>
                  <a:path w="3439795" h="1447800">
                    <a:moveTo>
                      <a:pt x="926318" y="825499"/>
                    </a:moveTo>
                    <a:lnTo>
                      <a:pt x="917677" y="825499"/>
                    </a:lnTo>
                    <a:lnTo>
                      <a:pt x="921998" y="850899"/>
                    </a:lnTo>
                    <a:lnTo>
                      <a:pt x="930639" y="850899"/>
                    </a:lnTo>
                    <a:lnTo>
                      <a:pt x="926318" y="825499"/>
                    </a:lnTo>
                    <a:close/>
                  </a:path>
                  <a:path w="3439795" h="1447800">
                    <a:moveTo>
                      <a:pt x="928479" y="825499"/>
                    </a:moveTo>
                    <a:lnTo>
                      <a:pt x="926318" y="825499"/>
                    </a:lnTo>
                    <a:lnTo>
                      <a:pt x="930639" y="850899"/>
                    </a:lnTo>
                    <a:lnTo>
                      <a:pt x="928479" y="825499"/>
                    </a:lnTo>
                    <a:close/>
                  </a:path>
                  <a:path w="3439795" h="1447800">
                    <a:moveTo>
                      <a:pt x="930639" y="825499"/>
                    </a:moveTo>
                    <a:lnTo>
                      <a:pt x="928479" y="825499"/>
                    </a:lnTo>
                    <a:lnTo>
                      <a:pt x="930639" y="850899"/>
                    </a:lnTo>
                    <a:lnTo>
                      <a:pt x="934959" y="838199"/>
                    </a:lnTo>
                    <a:lnTo>
                      <a:pt x="937119" y="838199"/>
                    </a:lnTo>
                    <a:lnTo>
                      <a:pt x="930639" y="825499"/>
                    </a:lnTo>
                    <a:close/>
                  </a:path>
                  <a:path w="3439795" h="1447800">
                    <a:moveTo>
                      <a:pt x="934959" y="838199"/>
                    </a:moveTo>
                    <a:lnTo>
                      <a:pt x="930639" y="850899"/>
                    </a:lnTo>
                    <a:lnTo>
                      <a:pt x="932799" y="850899"/>
                    </a:lnTo>
                    <a:lnTo>
                      <a:pt x="934959" y="838199"/>
                    </a:lnTo>
                    <a:close/>
                  </a:path>
                  <a:path w="3439795" h="1447800">
                    <a:moveTo>
                      <a:pt x="535499" y="838199"/>
                    </a:moveTo>
                    <a:lnTo>
                      <a:pt x="533339" y="838199"/>
                    </a:lnTo>
                    <a:lnTo>
                      <a:pt x="529883" y="840739"/>
                    </a:lnTo>
                    <a:lnTo>
                      <a:pt x="526858" y="846666"/>
                    </a:lnTo>
                    <a:lnTo>
                      <a:pt x="526858" y="848359"/>
                    </a:lnTo>
                    <a:lnTo>
                      <a:pt x="535499" y="838199"/>
                    </a:lnTo>
                    <a:close/>
                  </a:path>
                  <a:path w="3439795" h="1447800">
                    <a:moveTo>
                      <a:pt x="906876" y="838199"/>
                    </a:moveTo>
                    <a:lnTo>
                      <a:pt x="898235" y="838199"/>
                    </a:lnTo>
                    <a:lnTo>
                      <a:pt x="910333" y="848359"/>
                    </a:lnTo>
                    <a:lnTo>
                      <a:pt x="906876" y="838199"/>
                    </a:lnTo>
                    <a:close/>
                  </a:path>
                  <a:path w="3439795" h="1447800">
                    <a:moveTo>
                      <a:pt x="550621" y="838199"/>
                    </a:moveTo>
                    <a:lnTo>
                      <a:pt x="544140" y="838199"/>
                    </a:lnTo>
                    <a:lnTo>
                      <a:pt x="544140" y="847724"/>
                    </a:lnTo>
                    <a:lnTo>
                      <a:pt x="550621" y="838199"/>
                    </a:lnTo>
                    <a:close/>
                  </a:path>
                  <a:path w="3439795" h="1447800">
                    <a:moveTo>
                      <a:pt x="529883" y="840739"/>
                    </a:moveTo>
                    <a:lnTo>
                      <a:pt x="526858" y="842962"/>
                    </a:lnTo>
                    <a:lnTo>
                      <a:pt x="526858" y="846666"/>
                    </a:lnTo>
                    <a:lnTo>
                      <a:pt x="529883" y="840739"/>
                    </a:lnTo>
                    <a:close/>
                  </a:path>
                  <a:path w="3439795" h="1447800">
                    <a:moveTo>
                      <a:pt x="526858" y="838199"/>
                    </a:moveTo>
                    <a:lnTo>
                      <a:pt x="522970" y="845819"/>
                    </a:lnTo>
                    <a:lnTo>
                      <a:pt x="526858" y="842962"/>
                    </a:lnTo>
                    <a:lnTo>
                      <a:pt x="526858" y="838199"/>
                    </a:lnTo>
                    <a:close/>
                  </a:path>
                  <a:path w="3439795" h="1447800">
                    <a:moveTo>
                      <a:pt x="529019" y="825499"/>
                    </a:moveTo>
                    <a:lnTo>
                      <a:pt x="516057" y="838199"/>
                    </a:lnTo>
                    <a:lnTo>
                      <a:pt x="526858" y="838199"/>
                    </a:lnTo>
                    <a:lnTo>
                      <a:pt x="526858" y="842962"/>
                    </a:lnTo>
                    <a:lnTo>
                      <a:pt x="529883" y="840739"/>
                    </a:lnTo>
                    <a:lnTo>
                      <a:pt x="531179" y="838199"/>
                    </a:lnTo>
                    <a:lnTo>
                      <a:pt x="529019" y="825499"/>
                    </a:lnTo>
                    <a:close/>
                  </a:path>
                  <a:path w="3439795" h="1447800">
                    <a:moveTo>
                      <a:pt x="533339" y="838199"/>
                    </a:moveTo>
                    <a:lnTo>
                      <a:pt x="531179" y="838199"/>
                    </a:lnTo>
                    <a:lnTo>
                      <a:pt x="529883" y="840739"/>
                    </a:lnTo>
                    <a:lnTo>
                      <a:pt x="533339" y="838199"/>
                    </a:lnTo>
                    <a:close/>
                  </a:path>
                  <a:path w="3439795" h="1447800">
                    <a:moveTo>
                      <a:pt x="513897" y="787399"/>
                    </a:moveTo>
                    <a:lnTo>
                      <a:pt x="498775" y="800099"/>
                    </a:lnTo>
                    <a:lnTo>
                      <a:pt x="507416" y="812799"/>
                    </a:lnTo>
                    <a:lnTo>
                      <a:pt x="511737" y="838199"/>
                    </a:lnTo>
                    <a:lnTo>
                      <a:pt x="526858" y="825499"/>
                    </a:lnTo>
                    <a:lnTo>
                      <a:pt x="529019" y="825499"/>
                    </a:lnTo>
                    <a:lnTo>
                      <a:pt x="524698" y="812799"/>
                    </a:lnTo>
                    <a:lnTo>
                      <a:pt x="513897" y="787399"/>
                    </a:lnTo>
                    <a:close/>
                  </a:path>
                  <a:path w="3439795" h="1447800">
                    <a:moveTo>
                      <a:pt x="529019" y="825499"/>
                    </a:moveTo>
                    <a:lnTo>
                      <a:pt x="526858" y="825499"/>
                    </a:lnTo>
                    <a:lnTo>
                      <a:pt x="511737" y="838199"/>
                    </a:lnTo>
                    <a:lnTo>
                      <a:pt x="529019" y="825499"/>
                    </a:lnTo>
                    <a:close/>
                  </a:path>
                  <a:path w="3439795" h="1447800">
                    <a:moveTo>
                      <a:pt x="529019" y="825499"/>
                    </a:moveTo>
                    <a:lnTo>
                      <a:pt x="511737" y="838199"/>
                    </a:lnTo>
                    <a:lnTo>
                      <a:pt x="513897" y="838199"/>
                    </a:lnTo>
                    <a:lnTo>
                      <a:pt x="529019" y="825499"/>
                    </a:lnTo>
                    <a:close/>
                  </a:path>
                  <a:path w="3439795" h="1447800">
                    <a:moveTo>
                      <a:pt x="531179" y="825499"/>
                    </a:moveTo>
                    <a:lnTo>
                      <a:pt x="529019" y="825499"/>
                    </a:lnTo>
                    <a:lnTo>
                      <a:pt x="531179" y="838199"/>
                    </a:lnTo>
                    <a:lnTo>
                      <a:pt x="531179" y="825499"/>
                    </a:lnTo>
                    <a:close/>
                  </a:path>
                  <a:path w="3439795" h="1447800">
                    <a:moveTo>
                      <a:pt x="930639" y="825499"/>
                    </a:moveTo>
                    <a:lnTo>
                      <a:pt x="937119" y="838199"/>
                    </a:lnTo>
                    <a:lnTo>
                      <a:pt x="941440" y="838199"/>
                    </a:lnTo>
                    <a:lnTo>
                      <a:pt x="930639" y="825499"/>
                    </a:lnTo>
                    <a:close/>
                  </a:path>
                  <a:path w="3439795" h="1447800">
                    <a:moveTo>
                      <a:pt x="937119" y="825499"/>
                    </a:moveTo>
                    <a:lnTo>
                      <a:pt x="930639" y="825499"/>
                    </a:lnTo>
                    <a:lnTo>
                      <a:pt x="941440" y="838199"/>
                    </a:lnTo>
                    <a:lnTo>
                      <a:pt x="945760" y="838199"/>
                    </a:lnTo>
                    <a:lnTo>
                      <a:pt x="937119" y="825499"/>
                    </a:lnTo>
                    <a:close/>
                  </a:path>
                  <a:path w="3439795" h="1447800">
                    <a:moveTo>
                      <a:pt x="939280" y="825499"/>
                    </a:moveTo>
                    <a:lnTo>
                      <a:pt x="937119" y="825499"/>
                    </a:lnTo>
                    <a:lnTo>
                      <a:pt x="945760" y="838199"/>
                    </a:lnTo>
                    <a:lnTo>
                      <a:pt x="942311" y="828061"/>
                    </a:lnTo>
                    <a:lnTo>
                      <a:pt x="939280" y="825499"/>
                    </a:lnTo>
                    <a:close/>
                  </a:path>
                  <a:path w="3439795" h="1447800">
                    <a:moveTo>
                      <a:pt x="942311" y="828061"/>
                    </a:moveTo>
                    <a:lnTo>
                      <a:pt x="945760" y="838199"/>
                    </a:lnTo>
                    <a:lnTo>
                      <a:pt x="954311" y="838199"/>
                    </a:lnTo>
                    <a:lnTo>
                      <a:pt x="942311" y="828061"/>
                    </a:lnTo>
                    <a:close/>
                  </a:path>
                  <a:path w="3439795" h="1447800">
                    <a:moveTo>
                      <a:pt x="941440" y="825499"/>
                    </a:moveTo>
                    <a:lnTo>
                      <a:pt x="942311" y="828061"/>
                    </a:lnTo>
                    <a:lnTo>
                      <a:pt x="954311" y="838199"/>
                    </a:lnTo>
                    <a:lnTo>
                      <a:pt x="941440" y="825499"/>
                    </a:lnTo>
                    <a:close/>
                  </a:path>
                  <a:path w="3439795" h="1447800">
                    <a:moveTo>
                      <a:pt x="956471" y="825499"/>
                    </a:moveTo>
                    <a:lnTo>
                      <a:pt x="941440" y="825499"/>
                    </a:lnTo>
                    <a:lnTo>
                      <a:pt x="954311" y="838199"/>
                    </a:lnTo>
                    <a:lnTo>
                      <a:pt x="956471" y="825499"/>
                    </a:lnTo>
                    <a:close/>
                  </a:path>
                  <a:path w="3439795" h="1447800">
                    <a:moveTo>
                      <a:pt x="956471" y="825499"/>
                    </a:moveTo>
                    <a:lnTo>
                      <a:pt x="954311" y="838199"/>
                    </a:lnTo>
                    <a:lnTo>
                      <a:pt x="956471" y="833966"/>
                    </a:lnTo>
                    <a:lnTo>
                      <a:pt x="956471" y="825499"/>
                    </a:lnTo>
                    <a:close/>
                  </a:path>
                  <a:path w="3439795" h="1447800">
                    <a:moveTo>
                      <a:pt x="956471" y="833966"/>
                    </a:moveTo>
                    <a:lnTo>
                      <a:pt x="954311" y="838199"/>
                    </a:lnTo>
                    <a:lnTo>
                      <a:pt x="956471" y="838199"/>
                    </a:lnTo>
                    <a:lnTo>
                      <a:pt x="956471" y="833966"/>
                    </a:lnTo>
                    <a:close/>
                  </a:path>
                  <a:path w="3439795" h="1447800">
                    <a:moveTo>
                      <a:pt x="960792" y="825499"/>
                    </a:moveTo>
                    <a:lnTo>
                      <a:pt x="956471" y="825499"/>
                    </a:lnTo>
                    <a:lnTo>
                      <a:pt x="956471" y="833966"/>
                    </a:lnTo>
                    <a:lnTo>
                      <a:pt x="960792" y="825499"/>
                    </a:lnTo>
                    <a:close/>
                  </a:path>
                  <a:path w="3439795" h="1447800">
                    <a:moveTo>
                      <a:pt x="943600" y="812799"/>
                    </a:moveTo>
                    <a:lnTo>
                      <a:pt x="939280" y="825499"/>
                    </a:lnTo>
                    <a:lnTo>
                      <a:pt x="942311" y="828061"/>
                    </a:lnTo>
                    <a:lnTo>
                      <a:pt x="941440" y="825499"/>
                    </a:lnTo>
                    <a:lnTo>
                      <a:pt x="960792" y="825499"/>
                    </a:lnTo>
                    <a:lnTo>
                      <a:pt x="943600" y="812799"/>
                    </a:lnTo>
                    <a:close/>
                  </a:path>
                  <a:path w="3439795" h="1447800">
                    <a:moveTo>
                      <a:pt x="945760" y="800099"/>
                    </a:moveTo>
                    <a:lnTo>
                      <a:pt x="943600" y="812799"/>
                    </a:lnTo>
                    <a:lnTo>
                      <a:pt x="960792" y="825499"/>
                    </a:lnTo>
                    <a:lnTo>
                      <a:pt x="962952" y="812799"/>
                    </a:lnTo>
                    <a:lnTo>
                      <a:pt x="945760" y="800099"/>
                    </a:lnTo>
                    <a:close/>
                  </a:path>
                  <a:path w="3439795" h="1447800">
                    <a:moveTo>
                      <a:pt x="945760" y="787399"/>
                    </a:moveTo>
                    <a:lnTo>
                      <a:pt x="945760" y="800099"/>
                    </a:lnTo>
                    <a:lnTo>
                      <a:pt x="962952" y="812799"/>
                    </a:lnTo>
                    <a:lnTo>
                      <a:pt x="962952" y="800099"/>
                    </a:lnTo>
                    <a:lnTo>
                      <a:pt x="958632" y="800099"/>
                    </a:lnTo>
                    <a:lnTo>
                      <a:pt x="945760" y="787399"/>
                    </a:lnTo>
                    <a:close/>
                  </a:path>
                  <a:path w="3439795" h="1447800">
                    <a:moveTo>
                      <a:pt x="513897" y="787399"/>
                    </a:moveTo>
                    <a:lnTo>
                      <a:pt x="494455" y="787399"/>
                    </a:lnTo>
                    <a:lnTo>
                      <a:pt x="498775" y="800099"/>
                    </a:lnTo>
                    <a:lnTo>
                      <a:pt x="513897" y="787399"/>
                    </a:lnTo>
                    <a:close/>
                  </a:path>
                  <a:path w="3439795" h="1447800">
                    <a:moveTo>
                      <a:pt x="583432" y="776653"/>
                    </a:moveTo>
                    <a:lnTo>
                      <a:pt x="574293" y="787399"/>
                    </a:lnTo>
                    <a:lnTo>
                      <a:pt x="589415" y="800099"/>
                    </a:lnTo>
                    <a:lnTo>
                      <a:pt x="591575" y="800099"/>
                    </a:lnTo>
                    <a:lnTo>
                      <a:pt x="595895" y="787399"/>
                    </a:lnTo>
                    <a:lnTo>
                      <a:pt x="598055" y="787399"/>
                    </a:lnTo>
                    <a:lnTo>
                      <a:pt x="583432" y="776653"/>
                    </a:lnTo>
                    <a:close/>
                  </a:path>
                  <a:path w="3439795" h="1447800">
                    <a:moveTo>
                      <a:pt x="598055" y="787399"/>
                    </a:moveTo>
                    <a:lnTo>
                      <a:pt x="595895" y="787399"/>
                    </a:lnTo>
                    <a:lnTo>
                      <a:pt x="591575" y="800099"/>
                    </a:lnTo>
                    <a:lnTo>
                      <a:pt x="598055" y="787399"/>
                    </a:lnTo>
                    <a:close/>
                  </a:path>
                  <a:path w="3439795" h="1447800">
                    <a:moveTo>
                      <a:pt x="600216" y="787399"/>
                    </a:moveTo>
                    <a:lnTo>
                      <a:pt x="598055" y="787399"/>
                    </a:lnTo>
                    <a:lnTo>
                      <a:pt x="591575" y="800099"/>
                    </a:lnTo>
                    <a:lnTo>
                      <a:pt x="595895" y="800099"/>
                    </a:lnTo>
                    <a:lnTo>
                      <a:pt x="600216" y="787399"/>
                    </a:lnTo>
                    <a:close/>
                  </a:path>
                  <a:path w="3439795" h="1447800">
                    <a:moveTo>
                      <a:pt x="606696" y="787399"/>
                    </a:moveTo>
                    <a:lnTo>
                      <a:pt x="600216" y="787399"/>
                    </a:lnTo>
                    <a:lnTo>
                      <a:pt x="595895" y="800099"/>
                    </a:lnTo>
                    <a:lnTo>
                      <a:pt x="602376" y="800099"/>
                    </a:lnTo>
                    <a:lnTo>
                      <a:pt x="606696" y="787399"/>
                    </a:lnTo>
                    <a:close/>
                  </a:path>
                  <a:path w="3439795" h="1447800">
                    <a:moveTo>
                      <a:pt x="611017" y="787399"/>
                    </a:moveTo>
                    <a:lnTo>
                      <a:pt x="606696" y="787399"/>
                    </a:lnTo>
                    <a:lnTo>
                      <a:pt x="602376" y="800099"/>
                    </a:lnTo>
                    <a:lnTo>
                      <a:pt x="604536" y="800099"/>
                    </a:lnTo>
                    <a:lnTo>
                      <a:pt x="613177" y="791633"/>
                    </a:lnTo>
                    <a:lnTo>
                      <a:pt x="613177" y="789214"/>
                    </a:lnTo>
                    <a:lnTo>
                      <a:pt x="611017" y="787399"/>
                    </a:lnTo>
                    <a:close/>
                  </a:path>
                  <a:path w="3439795" h="1447800">
                    <a:moveTo>
                      <a:pt x="613177" y="791633"/>
                    </a:moveTo>
                    <a:lnTo>
                      <a:pt x="604536" y="800099"/>
                    </a:lnTo>
                    <a:lnTo>
                      <a:pt x="608857" y="800099"/>
                    </a:lnTo>
                    <a:lnTo>
                      <a:pt x="613177" y="793749"/>
                    </a:lnTo>
                    <a:lnTo>
                      <a:pt x="613177" y="791633"/>
                    </a:lnTo>
                    <a:close/>
                  </a:path>
                  <a:path w="3439795" h="1447800">
                    <a:moveTo>
                      <a:pt x="613177" y="793749"/>
                    </a:moveTo>
                    <a:lnTo>
                      <a:pt x="608857" y="800099"/>
                    </a:lnTo>
                    <a:lnTo>
                      <a:pt x="613177" y="800099"/>
                    </a:lnTo>
                    <a:lnTo>
                      <a:pt x="613177" y="793749"/>
                    </a:lnTo>
                    <a:close/>
                  </a:path>
                  <a:path w="3439795" h="1447800">
                    <a:moveTo>
                      <a:pt x="615141" y="790863"/>
                    </a:moveTo>
                    <a:lnTo>
                      <a:pt x="613177" y="793749"/>
                    </a:lnTo>
                    <a:lnTo>
                      <a:pt x="613177" y="800099"/>
                    </a:lnTo>
                    <a:lnTo>
                      <a:pt x="617065" y="792479"/>
                    </a:lnTo>
                    <a:lnTo>
                      <a:pt x="615141" y="790863"/>
                    </a:lnTo>
                    <a:close/>
                  </a:path>
                  <a:path w="3439795" h="1447800">
                    <a:moveTo>
                      <a:pt x="617065" y="792479"/>
                    </a:moveTo>
                    <a:lnTo>
                      <a:pt x="613177" y="800099"/>
                    </a:lnTo>
                    <a:lnTo>
                      <a:pt x="617497" y="800099"/>
                    </a:lnTo>
                    <a:lnTo>
                      <a:pt x="617497" y="792842"/>
                    </a:lnTo>
                    <a:lnTo>
                      <a:pt x="617065" y="792479"/>
                    </a:lnTo>
                    <a:close/>
                  </a:path>
                  <a:path w="3439795" h="1447800">
                    <a:moveTo>
                      <a:pt x="617497" y="792842"/>
                    </a:moveTo>
                    <a:lnTo>
                      <a:pt x="617497" y="800099"/>
                    </a:lnTo>
                    <a:lnTo>
                      <a:pt x="623978" y="800099"/>
                    </a:lnTo>
                    <a:lnTo>
                      <a:pt x="622358" y="796924"/>
                    </a:lnTo>
                    <a:lnTo>
                      <a:pt x="617497" y="792842"/>
                    </a:lnTo>
                    <a:close/>
                  </a:path>
                  <a:path w="3439795" h="1447800">
                    <a:moveTo>
                      <a:pt x="622358" y="796924"/>
                    </a:moveTo>
                    <a:lnTo>
                      <a:pt x="623978" y="800099"/>
                    </a:lnTo>
                    <a:lnTo>
                      <a:pt x="623978" y="798285"/>
                    </a:lnTo>
                    <a:lnTo>
                      <a:pt x="622358" y="796924"/>
                    </a:lnTo>
                    <a:close/>
                  </a:path>
                  <a:path w="3439795" h="1447800">
                    <a:moveTo>
                      <a:pt x="623978" y="798285"/>
                    </a:moveTo>
                    <a:lnTo>
                      <a:pt x="623978" y="800099"/>
                    </a:lnTo>
                    <a:lnTo>
                      <a:pt x="626138" y="800099"/>
                    </a:lnTo>
                    <a:lnTo>
                      <a:pt x="623978" y="798285"/>
                    </a:lnTo>
                    <a:close/>
                  </a:path>
                  <a:path w="3439795" h="1447800">
                    <a:moveTo>
                      <a:pt x="623978" y="795866"/>
                    </a:moveTo>
                    <a:lnTo>
                      <a:pt x="623978" y="798285"/>
                    </a:lnTo>
                    <a:lnTo>
                      <a:pt x="626138" y="800099"/>
                    </a:lnTo>
                    <a:lnTo>
                      <a:pt x="623978" y="795866"/>
                    </a:lnTo>
                    <a:close/>
                  </a:path>
                  <a:path w="3439795" h="1447800">
                    <a:moveTo>
                      <a:pt x="623978" y="795019"/>
                    </a:moveTo>
                    <a:lnTo>
                      <a:pt x="623978" y="795866"/>
                    </a:lnTo>
                    <a:lnTo>
                      <a:pt x="626138" y="800099"/>
                    </a:lnTo>
                    <a:lnTo>
                      <a:pt x="628298" y="800099"/>
                    </a:lnTo>
                    <a:lnTo>
                      <a:pt x="623978" y="795019"/>
                    </a:lnTo>
                    <a:close/>
                  </a:path>
                  <a:path w="3439795" h="1447800">
                    <a:moveTo>
                      <a:pt x="623978" y="787399"/>
                    </a:moveTo>
                    <a:lnTo>
                      <a:pt x="623978" y="795019"/>
                    </a:lnTo>
                    <a:lnTo>
                      <a:pt x="628298" y="800099"/>
                    </a:lnTo>
                    <a:lnTo>
                      <a:pt x="623978" y="787399"/>
                    </a:lnTo>
                    <a:close/>
                  </a:path>
                  <a:path w="3439795" h="1447800">
                    <a:moveTo>
                      <a:pt x="636939" y="787399"/>
                    </a:moveTo>
                    <a:lnTo>
                      <a:pt x="623978" y="787399"/>
                    </a:lnTo>
                    <a:lnTo>
                      <a:pt x="628298" y="800099"/>
                    </a:lnTo>
                    <a:lnTo>
                      <a:pt x="639100" y="800099"/>
                    </a:lnTo>
                    <a:lnTo>
                      <a:pt x="636939" y="787399"/>
                    </a:lnTo>
                    <a:close/>
                  </a:path>
                  <a:path w="3439795" h="1447800">
                    <a:moveTo>
                      <a:pt x="639100" y="787399"/>
                    </a:moveTo>
                    <a:lnTo>
                      <a:pt x="636939" y="787399"/>
                    </a:lnTo>
                    <a:lnTo>
                      <a:pt x="639100" y="800099"/>
                    </a:lnTo>
                    <a:lnTo>
                      <a:pt x="639100" y="787399"/>
                    </a:lnTo>
                    <a:close/>
                  </a:path>
                  <a:path w="3439795" h="1447800">
                    <a:moveTo>
                      <a:pt x="645580" y="787399"/>
                    </a:moveTo>
                    <a:lnTo>
                      <a:pt x="639100" y="787399"/>
                    </a:lnTo>
                    <a:lnTo>
                      <a:pt x="639100" y="800099"/>
                    </a:lnTo>
                    <a:lnTo>
                      <a:pt x="665022" y="800099"/>
                    </a:lnTo>
                    <a:lnTo>
                      <a:pt x="645580" y="787399"/>
                    </a:lnTo>
                    <a:close/>
                  </a:path>
                  <a:path w="3439795" h="1447800">
                    <a:moveTo>
                      <a:pt x="671503" y="749299"/>
                    </a:moveTo>
                    <a:lnTo>
                      <a:pt x="654221" y="749299"/>
                    </a:lnTo>
                    <a:lnTo>
                      <a:pt x="649901" y="774699"/>
                    </a:lnTo>
                    <a:lnTo>
                      <a:pt x="645580" y="787399"/>
                    </a:lnTo>
                    <a:lnTo>
                      <a:pt x="665022" y="800099"/>
                    </a:lnTo>
                    <a:lnTo>
                      <a:pt x="654221" y="787399"/>
                    </a:lnTo>
                    <a:lnTo>
                      <a:pt x="666102" y="787399"/>
                    </a:lnTo>
                    <a:lnTo>
                      <a:pt x="667182" y="774699"/>
                    </a:lnTo>
                    <a:lnTo>
                      <a:pt x="671503" y="749299"/>
                    </a:lnTo>
                    <a:close/>
                  </a:path>
                  <a:path w="3439795" h="1447800">
                    <a:moveTo>
                      <a:pt x="666102" y="787399"/>
                    </a:moveTo>
                    <a:lnTo>
                      <a:pt x="654221" y="787399"/>
                    </a:lnTo>
                    <a:lnTo>
                      <a:pt x="665022" y="800099"/>
                    </a:lnTo>
                    <a:lnTo>
                      <a:pt x="666102" y="787399"/>
                    </a:lnTo>
                    <a:close/>
                  </a:path>
                  <a:path w="3439795" h="1447800">
                    <a:moveTo>
                      <a:pt x="962952" y="787399"/>
                    </a:moveTo>
                    <a:lnTo>
                      <a:pt x="945760" y="787399"/>
                    </a:lnTo>
                    <a:lnTo>
                      <a:pt x="958632" y="800099"/>
                    </a:lnTo>
                    <a:lnTo>
                      <a:pt x="962952" y="791633"/>
                    </a:lnTo>
                    <a:lnTo>
                      <a:pt x="962952" y="787399"/>
                    </a:lnTo>
                    <a:close/>
                  </a:path>
                  <a:path w="3439795" h="1447800">
                    <a:moveTo>
                      <a:pt x="962952" y="791633"/>
                    </a:moveTo>
                    <a:lnTo>
                      <a:pt x="958632" y="800099"/>
                    </a:lnTo>
                    <a:lnTo>
                      <a:pt x="962952" y="800099"/>
                    </a:lnTo>
                    <a:lnTo>
                      <a:pt x="962952" y="791633"/>
                    </a:lnTo>
                    <a:close/>
                  </a:path>
                  <a:path w="3439795" h="1447800">
                    <a:moveTo>
                      <a:pt x="618848" y="788987"/>
                    </a:moveTo>
                    <a:lnTo>
                      <a:pt x="618577" y="789516"/>
                    </a:lnTo>
                    <a:lnTo>
                      <a:pt x="622358" y="796924"/>
                    </a:lnTo>
                    <a:lnTo>
                      <a:pt x="623978" y="798285"/>
                    </a:lnTo>
                    <a:lnTo>
                      <a:pt x="623978" y="795866"/>
                    </a:lnTo>
                    <a:lnTo>
                      <a:pt x="622898" y="793749"/>
                    </a:lnTo>
                    <a:lnTo>
                      <a:pt x="618848" y="788987"/>
                    </a:lnTo>
                    <a:close/>
                  </a:path>
                  <a:path w="3439795" h="1447800">
                    <a:moveTo>
                      <a:pt x="618577" y="789516"/>
                    </a:moveTo>
                    <a:lnTo>
                      <a:pt x="617497" y="791633"/>
                    </a:lnTo>
                    <a:lnTo>
                      <a:pt x="617497" y="792842"/>
                    </a:lnTo>
                    <a:lnTo>
                      <a:pt x="622358" y="796924"/>
                    </a:lnTo>
                    <a:lnTo>
                      <a:pt x="618577" y="789516"/>
                    </a:lnTo>
                    <a:close/>
                  </a:path>
                  <a:path w="3439795" h="1447800">
                    <a:moveTo>
                      <a:pt x="622898" y="793749"/>
                    </a:moveTo>
                    <a:lnTo>
                      <a:pt x="623978" y="795866"/>
                    </a:lnTo>
                    <a:lnTo>
                      <a:pt x="623978" y="795019"/>
                    </a:lnTo>
                    <a:lnTo>
                      <a:pt x="622898" y="793749"/>
                    </a:lnTo>
                    <a:close/>
                  </a:path>
                  <a:path w="3439795" h="1447800">
                    <a:moveTo>
                      <a:pt x="623978" y="787399"/>
                    </a:moveTo>
                    <a:lnTo>
                      <a:pt x="619658" y="787399"/>
                    </a:lnTo>
                    <a:lnTo>
                      <a:pt x="622898" y="793749"/>
                    </a:lnTo>
                    <a:lnTo>
                      <a:pt x="623978" y="795019"/>
                    </a:lnTo>
                    <a:lnTo>
                      <a:pt x="623978" y="787399"/>
                    </a:lnTo>
                    <a:close/>
                  </a:path>
                  <a:path w="3439795" h="1447800">
                    <a:moveTo>
                      <a:pt x="614506" y="790330"/>
                    </a:moveTo>
                    <a:lnTo>
                      <a:pt x="613177" y="791633"/>
                    </a:lnTo>
                    <a:lnTo>
                      <a:pt x="613177" y="793749"/>
                    </a:lnTo>
                    <a:lnTo>
                      <a:pt x="615141" y="790863"/>
                    </a:lnTo>
                    <a:lnTo>
                      <a:pt x="614506" y="790330"/>
                    </a:lnTo>
                    <a:close/>
                  </a:path>
                  <a:path w="3439795" h="1447800">
                    <a:moveTo>
                      <a:pt x="619658" y="787399"/>
                    </a:moveTo>
                    <a:lnTo>
                      <a:pt x="618848" y="788987"/>
                    </a:lnTo>
                    <a:lnTo>
                      <a:pt x="622898" y="793749"/>
                    </a:lnTo>
                    <a:lnTo>
                      <a:pt x="619658" y="787399"/>
                    </a:lnTo>
                    <a:close/>
                  </a:path>
                  <a:path w="3439795" h="1447800">
                    <a:moveTo>
                      <a:pt x="617497" y="791633"/>
                    </a:moveTo>
                    <a:lnTo>
                      <a:pt x="617065" y="792479"/>
                    </a:lnTo>
                    <a:lnTo>
                      <a:pt x="617497" y="792842"/>
                    </a:lnTo>
                    <a:lnTo>
                      <a:pt x="617497" y="791633"/>
                    </a:lnTo>
                    <a:close/>
                  </a:path>
                  <a:path w="3439795" h="1447800">
                    <a:moveTo>
                      <a:pt x="617497" y="787399"/>
                    </a:moveTo>
                    <a:lnTo>
                      <a:pt x="615141" y="790863"/>
                    </a:lnTo>
                    <a:lnTo>
                      <a:pt x="617065" y="792479"/>
                    </a:lnTo>
                    <a:lnTo>
                      <a:pt x="617497" y="791633"/>
                    </a:lnTo>
                    <a:lnTo>
                      <a:pt x="617497" y="787399"/>
                    </a:lnTo>
                    <a:close/>
                  </a:path>
                  <a:path w="3439795" h="1447800">
                    <a:moveTo>
                      <a:pt x="613177" y="789214"/>
                    </a:moveTo>
                    <a:lnTo>
                      <a:pt x="613177" y="791633"/>
                    </a:lnTo>
                    <a:lnTo>
                      <a:pt x="614506" y="790330"/>
                    </a:lnTo>
                    <a:lnTo>
                      <a:pt x="613177" y="789214"/>
                    </a:lnTo>
                    <a:close/>
                  </a:path>
                  <a:path w="3439795" h="1447800">
                    <a:moveTo>
                      <a:pt x="617497" y="787399"/>
                    </a:moveTo>
                    <a:lnTo>
                      <a:pt x="617497" y="791633"/>
                    </a:lnTo>
                    <a:lnTo>
                      <a:pt x="618577" y="789516"/>
                    </a:lnTo>
                    <a:lnTo>
                      <a:pt x="617497" y="787399"/>
                    </a:lnTo>
                    <a:close/>
                  </a:path>
                  <a:path w="3439795" h="1447800">
                    <a:moveTo>
                      <a:pt x="953722" y="775854"/>
                    </a:moveTo>
                    <a:lnTo>
                      <a:pt x="951071" y="781049"/>
                    </a:lnTo>
                    <a:lnTo>
                      <a:pt x="949991" y="787399"/>
                    </a:lnTo>
                    <a:lnTo>
                      <a:pt x="962952" y="787399"/>
                    </a:lnTo>
                    <a:lnTo>
                      <a:pt x="962952" y="791633"/>
                    </a:lnTo>
                    <a:lnTo>
                      <a:pt x="965112" y="787399"/>
                    </a:lnTo>
                    <a:lnTo>
                      <a:pt x="957911" y="778933"/>
                    </a:lnTo>
                    <a:lnTo>
                      <a:pt x="953722" y="775854"/>
                    </a:lnTo>
                    <a:close/>
                  </a:path>
                  <a:path w="3439795" h="1447800">
                    <a:moveTo>
                      <a:pt x="617497" y="787399"/>
                    </a:moveTo>
                    <a:lnTo>
                      <a:pt x="614506" y="790330"/>
                    </a:lnTo>
                    <a:lnTo>
                      <a:pt x="615141" y="790863"/>
                    </a:lnTo>
                    <a:lnTo>
                      <a:pt x="617497" y="787399"/>
                    </a:lnTo>
                    <a:close/>
                  </a:path>
                  <a:path w="3439795" h="1447800">
                    <a:moveTo>
                      <a:pt x="617497" y="787399"/>
                    </a:moveTo>
                    <a:lnTo>
                      <a:pt x="613177" y="787399"/>
                    </a:lnTo>
                    <a:lnTo>
                      <a:pt x="613177" y="789214"/>
                    </a:lnTo>
                    <a:lnTo>
                      <a:pt x="614506" y="790330"/>
                    </a:lnTo>
                    <a:lnTo>
                      <a:pt x="617497" y="787399"/>
                    </a:lnTo>
                    <a:close/>
                  </a:path>
                  <a:path w="3439795" h="1447800">
                    <a:moveTo>
                      <a:pt x="617497" y="787399"/>
                    </a:moveTo>
                    <a:lnTo>
                      <a:pt x="618577" y="789516"/>
                    </a:lnTo>
                    <a:lnTo>
                      <a:pt x="618848" y="788987"/>
                    </a:lnTo>
                    <a:lnTo>
                      <a:pt x="617497" y="787399"/>
                    </a:lnTo>
                    <a:close/>
                  </a:path>
                  <a:path w="3439795" h="1447800">
                    <a:moveTo>
                      <a:pt x="613177" y="787399"/>
                    </a:moveTo>
                    <a:lnTo>
                      <a:pt x="611017" y="787399"/>
                    </a:lnTo>
                    <a:lnTo>
                      <a:pt x="613177" y="789214"/>
                    </a:lnTo>
                    <a:lnTo>
                      <a:pt x="613177" y="787399"/>
                    </a:lnTo>
                    <a:close/>
                  </a:path>
                  <a:path w="3439795" h="1447800">
                    <a:moveTo>
                      <a:pt x="619658" y="787399"/>
                    </a:moveTo>
                    <a:lnTo>
                      <a:pt x="617497" y="787399"/>
                    </a:lnTo>
                    <a:lnTo>
                      <a:pt x="618848" y="788987"/>
                    </a:lnTo>
                    <a:lnTo>
                      <a:pt x="619658" y="787399"/>
                    </a:lnTo>
                    <a:close/>
                  </a:path>
                  <a:path w="3439795" h="1447800">
                    <a:moveTo>
                      <a:pt x="498775" y="749299"/>
                    </a:moveTo>
                    <a:lnTo>
                      <a:pt x="483654" y="749299"/>
                    </a:lnTo>
                    <a:lnTo>
                      <a:pt x="490135" y="761999"/>
                    </a:lnTo>
                    <a:lnTo>
                      <a:pt x="490135" y="774699"/>
                    </a:lnTo>
                    <a:lnTo>
                      <a:pt x="492295" y="787399"/>
                    </a:lnTo>
                    <a:lnTo>
                      <a:pt x="509577" y="787399"/>
                    </a:lnTo>
                    <a:lnTo>
                      <a:pt x="507416" y="774699"/>
                    </a:lnTo>
                    <a:lnTo>
                      <a:pt x="507416" y="761999"/>
                    </a:lnTo>
                    <a:lnTo>
                      <a:pt x="505256" y="761999"/>
                    </a:lnTo>
                    <a:lnTo>
                      <a:pt x="498775" y="749299"/>
                    </a:lnTo>
                    <a:close/>
                  </a:path>
                  <a:path w="3439795" h="1447800">
                    <a:moveTo>
                      <a:pt x="574293" y="749299"/>
                    </a:moveTo>
                    <a:lnTo>
                      <a:pt x="567902" y="749299"/>
                    </a:lnTo>
                    <a:lnTo>
                      <a:pt x="565742" y="774699"/>
                    </a:lnTo>
                    <a:lnTo>
                      <a:pt x="567902" y="787399"/>
                    </a:lnTo>
                    <a:lnTo>
                      <a:pt x="580774" y="774699"/>
                    </a:lnTo>
                    <a:lnTo>
                      <a:pt x="567902" y="774699"/>
                    </a:lnTo>
                    <a:lnTo>
                      <a:pt x="567902" y="761999"/>
                    </a:lnTo>
                    <a:lnTo>
                      <a:pt x="570063" y="761999"/>
                    </a:lnTo>
                    <a:lnTo>
                      <a:pt x="574293" y="759223"/>
                    </a:lnTo>
                    <a:lnTo>
                      <a:pt x="574293" y="749299"/>
                    </a:lnTo>
                    <a:close/>
                  </a:path>
                  <a:path w="3439795" h="1447800">
                    <a:moveTo>
                      <a:pt x="580774" y="774699"/>
                    </a:moveTo>
                    <a:lnTo>
                      <a:pt x="567902" y="787399"/>
                    </a:lnTo>
                    <a:lnTo>
                      <a:pt x="579136" y="777908"/>
                    </a:lnTo>
                    <a:lnTo>
                      <a:pt x="580774" y="774699"/>
                    </a:lnTo>
                    <a:close/>
                  </a:path>
                  <a:path w="3439795" h="1447800">
                    <a:moveTo>
                      <a:pt x="579136" y="777908"/>
                    </a:moveTo>
                    <a:lnTo>
                      <a:pt x="567902" y="787399"/>
                    </a:lnTo>
                    <a:lnTo>
                      <a:pt x="570063" y="787399"/>
                    </a:lnTo>
                    <a:lnTo>
                      <a:pt x="578583" y="778992"/>
                    </a:lnTo>
                    <a:lnTo>
                      <a:pt x="579136" y="777908"/>
                    </a:lnTo>
                    <a:close/>
                  </a:path>
                  <a:path w="3439795" h="1447800">
                    <a:moveTo>
                      <a:pt x="578583" y="778992"/>
                    </a:moveTo>
                    <a:lnTo>
                      <a:pt x="570063" y="787399"/>
                    </a:lnTo>
                    <a:lnTo>
                      <a:pt x="574293" y="787399"/>
                    </a:lnTo>
                    <a:lnTo>
                      <a:pt x="578583" y="778992"/>
                    </a:lnTo>
                    <a:close/>
                  </a:path>
                  <a:path w="3439795" h="1447800">
                    <a:moveTo>
                      <a:pt x="582012" y="775609"/>
                    </a:moveTo>
                    <a:lnTo>
                      <a:pt x="578583" y="778992"/>
                    </a:lnTo>
                    <a:lnTo>
                      <a:pt x="574293" y="787399"/>
                    </a:lnTo>
                    <a:lnTo>
                      <a:pt x="583432" y="776653"/>
                    </a:lnTo>
                    <a:lnTo>
                      <a:pt x="582012" y="775609"/>
                    </a:lnTo>
                    <a:close/>
                  </a:path>
                  <a:path w="3439795" h="1447800">
                    <a:moveTo>
                      <a:pt x="951071" y="781049"/>
                    </a:moveTo>
                    <a:lnTo>
                      <a:pt x="947830" y="787399"/>
                    </a:lnTo>
                    <a:lnTo>
                      <a:pt x="949991" y="787399"/>
                    </a:lnTo>
                    <a:lnTo>
                      <a:pt x="951071" y="781049"/>
                    </a:lnTo>
                    <a:close/>
                  </a:path>
                  <a:path w="3439795" h="1447800">
                    <a:moveTo>
                      <a:pt x="957911" y="778933"/>
                    </a:moveTo>
                    <a:lnTo>
                      <a:pt x="965112" y="787399"/>
                    </a:lnTo>
                    <a:lnTo>
                      <a:pt x="969433" y="787399"/>
                    </a:lnTo>
                    <a:lnTo>
                      <a:pt x="957911" y="778933"/>
                    </a:lnTo>
                    <a:close/>
                  </a:path>
                  <a:path w="3439795" h="1447800">
                    <a:moveTo>
                      <a:pt x="962952" y="761999"/>
                    </a:moveTo>
                    <a:lnTo>
                      <a:pt x="969433" y="774699"/>
                    </a:lnTo>
                    <a:lnTo>
                      <a:pt x="954311" y="774699"/>
                    </a:lnTo>
                    <a:lnTo>
                      <a:pt x="957911" y="778933"/>
                    </a:lnTo>
                    <a:lnTo>
                      <a:pt x="969433" y="787399"/>
                    </a:lnTo>
                    <a:lnTo>
                      <a:pt x="971593" y="774699"/>
                    </a:lnTo>
                    <a:lnTo>
                      <a:pt x="969001" y="767079"/>
                    </a:lnTo>
                    <a:lnTo>
                      <a:pt x="962952" y="761999"/>
                    </a:lnTo>
                    <a:close/>
                  </a:path>
                  <a:path w="3439795" h="1447800">
                    <a:moveTo>
                      <a:pt x="1001836" y="761999"/>
                    </a:moveTo>
                    <a:lnTo>
                      <a:pt x="995355" y="761999"/>
                    </a:lnTo>
                    <a:lnTo>
                      <a:pt x="984554" y="774699"/>
                    </a:lnTo>
                    <a:lnTo>
                      <a:pt x="986714" y="774699"/>
                    </a:lnTo>
                    <a:lnTo>
                      <a:pt x="993195" y="787399"/>
                    </a:lnTo>
                    <a:lnTo>
                      <a:pt x="1001836" y="761999"/>
                    </a:lnTo>
                    <a:close/>
                  </a:path>
                  <a:path w="3439795" h="1447800">
                    <a:moveTo>
                      <a:pt x="1001836" y="761999"/>
                    </a:moveTo>
                    <a:lnTo>
                      <a:pt x="993195" y="787399"/>
                    </a:lnTo>
                    <a:lnTo>
                      <a:pt x="999676" y="787399"/>
                    </a:lnTo>
                    <a:lnTo>
                      <a:pt x="1008317" y="774699"/>
                    </a:lnTo>
                    <a:lnTo>
                      <a:pt x="1001836" y="761999"/>
                    </a:lnTo>
                    <a:close/>
                  </a:path>
                  <a:path w="3439795" h="1447800">
                    <a:moveTo>
                      <a:pt x="1016957" y="774699"/>
                    </a:moveTo>
                    <a:lnTo>
                      <a:pt x="1008317" y="774699"/>
                    </a:lnTo>
                    <a:lnTo>
                      <a:pt x="999676" y="787399"/>
                    </a:lnTo>
                    <a:lnTo>
                      <a:pt x="1012637" y="787399"/>
                    </a:lnTo>
                    <a:lnTo>
                      <a:pt x="1016957" y="774699"/>
                    </a:lnTo>
                    <a:close/>
                  </a:path>
                  <a:path w="3439795" h="1447800">
                    <a:moveTo>
                      <a:pt x="1023438" y="774699"/>
                    </a:moveTo>
                    <a:lnTo>
                      <a:pt x="1016957" y="774699"/>
                    </a:lnTo>
                    <a:lnTo>
                      <a:pt x="1012637" y="787399"/>
                    </a:lnTo>
                    <a:lnTo>
                      <a:pt x="1021278" y="787399"/>
                    </a:lnTo>
                    <a:lnTo>
                      <a:pt x="1023438" y="774699"/>
                    </a:lnTo>
                    <a:close/>
                  </a:path>
                  <a:path w="3439795" h="1447800">
                    <a:moveTo>
                      <a:pt x="1025598" y="774699"/>
                    </a:moveTo>
                    <a:lnTo>
                      <a:pt x="1023438" y="774699"/>
                    </a:lnTo>
                    <a:lnTo>
                      <a:pt x="1021278" y="787399"/>
                    </a:lnTo>
                    <a:lnTo>
                      <a:pt x="1025598" y="774699"/>
                    </a:lnTo>
                    <a:close/>
                  </a:path>
                  <a:path w="3439795" h="1447800">
                    <a:moveTo>
                      <a:pt x="1038560" y="774699"/>
                    </a:moveTo>
                    <a:lnTo>
                      <a:pt x="1025598" y="774699"/>
                    </a:lnTo>
                    <a:lnTo>
                      <a:pt x="1021278" y="787399"/>
                    </a:lnTo>
                    <a:lnTo>
                      <a:pt x="1038560" y="787399"/>
                    </a:lnTo>
                    <a:lnTo>
                      <a:pt x="1038560" y="774699"/>
                    </a:lnTo>
                    <a:close/>
                  </a:path>
                  <a:path w="3439795" h="1447800">
                    <a:moveTo>
                      <a:pt x="1053681" y="774699"/>
                    </a:moveTo>
                    <a:lnTo>
                      <a:pt x="1038560" y="774699"/>
                    </a:lnTo>
                    <a:lnTo>
                      <a:pt x="1038560" y="787399"/>
                    </a:lnTo>
                    <a:lnTo>
                      <a:pt x="1055841" y="787399"/>
                    </a:lnTo>
                    <a:lnTo>
                      <a:pt x="1053681" y="774699"/>
                    </a:lnTo>
                    <a:close/>
                  </a:path>
                  <a:path w="3439795" h="1447800">
                    <a:moveTo>
                      <a:pt x="1055841" y="774699"/>
                    </a:moveTo>
                    <a:lnTo>
                      <a:pt x="1053681" y="774699"/>
                    </a:lnTo>
                    <a:lnTo>
                      <a:pt x="1055841" y="787399"/>
                    </a:lnTo>
                    <a:lnTo>
                      <a:pt x="1055841" y="774699"/>
                    </a:lnTo>
                    <a:close/>
                  </a:path>
                  <a:path w="3439795" h="1447800">
                    <a:moveTo>
                      <a:pt x="1073123" y="774699"/>
                    </a:moveTo>
                    <a:lnTo>
                      <a:pt x="1055841" y="774699"/>
                    </a:lnTo>
                    <a:lnTo>
                      <a:pt x="1055841" y="787399"/>
                    </a:lnTo>
                    <a:lnTo>
                      <a:pt x="1077443" y="787399"/>
                    </a:lnTo>
                    <a:lnTo>
                      <a:pt x="1073123" y="774699"/>
                    </a:lnTo>
                    <a:close/>
                  </a:path>
                  <a:path w="3439795" h="1447800">
                    <a:moveTo>
                      <a:pt x="1088245" y="761999"/>
                    </a:moveTo>
                    <a:lnTo>
                      <a:pt x="1075283" y="774699"/>
                    </a:lnTo>
                    <a:lnTo>
                      <a:pt x="1073123" y="774699"/>
                    </a:lnTo>
                    <a:lnTo>
                      <a:pt x="1077443" y="787399"/>
                    </a:lnTo>
                    <a:lnTo>
                      <a:pt x="1090405" y="787399"/>
                    </a:lnTo>
                    <a:lnTo>
                      <a:pt x="1086084" y="774699"/>
                    </a:lnTo>
                    <a:lnTo>
                      <a:pt x="1088965" y="770466"/>
                    </a:lnTo>
                    <a:lnTo>
                      <a:pt x="1088245" y="761999"/>
                    </a:lnTo>
                    <a:close/>
                  </a:path>
                  <a:path w="3439795" h="1447800">
                    <a:moveTo>
                      <a:pt x="1088965" y="770466"/>
                    </a:moveTo>
                    <a:lnTo>
                      <a:pt x="1086084" y="774699"/>
                    </a:lnTo>
                    <a:lnTo>
                      <a:pt x="1090405" y="787399"/>
                    </a:lnTo>
                    <a:lnTo>
                      <a:pt x="1088965" y="770466"/>
                    </a:lnTo>
                    <a:close/>
                  </a:path>
                  <a:path w="3439795" h="1447800">
                    <a:moveTo>
                      <a:pt x="1093285" y="764116"/>
                    </a:moveTo>
                    <a:lnTo>
                      <a:pt x="1088978" y="770446"/>
                    </a:lnTo>
                    <a:lnTo>
                      <a:pt x="1090405" y="787399"/>
                    </a:lnTo>
                    <a:lnTo>
                      <a:pt x="1101206" y="787399"/>
                    </a:lnTo>
                    <a:lnTo>
                      <a:pt x="1093285" y="764116"/>
                    </a:lnTo>
                    <a:close/>
                  </a:path>
                  <a:path w="3439795" h="1447800">
                    <a:moveTo>
                      <a:pt x="1094725" y="761999"/>
                    </a:moveTo>
                    <a:lnTo>
                      <a:pt x="1093285" y="764116"/>
                    </a:lnTo>
                    <a:lnTo>
                      <a:pt x="1101206" y="787399"/>
                    </a:lnTo>
                    <a:lnTo>
                      <a:pt x="1094725" y="761999"/>
                    </a:lnTo>
                    <a:close/>
                  </a:path>
                  <a:path w="3439795" h="1447800">
                    <a:moveTo>
                      <a:pt x="1094725" y="761999"/>
                    </a:moveTo>
                    <a:lnTo>
                      <a:pt x="1101206" y="787399"/>
                    </a:lnTo>
                    <a:lnTo>
                      <a:pt x="1103366" y="774699"/>
                    </a:lnTo>
                    <a:lnTo>
                      <a:pt x="1101206" y="774699"/>
                    </a:lnTo>
                    <a:lnTo>
                      <a:pt x="1094725" y="761999"/>
                    </a:lnTo>
                    <a:close/>
                  </a:path>
                  <a:path w="3439795" h="1447800">
                    <a:moveTo>
                      <a:pt x="952151" y="774699"/>
                    </a:moveTo>
                    <a:lnTo>
                      <a:pt x="951071" y="781049"/>
                    </a:lnTo>
                    <a:lnTo>
                      <a:pt x="953722" y="775854"/>
                    </a:lnTo>
                    <a:lnTo>
                      <a:pt x="952151" y="774699"/>
                    </a:lnTo>
                    <a:close/>
                  </a:path>
                  <a:path w="3439795" h="1447800">
                    <a:moveTo>
                      <a:pt x="581929" y="775549"/>
                    </a:moveTo>
                    <a:lnTo>
                      <a:pt x="579136" y="777908"/>
                    </a:lnTo>
                    <a:lnTo>
                      <a:pt x="578583" y="778992"/>
                    </a:lnTo>
                    <a:lnTo>
                      <a:pt x="582012" y="775609"/>
                    </a:lnTo>
                    <a:close/>
                  </a:path>
                  <a:path w="3439795" h="1447800">
                    <a:moveTo>
                      <a:pt x="954311" y="774699"/>
                    </a:moveTo>
                    <a:lnTo>
                      <a:pt x="953722" y="775854"/>
                    </a:lnTo>
                    <a:lnTo>
                      <a:pt x="957911" y="778933"/>
                    </a:lnTo>
                    <a:lnTo>
                      <a:pt x="954311" y="774699"/>
                    </a:lnTo>
                    <a:close/>
                  </a:path>
                  <a:path w="3439795" h="1447800">
                    <a:moveTo>
                      <a:pt x="580774" y="774699"/>
                    </a:moveTo>
                    <a:lnTo>
                      <a:pt x="579136" y="777908"/>
                    </a:lnTo>
                    <a:lnTo>
                      <a:pt x="581929" y="775549"/>
                    </a:lnTo>
                    <a:lnTo>
                      <a:pt x="580774" y="774699"/>
                    </a:lnTo>
                    <a:close/>
                  </a:path>
                  <a:path w="3439795" h="1447800">
                    <a:moveTo>
                      <a:pt x="587254" y="761999"/>
                    </a:moveTo>
                    <a:lnTo>
                      <a:pt x="579707" y="770874"/>
                    </a:lnTo>
                    <a:lnTo>
                      <a:pt x="582934" y="774699"/>
                    </a:lnTo>
                    <a:lnTo>
                      <a:pt x="582012" y="775609"/>
                    </a:lnTo>
                    <a:lnTo>
                      <a:pt x="583432" y="776653"/>
                    </a:lnTo>
                    <a:lnTo>
                      <a:pt x="585094" y="774699"/>
                    </a:lnTo>
                    <a:lnTo>
                      <a:pt x="587254" y="774699"/>
                    </a:lnTo>
                    <a:lnTo>
                      <a:pt x="587254" y="761999"/>
                    </a:lnTo>
                    <a:close/>
                  </a:path>
                  <a:path w="3439795" h="1447800">
                    <a:moveTo>
                      <a:pt x="954311" y="774699"/>
                    </a:moveTo>
                    <a:lnTo>
                      <a:pt x="952151" y="774699"/>
                    </a:lnTo>
                    <a:lnTo>
                      <a:pt x="953722" y="775854"/>
                    </a:lnTo>
                    <a:lnTo>
                      <a:pt x="954311" y="774699"/>
                    </a:lnTo>
                    <a:close/>
                  </a:path>
                  <a:path w="3439795" h="1447800">
                    <a:moveTo>
                      <a:pt x="582934" y="774699"/>
                    </a:moveTo>
                    <a:lnTo>
                      <a:pt x="581929" y="775549"/>
                    </a:lnTo>
                    <a:lnTo>
                      <a:pt x="582934" y="774699"/>
                    </a:lnTo>
                    <a:close/>
                  </a:path>
                  <a:path w="3439795" h="1447800">
                    <a:moveTo>
                      <a:pt x="579707" y="770874"/>
                    </a:moveTo>
                    <a:lnTo>
                      <a:pt x="578623" y="772149"/>
                    </a:lnTo>
                    <a:lnTo>
                      <a:pt x="580774" y="774699"/>
                    </a:lnTo>
                    <a:lnTo>
                      <a:pt x="581929" y="775549"/>
                    </a:lnTo>
                    <a:lnTo>
                      <a:pt x="582934" y="774699"/>
                    </a:lnTo>
                    <a:lnTo>
                      <a:pt x="579707" y="770874"/>
                    </a:lnTo>
                    <a:close/>
                  </a:path>
                  <a:path w="3439795" h="1447800">
                    <a:moveTo>
                      <a:pt x="561422" y="749299"/>
                    </a:moveTo>
                    <a:lnTo>
                      <a:pt x="552781" y="755649"/>
                    </a:lnTo>
                    <a:lnTo>
                      <a:pt x="550621" y="761999"/>
                    </a:lnTo>
                    <a:lnTo>
                      <a:pt x="563582" y="774699"/>
                    </a:lnTo>
                    <a:lnTo>
                      <a:pt x="565742" y="774699"/>
                    </a:lnTo>
                    <a:lnTo>
                      <a:pt x="565742" y="761999"/>
                    </a:lnTo>
                    <a:lnTo>
                      <a:pt x="561422" y="761999"/>
                    </a:lnTo>
                    <a:lnTo>
                      <a:pt x="561422" y="749299"/>
                    </a:lnTo>
                    <a:close/>
                  </a:path>
                  <a:path w="3439795" h="1447800">
                    <a:moveTo>
                      <a:pt x="567902" y="749299"/>
                    </a:moveTo>
                    <a:lnTo>
                      <a:pt x="565742" y="749299"/>
                    </a:lnTo>
                    <a:lnTo>
                      <a:pt x="565742" y="774699"/>
                    </a:lnTo>
                    <a:lnTo>
                      <a:pt x="567902" y="749299"/>
                    </a:lnTo>
                    <a:close/>
                  </a:path>
                  <a:path w="3439795" h="1447800">
                    <a:moveTo>
                      <a:pt x="567902" y="761999"/>
                    </a:moveTo>
                    <a:lnTo>
                      <a:pt x="567902" y="774699"/>
                    </a:lnTo>
                    <a:lnTo>
                      <a:pt x="568977" y="768316"/>
                    </a:lnTo>
                    <a:lnTo>
                      <a:pt x="567902" y="761999"/>
                    </a:lnTo>
                    <a:close/>
                  </a:path>
                  <a:path w="3439795" h="1447800">
                    <a:moveTo>
                      <a:pt x="568983" y="768349"/>
                    </a:moveTo>
                    <a:lnTo>
                      <a:pt x="567902" y="774699"/>
                    </a:lnTo>
                    <a:lnTo>
                      <a:pt x="570063" y="774699"/>
                    </a:lnTo>
                    <a:lnTo>
                      <a:pt x="568983" y="768349"/>
                    </a:lnTo>
                    <a:close/>
                  </a:path>
                  <a:path w="3439795" h="1447800">
                    <a:moveTo>
                      <a:pt x="569517" y="765208"/>
                    </a:moveTo>
                    <a:lnTo>
                      <a:pt x="569209" y="767015"/>
                    </a:lnTo>
                    <a:lnTo>
                      <a:pt x="569098" y="769029"/>
                    </a:lnTo>
                    <a:lnTo>
                      <a:pt x="570063" y="774699"/>
                    </a:lnTo>
                    <a:lnTo>
                      <a:pt x="574293" y="774699"/>
                    </a:lnTo>
                    <a:lnTo>
                      <a:pt x="569517" y="765208"/>
                    </a:lnTo>
                    <a:close/>
                  </a:path>
                  <a:path w="3439795" h="1447800">
                    <a:moveTo>
                      <a:pt x="570063" y="761999"/>
                    </a:moveTo>
                    <a:lnTo>
                      <a:pt x="569517" y="765208"/>
                    </a:lnTo>
                    <a:lnTo>
                      <a:pt x="574293" y="774699"/>
                    </a:lnTo>
                    <a:lnTo>
                      <a:pt x="574293" y="767015"/>
                    </a:lnTo>
                    <a:lnTo>
                      <a:pt x="570063" y="761999"/>
                    </a:lnTo>
                    <a:close/>
                  </a:path>
                  <a:path w="3439795" h="1447800">
                    <a:moveTo>
                      <a:pt x="574293" y="767015"/>
                    </a:moveTo>
                    <a:lnTo>
                      <a:pt x="574293" y="774699"/>
                    </a:lnTo>
                    <a:lnTo>
                      <a:pt x="576736" y="769912"/>
                    </a:lnTo>
                    <a:lnTo>
                      <a:pt x="574293" y="767015"/>
                    </a:lnTo>
                    <a:close/>
                  </a:path>
                  <a:path w="3439795" h="1447800">
                    <a:moveTo>
                      <a:pt x="576736" y="769912"/>
                    </a:moveTo>
                    <a:lnTo>
                      <a:pt x="574293" y="774699"/>
                    </a:lnTo>
                    <a:lnTo>
                      <a:pt x="577187" y="770446"/>
                    </a:lnTo>
                    <a:lnTo>
                      <a:pt x="576736" y="769912"/>
                    </a:lnTo>
                    <a:close/>
                  </a:path>
                  <a:path w="3439795" h="1447800">
                    <a:moveTo>
                      <a:pt x="577187" y="770446"/>
                    </a:moveTo>
                    <a:lnTo>
                      <a:pt x="574293" y="774699"/>
                    </a:lnTo>
                    <a:lnTo>
                      <a:pt x="576453" y="774699"/>
                    </a:lnTo>
                    <a:lnTo>
                      <a:pt x="578623" y="772149"/>
                    </a:lnTo>
                    <a:lnTo>
                      <a:pt x="577187" y="770446"/>
                    </a:lnTo>
                    <a:close/>
                  </a:path>
                  <a:path w="3439795" h="1447800">
                    <a:moveTo>
                      <a:pt x="578623" y="772149"/>
                    </a:moveTo>
                    <a:lnTo>
                      <a:pt x="576453" y="774699"/>
                    </a:lnTo>
                    <a:lnTo>
                      <a:pt x="580774" y="774699"/>
                    </a:lnTo>
                    <a:lnTo>
                      <a:pt x="578623" y="772149"/>
                    </a:lnTo>
                    <a:close/>
                  </a:path>
                  <a:path w="3439795" h="1447800">
                    <a:moveTo>
                      <a:pt x="962952" y="761999"/>
                    </a:moveTo>
                    <a:lnTo>
                      <a:pt x="956471" y="761999"/>
                    </a:lnTo>
                    <a:lnTo>
                      <a:pt x="956471" y="774699"/>
                    </a:lnTo>
                    <a:lnTo>
                      <a:pt x="969433" y="774699"/>
                    </a:lnTo>
                    <a:lnTo>
                      <a:pt x="962952" y="761999"/>
                    </a:lnTo>
                    <a:close/>
                  </a:path>
                  <a:path w="3439795" h="1447800">
                    <a:moveTo>
                      <a:pt x="969001" y="767079"/>
                    </a:moveTo>
                    <a:lnTo>
                      <a:pt x="971593" y="774699"/>
                    </a:lnTo>
                    <a:lnTo>
                      <a:pt x="971593" y="769257"/>
                    </a:lnTo>
                    <a:lnTo>
                      <a:pt x="969001" y="767079"/>
                    </a:lnTo>
                    <a:close/>
                  </a:path>
                  <a:path w="3439795" h="1447800">
                    <a:moveTo>
                      <a:pt x="971593" y="769257"/>
                    </a:moveTo>
                    <a:lnTo>
                      <a:pt x="971593" y="774699"/>
                    </a:lnTo>
                    <a:lnTo>
                      <a:pt x="973753" y="774699"/>
                    </a:lnTo>
                    <a:lnTo>
                      <a:pt x="972025" y="769619"/>
                    </a:lnTo>
                    <a:lnTo>
                      <a:pt x="971593" y="769257"/>
                    </a:lnTo>
                    <a:close/>
                  </a:path>
                  <a:path w="3439795" h="1447800">
                    <a:moveTo>
                      <a:pt x="972025" y="769619"/>
                    </a:moveTo>
                    <a:lnTo>
                      <a:pt x="973753" y="774699"/>
                    </a:lnTo>
                    <a:lnTo>
                      <a:pt x="975913" y="774699"/>
                    </a:lnTo>
                    <a:lnTo>
                      <a:pt x="975913" y="772885"/>
                    </a:lnTo>
                    <a:lnTo>
                      <a:pt x="972025" y="769619"/>
                    </a:lnTo>
                    <a:close/>
                  </a:path>
                  <a:path w="3439795" h="1447800">
                    <a:moveTo>
                      <a:pt x="975913" y="772885"/>
                    </a:moveTo>
                    <a:lnTo>
                      <a:pt x="975913" y="774699"/>
                    </a:lnTo>
                    <a:lnTo>
                      <a:pt x="976057" y="773006"/>
                    </a:lnTo>
                    <a:lnTo>
                      <a:pt x="975913" y="772885"/>
                    </a:lnTo>
                    <a:close/>
                  </a:path>
                  <a:path w="3439795" h="1447800">
                    <a:moveTo>
                      <a:pt x="976057" y="773006"/>
                    </a:moveTo>
                    <a:lnTo>
                      <a:pt x="975913" y="774699"/>
                    </a:lnTo>
                    <a:lnTo>
                      <a:pt x="976699" y="773545"/>
                    </a:lnTo>
                    <a:lnTo>
                      <a:pt x="976057" y="773006"/>
                    </a:lnTo>
                    <a:close/>
                  </a:path>
                  <a:path w="3439795" h="1447800">
                    <a:moveTo>
                      <a:pt x="976699" y="773545"/>
                    </a:moveTo>
                    <a:lnTo>
                      <a:pt x="975913" y="774699"/>
                    </a:lnTo>
                    <a:lnTo>
                      <a:pt x="978073" y="774699"/>
                    </a:lnTo>
                    <a:lnTo>
                      <a:pt x="976699" y="773545"/>
                    </a:lnTo>
                    <a:close/>
                  </a:path>
                  <a:path w="3439795" h="1447800">
                    <a:moveTo>
                      <a:pt x="976993" y="773112"/>
                    </a:moveTo>
                    <a:lnTo>
                      <a:pt x="976699" y="773545"/>
                    </a:lnTo>
                    <a:lnTo>
                      <a:pt x="978073" y="774699"/>
                    </a:lnTo>
                    <a:lnTo>
                      <a:pt x="976993" y="773112"/>
                    </a:lnTo>
                    <a:close/>
                  </a:path>
                  <a:path w="3439795" h="1447800">
                    <a:moveTo>
                      <a:pt x="978073" y="771524"/>
                    </a:moveTo>
                    <a:lnTo>
                      <a:pt x="977148" y="772885"/>
                    </a:lnTo>
                    <a:lnTo>
                      <a:pt x="977113" y="773288"/>
                    </a:lnTo>
                    <a:lnTo>
                      <a:pt x="978073" y="774699"/>
                    </a:lnTo>
                    <a:lnTo>
                      <a:pt x="978073" y="771524"/>
                    </a:lnTo>
                    <a:close/>
                  </a:path>
                  <a:path w="3439795" h="1447800">
                    <a:moveTo>
                      <a:pt x="984554" y="761999"/>
                    </a:moveTo>
                    <a:lnTo>
                      <a:pt x="978073" y="771524"/>
                    </a:lnTo>
                    <a:lnTo>
                      <a:pt x="978073" y="774699"/>
                    </a:lnTo>
                    <a:lnTo>
                      <a:pt x="980234" y="774699"/>
                    </a:lnTo>
                    <a:lnTo>
                      <a:pt x="984554" y="761999"/>
                    </a:lnTo>
                    <a:close/>
                  </a:path>
                  <a:path w="3439795" h="1447800">
                    <a:moveTo>
                      <a:pt x="993195" y="761999"/>
                    </a:moveTo>
                    <a:lnTo>
                      <a:pt x="984554" y="761999"/>
                    </a:lnTo>
                    <a:lnTo>
                      <a:pt x="980234" y="774699"/>
                    </a:lnTo>
                    <a:lnTo>
                      <a:pt x="984554" y="774699"/>
                    </a:lnTo>
                    <a:lnTo>
                      <a:pt x="993195" y="761999"/>
                    </a:lnTo>
                    <a:close/>
                  </a:path>
                  <a:path w="3439795" h="1447800">
                    <a:moveTo>
                      <a:pt x="995355" y="761999"/>
                    </a:moveTo>
                    <a:lnTo>
                      <a:pt x="993195" y="761999"/>
                    </a:lnTo>
                    <a:lnTo>
                      <a:pt x="984554" y="774699"/>
                    </a:lnTo>
                    <a:lnTo>
                      <a:pt x="995355" y="761999"/>
                    </a:lnTo>
                    <a:close/>
                  </a:path>
                  <a:path w="3439795" h="1447800">
                    <a:moveTo>
                      <a:pt x="1094725" y="761999"/>
                    </a:moveTo>
                    <a:lnTo>
                      <a:pt x="1101206" y="774699"/>
                    </a:lnTo>
                    <a:lnTo>
                      <a:pt x="1107686" y="774699"/>
                    </a:lnTo>
                    <a:lnTo>
                      <a:pt x="1094725" y="761999"/>
                    </a:lnTo>
                    <a:close/>
                  </a:path>
                  <a:path w="3439795" h="1447800">
                    <a:moveTo>
                      <a:pt x="1107686" y="761999"/>
                    </a:moveTo>
                    <a:lnTo>
                      <a:pt x="1094725" y="761999"/>
                    </a:lnTo>
                    <a:lnTo>
                      <a:pt x="1107686" y="774699"/>
                    </a:lnTo>
                    <a:lnTo>
                      <a:pt x="1109847" y="774699"/>
                    </a:lnTo>
                    <a:lnTo>
                      <a:pt x="1107686" y="761999"/>
                    </a:lnTo>
                    <a:close/>
                  </a:path>
                  <a:path w="3439795" h="1447800">
                    <a:moveTo>
                      <a:pt x="1107686" y="761999"/>
                    </a:moveTo>
                    <a:lnTo>
                      <a:pt x="1109847" y="774699"/>
                    </a:lnTo>
                    <a:lnTo>
                      <a:pt x="1112007" y="774699"/>
                    </a:lnTo>
                    <a:lnTo>
                      <a:pt x="1107686" y="761999"/>
                    </a:lnTo>
                    <a:close/>
                  </a:path>
                  <a:path w="3439795" h="1447800">
                    <a:moveTo>
                      <a:pt x="1109847" y="761999"/>
                    </a:moveTo>
                    <a:lnTo>
                      <a:pt x="1107686" y="761999"/>
                    </a:lnTo>
                    <a:lnTo>
                      <a:pt x="1112007" y="774699"/>
                    </a:lnTo>
                    <a:lnTo>
                      <a:pt x="1118488" y="774699"/>
                    </a:lnTo>
                    <a:lnTo>
                      <a:pt x="1109847" y="761999"/>
                    </a:lnTo>
                    <a:close/>
                  </a:path>
                  <a:path w="3439795" h="1447800">
                    <a:moveTo>
                      <a:pt x="1112007" y="761999"/>
                    </a:moveTo>
                    <a:lnTo>
                      <a:pt x="1109847" y="761999"/>
                    </a:lnTo>
                    <a:lnTo>
                      <a:pt x="1118488" y="774699"/>
                    </a:lnTo>
                    <a:lnTo>
                      <a:pt x="1118488" y="767442"/>
                    </a:lnTo>
                    <a:lnTo>
                      <a:pt x="1112007" y="761999"/>
                    </a:lnTo>
                    <a:close/>
                  </a:path>
                  <a:path w="3439795" h="1447800">
                    <a:moveTo>
                      <a:pt x="1118488" y="767442"/>
                    </a:moveTo>
                    <a:lnTo>
                      <a:pt x="1118488" y="774699"/>
                    </a:lnTo>
                    <a:lnTo>
                      <a:pt x="1127128" y="774699"/>
                    </a:lnTo>
                    <a:lnTo>
                      <a:pt x="1118488" y="767442"/>
                    </a:lnTo>
                    <a:close/>
                  </a:path>
                  <a:path w="3439795" h="1447800">
                    <a:moveTo>
                      <a:pt x="1118488" y="766762"/>
                    </a:moveTo>
                    <a:lnTo>
                      <a:pt x="1118488" y="767442"/>
                    </a:lnTo>
                    <a:lnTo>
                      <a:pt x="1127128" y="774699"/>
                    </a:lnTo>
                    <a:lnTo>
                      <a:pt x="1120603" y="768316"/>
                    </a:lnTo>
                    <a:lnTo>
                      <a:pt x="1118488" y="766762"/>
                    </a:lnTo>
                    <a:close/>
                  </a:path>
                  <a:path w="3439795" h="1447800">
                    <a:moveTo>
                      <a:pt x="1120648" y="768349"/>
                    </a:moveTo>
                    <a:lnTo>
                      <a:pt x="1127128" y="774699"/>
                    </a:lnTo>
                    <a:lnTo>
                      <a:pt x="1127368" y="773288"/>
                    </a:lnTo>
                    <a:lnTo>
                      <a:pt x="1120648" y="768349"/>
                    </a:lnTo>
                    <a:close/>
                  </a:path>
                  <a:path w="3439795" h="1447800">
                    <a:moveTo>
                      <a:pt x="1127368" y="773288"/>
                    </a:moveTo>
                    <a:lnTo>
                      <a:pt x="1127128" y="774699"/>
                    </a:lnTo>
                    <a:lnTo>
                      <a:pt x="1129289" y="774699"/>
                    </a:lnTo>
                    <a:lnTo>
                      <a:pt x="1127368" y="773288"/>
                    </a:lnTo>
                    <a:close/>
                  </a:path>
                  <a:path w="3439795" h="1447800">
                    <a:moveTo>
                      <a:pt x="1127488" y="772583"/>
                    </a:moveTo>
                    <a:lnTo>
                      <a:pt x="1127368" y="773288"/>
                    </a:lnTo>
                    <a:lnTo>
                      <a:pt x="1129289" y="774699"/>
                    </a:lnTo>
                    <a:lnTo>
                      <a:pt x="1127488" y="772583"/>
                    </a:lnTo>
                    <a:close/>
                  </a:path>
                  <a:path w="3439795" h="1447800">
                    <a:moveTo>
                      <a:pt x="1127849" y="770466"/>
                    </a:moveTo>
                    <a:lnTo>
                      <a:pt x="1127488" y="772583"/>
                    </a:lnTo>
                    <a:lnTo>
                      <a:pt x="1129289" y="774699"/>
                    </a:lnTo>
                    <a:lnTo>
                      <a:pt x="1127849" y="770466"/>
                    </a:lnTo>
                    <a:close/>
                  </a:path>
                  <a:path w="3439795" h="1447800">
                    <a:moveTo>
                      <a:pt x="1133609" y="761999"/>
                    </a:moveTo>
                    <a:lnTo>
                      <a:pt x="1129289" y="761999"/>
                    </a:lnTo>
                    <a:lnTo>
                      <a:pt x="1127849" y="770466"/>
                    </a:lnTo>
                    <a:lnTo>
                      <a:pt x="1129289" y="774699"/>
                    </a:lnTo>
                    <a:lnTo>
                      <a:pt x="1133609" y="761999"/>
                    </a:lnTo>
                    <a:close/>
                  </a:path>
                  <a:path w="3439795" h="1447800">
                    <a:moveTo>
                      <a:pt x="976153" y="771877"/>
                    </a:moveTo>
                    <a:lnTo>
                      <a:pt x="976183" y="773112"/>
                    </a:lnTo>
                    <a:lnTo>
                      <a:pt x="976699" y="773545"/>
                    </a:lnTo>
                    <a:lnTo>
                      <a:pt x="976873" y="773288"/>
                    </a:lnTo>
                    <a:lnTo>
                      <a:pt x="976839" y="772885"/>
                    </a:lnTo>
                    <a:lnTo>
                      <a:pt x="976153" y="771877"/>
                    </a:lnTo>
                    <a:close/>
                  </a:path>
                  <a:path w="3439795" h="1447800">
                    <a:moveTo>
                      <a:pt x="1118488" y="761999"/>
                    </a:moveTo>
                    <a:lnTo>
                      <a:pt x="1118488" y="766233"/>
                    </a:lnTo>
                    <a:lnTo>
                      <a:pt x="1120648" y="768349"/>
                    </a:lnTo>
                    <a:lnTo>
                      <a:pt x="1127368" y="773288"/>
                    </a:lnTo>
                    <a:lnTo>
                      <a:pt x="1127488" y="772583"/>
                    </a:lnTo>
                    <a:lnTo>
                      <a:pt x="1118488" y="761999"/>
                    </a:lnTo>
                    <a:close/>
                  </a:path>
                  <a:path w="3439795" h="1447800">
                    <a:moveTo>
                      <a:pt x="978073" y="749299"/>
                    </a:moveTo>
                    <a:lnTo>
                      <a:pt x="976153" y="771877"/>
                    </a:lnTo>
                    <a:lnTo>
                      <a:pt x="976993" y="773112"/>
                    </a:lnTo>
                    <a:lnTo>
                      <a:pt x="978073" y="771524"/>
                    </a:lnTo>
                    <a:lnTo>
                      <a:pt x="978073" y="749299"/>
                    </a:lnTo>
                    <a:close/>
                  </a:path>
                  <a:path w="3439795" h="1447800">
                    <a:moveTo>
                      <a:pt x="975913" y="771524"/>
                    </a:moveTo>
                    <a:lnTo>
                      <a:pt x="975913" y="772885"/>
                    </a:lnTo>
                    <a:lnTo>
                      <a:pt x="976057" y="773006"/>
                    </a:lnTo>
                    <a:lnTo>
                      <a:pt x="976153" y="771877"/>
                    </a:lnTo>
                    <a:lnTo>
                      <a:pt x="975913" y="771524"/>
                    </a:lnTo>
                    <a:close/>
                  </a:path>
                  <a:path w="3439795" h="1447800">
                    <a:moveTo>
                      <a:pt x="971593" y="765174"/>
                    </a:moveTo>
                    <a:lnTo>
                      <a:pt x="971593" y="768349"/>
                    </a:lnTo>
                    <a:lnTo>
                      <a:pt x="972025" y="769619"/>
                    </a:lnTo>
                    <a:lnTo>
                      <a:pt x="975913" y="772885"/>
                    </a:lnTo>
                    <a:lnTo>
                      <a:pt x="975913" y="771524"/>
                    </a:lnTo>
                    <a:lnTo>
                      <a:pt x="971593" y="765174"/>
                    </a:lnTo>
                    <a:close/>
                  </a:path>
                  <a:path w="3439795" h="1447800">
                    <a:moveTo>
                      <a:pt x="1120648" y="749299"/>
                    </a:moveTo>
                    <a:lnTo>
                      <a:pt x="1118488" y="761999"/>
                    </a:lnTo>
                    <a:lnTo>
                      <a:pt x="1127488" y="772583"/>
                    </a:lnTo>
                    <a:lnTo>
                      <a:pt x="1127842" y="770446"/>
                    </a:lnTo>
                    <a:lnTo>
                      <a:pt x="1120648" y="749299"/>
                    </a:lnTo>
                    <a:close/>
                  </a:path>
                  <a:path w="3439795" h="1447800">
                    <a:moveTo>
                      <a:pt x="578151" y="769029"/>
                    </a:moveTo>
                    <a:lnTo>
                      <a:pt x="577187" y="770446"/>
                    </a:lnTo>
                    <a:lnTo>
                      <a:pt x="578623" y="772149"/>
                    </a:lnTo>
                    <a:lnTo>
                      <a:pt x="579707" y="770874"/>
                    </a:lnTo>
                    <a:lnTo>
                      <a:pt x="578151" y="769029"/>
                    </a:lnTo>
                    <a:close/>
                  </a:path>
                  <a:path w="3439795" h="1447800">
                    <a:moveTo>
                      <a:pt x="978073" y="749299"/>
                    </a:moveTo>
                    <a:lnTo>
                      <a:pt x="975913" y="749299"/>
                    </a:lnTo>
                    <a:lnTo>
                      <a:pt x="975913" y="771524"/>
                    </a:lnTo>
                    <a:lnTo>
                      <a:pt x="976153" y="771877"/>
                    </a:lnTo>
                    <a:lnTo>
                      <a:pt x="978073" y="749299"/>
                    </a:lnTo>
                    <a:close/>
                  </a:path>
                  <a:path w="3439795" h="1447800">
                    <a:moveTo>
                      <a:pt x="975913" y="749299"/>
                    </a:moveTo>
                    <a:lnTo>
                      <a:pt x="973753" y="749299"/>
                    </a:lnTo>
                    <a:lnTo>
                      <a:pt x="971593" y="755649"/>
                    </a:lnTo>
                    <a:lnTo>
                      <a:pt x="971616" y="765208"/>
                    </a:lnTo>
                    <a:lnTo>
                      <a:pt x="975913" y="771524"/>
                    </a:lnTo>
                    <a:lnTo>
                      <a:pt x="975913" y="749299"/>
                    </a:lnTo>
                    <a:close/>
                  </a:path>
                  <a:path w="3439795" h="1447800">
                    <a:moveTo>
                      <a:pt x="980234" y="749299"/>
                    </a:moveTo>
                    <a:lnTo>
                      <a:pt x="978073" y="749299"/>
                    </a:lnTo>
                    <a:lnTo>
                      <a:pt x="978073" y="771524"/>
                    </a:lnTo>
                    <a:lnTo>
                      <a:pt x="984554" y="761999"/>
                    </a:lnTo>
                    <a:lnTo>
                      <a:pt x="980234" y="749299"/>
                    </a:lnTo>
                    <a:close/>
                  </a:path>
                  <a:path w="3439795" h="1447800">
                    <a:moveTo>
                      <a:pt x="587254" y="761999"/>
                    </a:moveTo>
                    <a:lnTo>
                      <a:pt x="582934" y="761999"/>
                    </a:lnTo>
                    <a:lnTo>
                      <a:pt x="578151" y="769029"/>
                    </a:lnTo>
                    <a:lnTo>
                      <a:pt x="579707" y="770874"/>
                    </a:lnTo>
                    <a:lnTo>
                      <a:pt x="587254" y="761999"/>
                    </a:lnTo>
                    <a:close/>
                  </a:path>
                  <a:path w="3439795" h="1447800">
                    <a:moveTo>
                      <a:pt x="1120648" y="749299"/>
                    </a:moveTo>
                    <a:lnTo>
                      <a:pt x="1127849" y="770466"/>
                    </a:lnTo>
                    <a:lnTo>
                      <a:pt x="1129289" y="761999"/>
                    </a:lnTo>
                    <a:lnTo>
                      <a:pt x="1133609" y="761999"/>
                    </a:lnTo>
                    <a:lnTo>
                      <a:pt x="1120648" y="749299"/>
                    </a:lnTo>
                    <a:close/>
                  </a:path>
                  <a:path w="3439795" h="1447800">
                    <a:moveTo>
                      <a:pt x="577550" y="768316"/>
                    </a:moveTo>
                    <a:lnTo>
                      <a:pt x="576736" y="769912"/>
                    </a:lnTo>
                    <a:lnTo>
                      <a:pt x="577187" y="770446"/>
                    </a:lnTo>
                    <a:lnTo>
                      <a:pt x="578151" y="769029"/>
                    </a:lnTo>
                    <a:lnTo>
                      <a:pt x="577550" y="768316"/>
                    </a:lnTo>
                    <a:close/>
                  </a:path>
                  <a:path w="3439795" h="1447800">
                    <a:moveTo>
                      <a:pt x="574293" y="764454"/>
                    </a:moveTo>
                    <a:lnTo>
                      <a:pt x="574347" y="767079"/>
                    </a:lnTo>
                    <a:lnTo>
                      <a:pt x="576736" y="769912"/>
                    </a:lnTo>
                    <a:lnTo>
                      <a:pt x="577550" y="768316"/>
                    </a:lnTo>
                    <a:lnTo>
                      <a:pt x="574293" y="764454"/>
                    </a:lnTo>
                    <a:close/>
                  </a:path>
                  <a:path w="3439795" h="1447800">
                    <a:moveTo>
                      <a:pt x="971593" y="768349"/>
                    </a:moveTo>
                    <a:lnTo>
                      <a:pt x="971593" y="769257"/>
                    </a:lnTo>
                    <a:lnTo>
                      <a:pt x="972025" y="769619"/>
                    </a:lnTo>
                    <a:lnTo>
                      <a:pt x="971593" y="768349"/>
                    </a:lnTo>
                    <a:close/>
                  </a:path>
                  <a:path w="3439795" h="1447800">
                    <a:moveTo>
                      <a:pt x="969433" y="761999"/>
                    </a:moveTo>
                    <a:lnTo>
                      <a:pt x="967272" y="761999"/>
                    </a:lnTo>
                    <a:lnTo>
                      <a:pt x="969001" y="767079"/>
                    </a:lnTo>
                    <a:lnTo>
                      <a:pt x="971593" y="769257"/>
                    </a:lnTo>
                    <a:lnTo>
                      <a:pt x="971582" y="768316"/>
                    </a:lnTo>
                    <a:lnTo>
                      <a:pt x="969433" y="761999"/>
                    </a:lnTo>
                    <a:close/>
                  </a:path>
                  <a:path w="3439795" h="1447800">
                    <a:moveTo>
                      <a:pt x="581096" y="754759"/>
                    </a:moveTo>
                    <a:lnTo>
                      <a:pt x="579739" y="755649"/>
                    </a:lnTo>
                    <a:lnTo>
                      <a:pt x="579717" y="755785"/>
                    </a:lnTo>
                    <a:lnTo>
                      <a:pt x="580774" y="761999"/>
                    </a:lnTo>
                    <a:lnTo>
                      <a:pt x="577550" y="768316"/>
                    </a:lnTo>
                    <a:lnTo>
                      <a:pt x="578151" y="769029"/>
                    </a:lnTo>
                    <a:lnTo>
                      <a:pt x="582934" y="761999"/>
                    </a:lnTo>
                    <a:lnTo>
                      <a:pt x="587254" y="761999"/>
                    </a:lnTo>
                    <a:lnTo>
                      <a:pt x="581096" y="754759"/>
                    </a:lnTo>
                    <a:close/>
                  </a:path>
                  <a:path w="3439795" h="1447800">
                    <a:moveTo>
                      <a:pt x="567902" y="761999"/>
                    </a:moveTo>
                    <a:lnTo>
                      <a:pt x="568983" y="768349"/>
                    </a:lnTo>
                    <a:lnTo>
                      <a:pt x="569517" y="765208"/>
                    </a:lnTo>
                    <a:lnTo>
                      <a:pt x="567902" y="761999"/>
                    </a:lnTo>
                    <a:close/>
                  </a:path>
                  <a:path w="3439795" h="1447800">
                    <a:moveTo>
                      <a:pt x="969433" y="761999"/>
                    </a:moveTo>
                    <a:lnTo>
                      <a:pt x="971593" y="768349"/>
                    </a:lnTo>
                    <a:lnTo>
                      <a:pt x="971593" y="765174"/>
                    </a:lnTo>
                    <a:lnTo>
                      <a:pt x="969433" y="761999"/>
                    </a:lnTo>
                    <a:close/>
                  </a:path>
                  <a:path w="3439795" h="1447800">
                    <a:moveTo>
                      <a:pt x="1118488" y="766233"/>
                    </a:moveTo>
                    <a:lnTo>
                      <a:pt x="1118488" y="766762"/>
                    </a:lnTo>
                    <a:lnTo>
                      <a:pt x="1120648" y="768349"/>
                    </a:lnTo>
                    <a:lnTo>
                      <a:pt x="1118488" y="766233"/>
                    </a:lnTo>
                    <a:close/>
                  </a:path>
                  <a:path w="3439795" h="1447800">
                    <a:moveTo>
                      <a:pt x="578087" y="756734"/>
                    </a:moveTo>
                    <a:lnTo>
                      <a:pt x="574293" y="759223"/>
                    </a:lnTo>
                    <a:lnTo>
                      <a:pt x="574293" y="764454"/>
                    </a:lnTo>
                    <a:lnTo>
                      <a:pt x="577550" y="768316"/>
                    </a:lnTo>
                    <a:lnTo>
                      <a:pt x="580774" y="761999"/>
                    </a:lnTo>
                    <a:lnTo>
                      <a:pt x="578087" y="756734"/>
                    </a:lnTo>
                    <a:close/>
                  </a:path>
                  <a:path w="3439795" h="1447800">
                    <a:moveTo>
                      <a:pt x="1112007" y="761999"/>
                    </a:moveTo>
                    <a:lnTo>
                      <a:pt x="1118488" y="767442"/>
                    </a:lnTo>
                    <a:lnTo>
                      <a:pt x="1118488" y="766762"/>
                    </a:lnTo>
                    <a:lnTo>
                      <a:pt x="1112007" y="761999"/>
                    </a:lnTo>
                    <a:close/>
                  </a:path>
                  <a:path w="3439795" h="1447800">
                    <a:moveTo>
                      <a:pt x="971593" y="749299"/>
                    </a:moveTo>
                    <a:lnTo>
                      <a:pt x="969433" y="749299"/>
                    </a:lnTo>
                    <a:lnTo>
                      <a:pt x="962952" y="761999"/>
                    </a:lnTo>
                    <a:lnTo>
                      <a:pt x="969001" y="767079"/>
                    </a:lnTo>
                    <a:lnTo>
                      <a:pt x="967272" y="761999"/>
                    </a:lnTo>
                    <a:lnTo>
                      <a:pt x="969433" y="761999"/>
                    </a:lnTo>
                    <a:lnTo>
                      <a:pt x="971593" y="749299"/>
                    </a:lnTo>
                    <a:close/>
                  </a:path>
                  <a:path w="3439795" h="1447800">
                    <a:moveTo>
                      <a:pt x="574293" y="759223"/>
                    </a:moveTo>
                    <a:lnTo>
                      <a:pt x="570063" y="761999"/>
                    </a:lnTo>
                    <a:lnTo>
                      <a:pt x="574293" y="767015"/>
                    </a:lnTo>
                    <a:lnTo>
                      <a:pt x="574293" y="764454"/>
                    </a:lnTo>
                    <a:lnTo>
                      <a:pt x="572223" y="761999"/>
                    </a:lnTo>
                    <a:lnTo>
                      <a:pt x="574293" y="761999"/>
                    </a:lnTo>
                    <a:lnTo>
                      <a:pt x="574293" y="759223"/>
                    </a:lnTo>
                    <a:close/>
                  </a:path>
                  <a:path w="3439795" h="1447800">
                    <a:moveTo>
                      <a:pt x="1114167" y="761999"/>
                    </a:moveTo>
                    <a:lnTo>
                      <a:pt x="1112007" y="761999"/>
                    </a:lnTo>
                    <a:lnTo>
                      <a:pt x="1118488" y="766762"/>
                    </a:lnTo>
                    <a:lnTo>
                      <a:pt x="1118488" y="766233"/>
                    </a:lnTo>
                    <a:lnTo>
                      <a:pt x="1114167" y="761999"/>
                    </a:lnTo>
                    <a:close/>
                  </a:path>
                  <a:path w="3439795" h="1447800">
                    <a:moveTo>
                      <a:pt x="1120648" y="749299"/>
                    </a:moveTo>
                    <a:lnTo>
                      <a:pt x="1114167" y="761999"/>
                    </a:lnTo>
                    <a:lnTo>
                      <a:pt x="1118488" y="766233"/>
                    </a:lnTo>
                    <a:lnTo>
                      <a:pt x="1118488" y="761999"/>
                    </a:lnTo>
                    <a:lnTo>
                      <a:pt x="1120648" y="749299"/>
                    </a:lnTo>
                    <a:close/>
                  </a:path>
                  <a:path w="3439795" h="1447800">
                    <a:moveTo>
                      <a:pt x="570063" y="761999"/>
                    </a:moveTo>
                    <a:lnTo>
                      <a:pt x="567902" y="761999"/>
                    </a:lnTo>
                    <a:lnTo>
                      <a:pt x="569517" y="765208"/>
                    </a:lnTo>
                    <a:lnTo>
                      <a:pt x="570063" y="761999"/>
                    </a:lnTo>
                    <a:close/>
                  </a:path>
                  <a:path w="3439795" h="1447800">
                    <a:moveTo>
                      <a:pt x="971593" y="755649"/>
                    </a:moveTo>
                    <a:lnTo>
                      <a:pt x="969433" y="761999"/>
                    </a:lnTo>
                    <a:lnTo>
                      <a:pt x="971593" y="765174"/>
                    </a:lnTo>
                    <a:lnTo>
                      <a:pt x="971593" y="755649"/>
                    </a:lnTo>
                    <a:close/>
                  </a:path>
                  <a:path w="3439795" h="1447800">
                    <a:moveTo>
                      <a:pt x="574293" y="761999"/>
                    </a:moveTo>
                    <a:lnTo>
                      <a:pt x="572223" y="761999"/>
                    </a:lnTo>
                    <a:lnTo>
                      <a:pt x="574293" y="764454"/>
                    </a:lnTo>
                    <a:lnTo>
                      <a:pt x="574293" y="761999"/>
                    </a:lnTo>
                    <a:close/>
                  </a:path>
                  <a:path w="3439795" h="1447800">
                    <a:moveTo>
                      <a:pt x="1094725" y="761999"/>
                    </a:moveTo>
                    <a:lnTo>
                      <a:pt x="1092565" y="761999"/>
                    </a:lnTo>
                    <a:lnTo>
                      <a:pt x="1093285" y="764116"/>
                    </a:lnTo>
                    <a:lnTo>
                      <a:pt x="1094725" y="761999"/>
                    </a:lnTo>
                    <a:close/>
                  </a:path>
                  <a:path w="3439795" h="1447800">
                    <a:moveTo>
                      <a:pt x="544140" y="746124"/>
                    </a:moveTo>
                    <a:lnTo>
                      <a:pt x="539820" y="749299"/>
                    </a:lnTo>
                    <a:lnTo>
                      <a:pt x="544140" y="761999"/>
                    </a:lnTo>
                    <a:lnTo>
                      <a:pt x="544140" y="749299"/>
                    </a:lnTo>
                    <a:lnTo>
                      <a:pt x="545340" y="747888"/>
                    </a:lnTo>
                    <a:lnTo>
                      <a:pt x="544140" y="746124"/>
                    </a:lnTo>
                    <a:close/>
                  </a:path>
                  <a:path w="3439795" h="1447800">
                    <a:moveTo>
                      <a:pt x="545340" y="747888"/>
                    </a:moveTo>
                    <a:lnTo>
                      <a:pt x="544140" y="749299"/>
                    </a:lnTo>
                    <a:lnTo>
                      <a:pt x="544140" y="761999"/>
                    </a:lnTo>
                    <a:lnTo>
                      <a:pt x="552781" y="755649"/>
                    </a:lnTo>
                    <a:lnTo>
                      <a:pt x="554941" y="749299"/>
                    </a:lnTo>
                    <a:lnTo>
                      <a:pt x="546300" y="749299"/>
                    </a:lnTo>
                    <a:lnTo>
                      <a:pt x="545340" y="747888"/>
                    </a:lnTo>
                    <a:close/>
                  </a:path>
                  <a:path w="3439795" h="1447800">
                    <a:moveTo>
                      <a:pt x="552781" y="755649"/>
                    </a:moveTo>
                    <a:lnTo>
                      <a:pt x="544140" y="761999"/>
                    </a:lnTo>
                    <a:lnTo>
                      <a:pt x="550621" y="761999"/>
                    </a:lnTo>
                    <a:lnTo>
                      <a:pt x="552781" y="755649"/>
                    </a:lnTo>
                    <a:close/>
                  </a:path>
                  <a:path w="3439795" h="1447800">
                    <a:moveTo>
                      <a:pt x="565742" y="749299"/>
                    </a:moveTo>
                    <a:lnTo>
                      <a:pt x="561422" y="749299"/>
                    </a:lnTo>
                    <a:lnTo>
                      <a:pt x="561422" y="761999"/>
                    </a:lnTo>
                    <a:lnTo>
                      <a:pt x="565742" y="761999"/>
                    </a:lnTo>
                    <a:lnTo>
                      <a:pt x="565742" y="749299"/>
                    </a:lnTo>
                    <a:close/>
                  </a:path>
                  <a:path w="3439795" h="1447800">
                    <a:moveTo>
                      <a:pt x="579698" y="755676"/>
                    </a:moveTo>
                    <a:lnTo>
                      <a:pt x="578087" y="756734"/>
                    </a:lnTo>
                    <a:lnTo>
                      <a:pt x="580774" y="761999"/>
                    </a:lnTo>
                    <a:lnTo>
                      <a:pt x="579698" y="755676"/>
                    </a:lnTo>
                    <a:close/>
                  </a:path>
                  <a:path w="3439795" h="1447800">
                    <a:moveTo>
                      <a:pt x="587254" y="750717"/>
                    </a:moveTo>
                    <a:lnTo>
                      <a:pt x="581096" y="754759"/>
                    </a:lnTo>
                    <a:lnTo>
                      <a:pt x="587254" y="761999"/>
                    </a:lnTo>
                    <a:lnTo>
                      <a:pt x="587254" y="750717"/>
                    </a:lnTo>
                    <a:close/>
                  </a:path>
                  <a:path w="3439795" h="1447800">
                    <a:moveTo>
                      <a:pt x="969433" y="749299"/>
                    </a:moveTo>
                    <a:lnTo>
                      <a:pt x="965112" y="749299"/>
                    </a:lnTo>
                    <a:lnTo>
                      <a:pt x="962952" y="761999"/>
                    </a:lnTo>
                    <a:lnTo>
                      <a:pt x="969433" y="749299"/>
                    </a:lnTo>
                    <a:close/>
                  </a:path>
                  <a:path w="3439795" h="1447800">
                    <a:moveTo>
                      <a:pt x="971593" y="749299"/>
                    </a:moveTo>
                    <a:lnTo>
                      <a:pt x="969433" y="761999"/>
                    </a:lnTo>
                    <a:lnTo>
                      <a:pt x="971547" y="755785"/>
                    </a:lnTo>
                    <a:lnTo>
                      <a:pt x="971593" y="749299"/>
                    </a:lnTo>
                    <a:close/>
                  </a:path>
                  <a:path w="3439795" h="1447800">
                    <a:moveTo>
                      <a:pt x="1120648" y="749299"/>
                    </a:moveTo>
                    <a:lnTo>
                      <a:pt x="1133609" y="761999"/>
                    </a:lnTo>
                    <a:lnTo>
                      <a:pt x="1132774" y="759545"/>
                    </a:lnTo>
                    <a:lnTo>
                      <a:pt x="1120648" y="749299"/>
                    </a:lnTo>
                    <a:close/>
                  </a:path>
                  <a:path w="3439795" h="1447800">
                    <a:moveTo>
                      <a:pt x="1132774" y="759545"/>
                    </a:moveTo>
                    <a:lnTo>
                      <a:pt x="1133609" y="761999"/>
                    </a:lnTo>
                    <a:lnTo>
                      <a:pt x="1135679" y="761999"/>
                    </a:lnTo>
                    <a:lnTo>
                      <a:pt x="1132774" y="759545"/>
                    </a:lnTo>
                    <a:close/>
                  </a:path>
                  <a:path w="3439795" h="1447800">
                    <a:moveTo>
                      <a:pt x="1132563" y="758925"/>
                    </a:moveTo>
                    <a:lnTo>
                      <a:pt x="1132774" y="759545"/>
                    </a:lnTo>
                    <a:lnTo>
                      <a:pt x="1135679" y="761999"/>
                    </a:lnTo>
                    <a:lnTo>
                      <a:pt x="1132563" y="758925"/>
                    </a:lnTo>
                    <a:close/>
                  </a:path>
                  <a:path w="3439795" h="1447800">
                    <a:moveTo>
                      <a:pt x="1131903" y="756984"/>
                    </a:moveTo>
                    <a:lnTo>
                      <a:pt x="1132563" y="758925"/>
                    </a:lnTo>
                    <a:lnTo>
                      <a:pt x="1135679" y="761999"/>
                    </a:lnTo>
                    <a:lnTo>
                      <a:pt x="1132829" y="757766"/>
                    </a:lnTo>
                    <a:lnTo>
                      <a:pt x="1131903" y="756984"/>
                    </a:lnTo>
                    <a:close/>
                  </a:path>
                  <a:path w="3439795" h="1447800">
                    <a:moveTo>
                      <a:pt x="1132829" y="757766"/>
                    </a:moveTo>
                    <a:lnTo>
                      <a:pt x="1135679" y="761999"/>
                    </a:lnTo>
                    <a:lnTo>
                      <a:pt x="1135679" y="760174"/>
                    </a:lnTo>
                    <a:lnTo>
                      <a:pt x="1132829" y="757766"/>
                    </a:lnTo>
                    <a:close/>
                  </a:path>
                  <a:path w="3439795" h="1447800">
                    <a:moveTo>
                      <a:pt x="1135679" y="760174"/>
                    </a:moveTo>
                    <a:lnTo>
                      <a:pt x="1135679" y="761999"/>
                    </a:lnTo>
                    <a:lnTo>
                      <a:pt x="1136468" y="760841"/>
                    </a:lnTo>
                    <a:lnTo>
                      <a:pt x="1135679" y="760174"/>
                    </a:lnTo>
                    <a:close/>
                  </a:path>
                  <a:path w="3439795" h="1447800">
                    <a:moveTo>
                      <a:pt x="1136468" y="760841"/>
                    </a:moveTo>
                    <a:lnTo>
                      <a:pt x="1135679" y="761999"/>
                    </a:lnTo>
                    <a:lnTo>
                      <a:pt x="1137840" y="761999"/>
                    </a:lnTo>
                    <a:lnTo>
                      <a:pt x="1136468" y="760841"/>
                    </a:lnTo>
                    <a:close/>
                  </a:path>
                  <a:path w="3439795" h="1447800">
                    <a:moveTo>
                      <a:pt x="1136547" y="760724"/>
                    </a:moveTo>
                    <a:lnTo>
                      <a:pt x="1137840" y="761999"/>
                    </a:lnTo>
                    <a:lnTo>
                      <a:pt x="1136547" y="760724"/>
                    </a:lnTo>
                    <a:close/>
                  </a:path>
                  <a:path w="3439795" h="1447800">
                    <a:moveTo>
                      <a:pt x="1136765" y="760404"/>
                    </a:moveTo>
                    <a:lnTo>
                      <a:pt x="1136665" y="760841"/>
                    </a:lnTo>
                    <a:lnTo>
                      <a:pt x="1137840" y="761999"/>
                    </a:lnTo>
                    <a:lnTo>
                      <a:pt x="1136765" y="760404"/>
                    </a:lnTo>
                    <a:close/>
                  </a:path>
                  <a:path w="3439795" h="1447800">
                    <a:moveTo>
                      <a:pt x="1138560" y="757766"/>
                    </a:moveTo>
                    <a:lnTo>
                      <a:pt x="1136765" y="760404"/>
                    </a:lnTo>
                    <a:lnTo>
                      <a:pt x="1137840" y="761999"/>
                    </a:lnTo>
                    <a:lnTo>
                      <a:pt x="1138560" y="757766"/>
                    </a:lnTo>
                    <a:close/>
                  </a:path>
                  <a:path w="3439795" h="1447800">
                    <a:moveTo>
                      <a:pt x="1140000" y="755649"/>
                    </a:moveTo>
                    <a:lnTo>
                      <a:pt x="1138560" y="757766"/>
                    </a:lnTo>
                    <a:lnTo>
                      <a:pt x="1137840" y="761999"/>
                    </a:lnTo>
                    <a:lnTo>
                      <a:pt x="1140000" y="761999"/>
                    </a:lnTo>
                    <a:lnTo>
                      <a:pt x="1140000" y="755649"/>
                    </a:lnTo>
                    <a:close/>
                  </a:path>
                  <a:path w="3439795" h="1447800">
                    <a:moveTo>
                      <a:pt x="1144320" y="749299"/>
                    </a:moveTo>
                    <a:lnTo>
                      <a:pt x="1140000" y="755649"/>
                    </a:lnTo>
                    <a:lnTo>
                      <a:pt x="1140000" y="761999"/>
                    </a:lnTo>
                    <a:lnTo>
                      <a:pt x="1144320" y="761999"/>
                    </a:lnTo>
                    <a:lnTo>
                      <a:pt x="1144320" y="749299"/>
                    </a:lnTo>
                    <a:close/>
                  </a:path>
                  <a:path w="3439795" h="1447800">
                    <a:moveTo>
                      <a:pt x="1135679" y="759868"/>
                    </a:moveTo>
                    <a:lnTo>
                      <a:pt x="1135679" y="760174"/>
                    </a:lnTo>
                    <a:lnTo>
                      <a:pt x="1136468" y="760841"/>
                    </a:lnTo>
                    <a:lnTo>
                      <a:pt x="1135679" y="759868"/>
                    </a:lnTo>
                    <a:close/>
                  </a:path>
                  <a:path w="3439795" h="1447800">
                    <a:moveTo>
                      <a:pt x="1135679" y="758791"/>
                    </a:moveTo>
                    <a:lnTo>
                      <a:pt x="1135679" y="759868"/>
                    </a:lnTo>
                    <a:lnTo>
                      <a:pt x="1136547" y="760724"/>
                    </a:lnTo>
                    <a:lnTo>
                      <a:pt x="1136765" y="760404"/>
                    </a:lnTo>
                    <a:lnTo>
                      <a:pt x="1135679" y="758791"/>
                    </a:lnTo>
                    <a:close/>
                  </a:path>
                  <a:path w="3439795" h="1447800">
                    <a:moveTo>
                      <a:pt x="1135679" y="741999"/>
                    </a:moveTo>
                    <a:lnTo>
                      <a:pt x="1135769" y="758925"/>
                    </a:lnTo>
                    <a:lnTo>
                      <a:pt x="1136765" y="760404"/>
                    </a:lnTo>
                    <a:lnTo>
                      <a:pt x="1138560" y="757766"/>
                    </a:lnTo>
                    <a:lnTo>
                      <a:pt x="1140000" y="749299"/>
                    </a:lnTo>
                    <a:lnTo>
                      <a:pt x="1144320" y="749299"/>
                    </a:lnTo>
                    <a:lnTo>
                      <a:pt x="1135679" y="741999"/>
                    </a:lnTo>
                    <a:close/>
                  </a:path>
                  <a:path w="3439795" h="1447800">
                    <a:moveTo>
                      <a:pt x="1131472" y="755716"/>
                    </a:moveTo>
                    <a:lnTo>
                      <a:pt x="1132829" y="757766"/>
                    </a:lnTo>
                    <a:lnTo>
                      <a:pt x="1135679" y="760174"/>
                    </a:lnTo>
                    <a:lnTo>
                      <a:pt x="1135679" y="759868"/>
                    </a:lnTo>
                    <a:lnTo>
                      <a:pt x="1131472" y="755716"/>
                    </a:lnTo>
                    <a:close/>
                  </a:path>
                  <a:path w="3439795" h="1447800">
                    <a:moveTo>
                      <a:pt x="1129289" y="749299"/>
                    </a:moveTo>
                    <a:lnTo>
                      <a:pt x="1131449" y="755649"/>
                    </a:lnTo>
                    <a:lnTo>
                      <a:pt x="1131541" y="755785"/>
                    </a:lnTo>
                    <a:lnTo>
                      <a:pt x="1135679" y="759868"/>
                    </a:lnTo>
                    <a:lnTo>
                      <a:pt x="1135679" y="758791"/>
                    </a:lnTo>
                    <a:lnTo>
                      <a:pt x="1129289" y="749299"/>
                    </a:lnTo>
                    <a:close/>
                  </a:path>
                  <a:path w="3439795" h="1447800">
                    <a:moveTo>
                      <a:pt x="1122808" y="749299"/>
                    </a:moveTo>
                    <a:lnTo>
                      <a:pt x="1120648" y="749299"/>
                    </a:lnTo>
                    <a:lnTo>
                      <a:pt x="1132774" y="759545"/>
                    </a:lnTo>
                    <a:lnTo>
                      <a:pt x="1132563" y="758925"/>
                    </a:lnTo>
                    <a:lnTo>
                      <a:pt x="1122808" y="749299"/>
                    </a:lnTo>
                    <a:close/>
                  </a:path>
                  <a:path w="3439795" h="1447800">
                    <a:moveTo>
                      <a:pt x="574293" y="749299"/>
                    </a:moveTo>
                    <a:lnTo>
                      <a:pt x="574293" y="759223"/>
                    </a:lnTo>
                    <a:lnTo>
                      <a:pt x="578087" y="756734"/>
                    </a:lnTo>
                    <a:lnTo>
                      <a:pt x="574293" y="749299"/>
                    </a:lnTo>
                    <a:close/>
                  </a:path>
                  <a:path w="3439795" h="1447800">
                    <a:moveTo>
                      <a:pt x="1122808" y="749299"/>
                    </a:moveTo>
                    <a:lnTo>
                      <a:pt x="1132563" y="758925"/>
                    </a:lnTo>
                    <a:lnTo>
                      <a:pt x="1131903" y="756984"/>
                    </a:lnTo>
                    <a:lnTo>
                      <a:pt x="1122808" y="749299"/>
                    </a:lnTo>
                    <a:close/>
                  </a:path>
                  <a:path w="3439795" h="1447800">
                    <a:moveTo>
                      <a:pt x="1132645" y="739435"/>
                    </a:moveTo>
                    <a:lnTo>
                      <a:pt x="1129289" y="749299"/>
                    </a:lnTo>
                    <a:lnTo>
                      <a:pt x="1135679" y="758791"/>
                    </a:lnTo>
                    <a:lnTo>
                      <a:pt x="1135679" y="741999"/>
                    </a:lnTo>
                    <a:lnTo>
                      <a:pt x="1132645" y="739435"/>
                    </a:lnTo>
                    <a:close/>
                  </a:path>
                  <a:path w="3439795" h="1447800">
                    <a:moveTo>
                      <a:pt x="1131495" y="755785"/>
                    </a:moveTo>
                    <a:lnTo>
                      <a:pt x="1131903" y="756984"/>
                    </a:lnTo>
                    <a:lnTo>
                      <a:pt x="1132829" y="757766"/>
                    </a:lnTo>
                    <a:lnTo>
                      <a:pt x="1131495" y="755785"/>
                    </a:lnTo>
                    <a:close/>
                  </a:path>
                  <a:path w="3439795" h="1447800">
                    <a:moveTo>
                      <a:pt x="1140000" y="749299"/>
                    </a:moveTo>
                    <a:lnTo>
                      <a:pt x="1138560" y="757766"/>
                    </a:lnTo>
                    <a:lnTo>
                      <a:pt x="1139908" y="755785"/>
                    </a:lnTo>
                    <a:lnTo>
                      <a:pt x="1140000" y="749299"/>
                    </a:lnTo>
                    <a:close/>
                  </a:path>
                  <a:path w="3439795" h="1447800">
                    <a:moveTo>
                      <a:pt x="1124968" y="749299"/>
                    </a:moveTo>
                    <a:lnTo>
                      <a:pt x="1122808" y="749299"/>
                    </a:lnTo>
                    <a:lnTo>
                      <a:pt x="1131903" y="756984"/>
                    </a:lnTo>
                    <a:lnTo>
                      <a:pt x="1131495" y="755785"/>
                    </a:lnTo>
                    <a:lnTo>
                      <a:pt x="1131404" y="755649"/>
                    </a:lnTo>
                    <a:lnTo>
                      <a:pt x="1124968" y="749299"/>
                    </a:lnTo>
                    <a:close/>
                  </a:path>
                  <a:path w="3439795" h="1447800">
                    <a:moveTo>
                      <a:pt x="576453" y="749299"/>
                    </a:moveTo>
                    <a:lnTo>
                      <a:pt x="574293" y="749299"/>
                    </a:lnTo>
                    <a:lnTo>
                      <a:pt x="578087" y="756734"/>
                    </a:lnTo>
                    <a:lnTo>
                      <a:pt x="579637" y="755716"/>
                    </a:lnTo>
                    <a:lnTo>
                      <a:pt x="579154" y="752474"/>
                    </a:lnTo>
                    <a:lnTo>
                      <a:pt x="576453" y="749299"/>
                    </a:lnTo>
                    <a:close/>
                  </a:path>
                  <a:path w="3439795" h="1447800">
                    <a:moveTo>
                      <a:pt x="1129289" y="736599"/>
                    </a:moveTo>
                    <a:lnTo>
                      <a:pt x="1127128" y="749299"/>
                    </a:lnTo>
                    <a:lnTo>
                      <a:pt x="1131404" y="755649"/>
                    </a:lnTo>
                    <a:lnTo>
                      <a:pt x="1129289" y="749299"/>
                    </a:lnTo>
                    <a:lnTo>
                      <a:pt x="1131177" y="738195"/>
                    </a:lnTo>
                    <a:lnTo>
                      <a:pt x="1129289" y="736599"/>
                    </a:lnTo>
                    <a:close/>
                  </a:path>
                  <a:path w="3439795" h="1447800">
                    <a:moveTo>
                      <a:pt x="579154" y="752474"/>
                    </a:moveTo>
                    <a:lnTo>
                      <a:pt x="579698" y="755676"/>
                    </a:lnTo>
                    <a:lnTo>
                      <a:pt x="581096" y="754759"/>
                    </a:lnTo>
                    <a:lnTo>
                      <a:pt x="579154" y="752474"/>
                    </a:lnTo>
                    <a:close/>
                  </a:path>
                  <a:path w="3439795" h="1447800">
                    <a:moveTo>
                      <a:pt x="557101" y="736599"/>
                    </a:moveTo>
                    <a:lnTo>
                      <a:pt x="548460" y="749299"/>
                    </a:lnTo>
                    <a:lnTo>
                      <a:pt x="554941" y="749299"/>
                    </a:lnTo>
                    <a:lnTo>
                      <a:pt x="552781" y="755649"/>
                    </a:lnTo>
                    <a:lnTo>
                      <a:pt x="561422" y="749299"/>
                    </a:lnTo>
                    <a:lnTo>
                      <a:pt x="557101" y="736599"/>
                    </a:lnTo>
                    <a:close/>
                  </a:path>
                  <a:path w="3439795" h="1447800">
                    <a:moveTo>
                      <a:pt x="973753" y="749299"/>
                    </a:moveTo>
                    <a:lnTo>
                      <a:pt x="971593" y="749299"/>
                    </a:lnTo>
                    <a:lnTo>
                      <a:pt x="971593" y="755649"/>
                    </a:lnTo>
                    <a:lnTo>
                      <a:pt x="973753" y="749299"/>
                    </a:lnTo>
                    <a:close/>
                  </a:path>
                  <a:path w="3439795" h="1447800">
                    <a:moveTo>
                      <a:pt x="1127128" y="749299"/>
                    </a:moveTo>
                    <a:lnTo>
                      <a:pt x="1124968" y="749299"/>
                    </a:lnTo>
                    <a:lnTo>
                      <a:pt x="1131404" y="755649"/>
                    </a:lnTo>
                    <a:lnTo>
                      <a:pt x="1127128" y="749299"/>
                    </a:lnTo>
                    <a:close/>
                  </a:path>
                  <a:path w="3439795" h="1447800">
                    <a:moveTo>
                      <a:pt x="1144320" y="749299"/>
                    </a:moveTo>
                    <a:lnTo>
                      <a:pt x="1140000" y="749299"/>
                    </a:lnTo>
                    <a:lnTo>
                      <a:pt x="1140000" y="755649"/>
                    </a:lnTo>
                    <a:lnTo>
                      <a:pt x="1144320" y="749299"/>
                    </a:lnTo>
                    <a:close/>
                  </a:path>
                  <a:path w="3439795" h="1447800">
                    <a:moveTo>
                      <a:pt x="587254" y="749299"/>
                    </a:moveTo>
                    <a:lnTo>
                      <a:pt x="578613" y="749299"/>
                    </a:lnTo>
                    <a:lnTo>
                      <a:pt x="579154" y="752474"/>
                    </a:lnTo>
                    <a:lnTo>
                      <a:pt x="581096" y="754759"/>
                    </a:lnTo>
                    <a:lnTo>
                      <a:pt x="587254" y="750717"/>
                    </a:lnTo>
                    <a:lnTo>
                      <a:pt x="587254" y="749299"/>
                    </a:lnTo>
                    <a:close/>
                  </a:path>
                  <a:path w="3439795" h="1447800">
                    <a:moveTo>
                      <a:pt x="578613" y="749299"/>
                    </a:moveTo>
                    <a:lnTo>
                      <a:pt x="576453" y="749299"/>
                    </a:lnTo>
                    <a:lnTo>
                      <a:pt x="579154" y="752474"/>
                    </a:lnTo>
                    <a:lnTo>
                      <a:pt x="578613" y="749299"/>
                    </a:lnTo>
                    <a:close/>
                  </a:path>
                  <a:path w="3439795" h="1447800">
                    <a:moveTo>
                      <a:pt x="470693" y="736599"/>
                    </a:moveTo>
                    <a:lnTo>
                      <a:pt x="470693" y="749299"/>
                    </a:lnTo>
                    <a:lnTo>
                      <a:pt x="473573" y="745066"/>
                    </a:lnTo>
                    <a:lnTo>
                      <a:pt x="470693" y="736599"/>
                    </a:lnTo>
                    <a:close/>
                  </a:path>
                  <a:path w="3439795" h="1447800">
                    <a:moveTo>
                      <a:pt x="473573" y="745066"/>
                    </a:moveTo>
                    <a:lnTo>
                      <a:pt x="470693" y="749299"/>
                    </a:lnTo>
                    <a:lnTo>
                      <a:pt x="474149" y="746759"/>
                    </a:lnTo>
                    <a:lnTo>
                      <a:pt x="473573" y="745066"/>
                    </a:lnTo>
                    <a:close/>
                  </a:path>
                  <a:path w="3439795" h="1447800">
                    <a:moveTo>
                      <a:pt x="474149" y="746759"/>
                    </a:moveTo>
                    <a:lnTo>
                      <a:pt x="470693" y="749299"/>
                    </a:lnTo>
                    <a:lnTo>
                      <a:pt x="475013" y="749299"/>
                    </a:lnTo>
                    <a:lnTo>
                      <a:pt x="474149" y="746759"/>
                    </a:lnTo>
                    <a:close/>
                  </a:path>
                  <a:path w="3439795" h="1447800">
                    <a:moveTo>
                      <a:pt x="475630" y="745671"/>
                    </a:moveTo>
                    <a:lnTo>
                      <a:pt x="474149" y="746759"/>
                    </a:lnTo>
                    <a:lnTo>
                      <a:pt x="475013" y="749299"/>
                    </a:lnTo>
                    <a:lnTo>
                      <a:pt x="475630" y="745671"/>
                    </a:lnTo>
                    <a:close/>
                  </a:path>
                  <a:path w="3439795" h="1447800">
                    <a:moveTo>
                      <a:pt x="479334" y="742949"/>
                    </a:moveTo>
                    <a:lnTo>
                      <a:pt x="475630" y="745671"/>
                    </a:lnTo>
                    <a:lnTo>
                      <a:pt x="475013" y="749299"/>
                    </a:lnTo>
                    <a:lnTo>
                      <a:pt x="477173" y="749299"/>
                    </a:lnTo>
                    <a:lnTo>
                      <a:pt x="479334" y="742949"/>
                    </a:lnTo>
                    <a:close/>
                  </a:path>
                  <a:path w="3439795" h="1447800">
                    <a:moveTo>
                      <a:pt x="481494" y="741362"/>
                    </a:moveTo>
                    <a:lnTo>
                      <a:pt x="479334" y="742949"/>
                    </a:lnTo>
                    <a:lnTo>
                      <a:pt x="477173" y="749299"/>
                    </a:lnTo>
                    <a:lnTo>
                      <a:pt x="481494" y="745066"/>
                    </a:lnTo>
                    <a:lnTo>
                      <a:pt x="481494" y="741362"/>
                    </a:lnTo>
                    <a:close/>
                  </a:path>
                  <a:path w="3439795" h="1447800">
                    <a:moveTo>
                      <a:pt x="481494" y="745066"/>
                    </a:moveTo>
                    <a:lnTo>
                      <a:pt x="477173" y="749299"/>
                    </a:lnTo>
                    <a:lnTo>
                      <a:pt x="479334" y="749299"/>
                    </a:lnTo>
                    <a:lnTo>
                      <a:pt x="481494" y="746759"/>
                    </a:lnTo>
                    <a:lnTo>
                      <a:pt x="481494" y="745066"/>
                    </a:lnTo>
                    <a:close/>
                  </a:path>
                  <a:path w="3439795" h="1447800">
                    <a:moveTo>
                      <a:pt x="481494" y="746759"/>
                    </a:moveTo>
                    <a:lnTo>
                      <a:pt x="479334" y="749299"/>
                    </a:lnTo>
                    <a:lnTo>
                      <a:pt x="481494" y="749299"/>
                    </a:lnTo>
                    <a:lnTo>
                      <a:pt x="481494" y="746759"/>
                    </a:lnTo>
                    <a:close/>
                  </a:path>
                  <a:path w="3439795" h="1447800">
                    <a:moveTo>
                      <a:pt x="492295" y="736599"/>
                    </a:moveTo>
                    <a:lnTo>
                      <a:pt x="490135" y="736599"/>
                    </a:lnTo>
                    <a:lnTo>
                      <a:pt x="481494" y="746759"/>
                    </a:lnTo>
                    <a:lnTo>
                      <a:pt x="481494" y="749299"/>
                    </a:lnTo>
                    <a:lnTo>
                      <a:pt x="496615" y="749299"/>
                    </a:lnTo>
                    <a:lnTo>
                      <a:pt x="492295" y="736599"/>
                    </a:lnTo>
                    <a:close/>
                  </a:path>
                  <a:path w="3439795" h="1447800">
                    <a:moveTo>
                      <a:pt x="533339" y="723899"/>
                    </a:moveTo>
                    <a:lnTo>
                      <a:pt x="522538" y="736599"/>
                    </a:lnTo>
                    <a:lnTo>
                      <a:pt x="531179" y="749299"/>
                    </a:lnTo>
                    <a:lnTo>
                      <a:pt x="533339" y="723899"/>
                    </a:lnTo>
                    <a:close/>
                  </a:path>
                  <a:path w="3439795" h="1447800">
                    <a:moveTo>
                      <a:pt x="548460" y="723899"/>
                    </a:moveTo>
                    <a:lnTo>
                      <a:pt x="533339" y="723899"/>
                    </a:lnTo>
                    <a:lnTo>
                      <a:pt x="531179" y="749299"/>
                    </a:lnTo>
                    <a:lnTo>
                      <a:pt x="537659" y="749299"/>
                    </a:lnTo>
                    <a:lnTo>
                      <a:pt x="537659" y="736599"/>
                    </a:lnTo>
                    <a:lnTo>
                      <a:pt x="554941" y="736599"/>
                    </a:lnTo>
                    <a:lnTo>
                      <a:pt x="548460" y="723899"/>
                    </a:lnTo>
                    <a:close/>
                  </a:path>
                  <a:path w="3439795" h="1447800">
                    <a:moveTo>
                      <a:pt x="537659" y="736599"/>
                    </a:moveTo>
                    <a:lnTo>
                      <a:pt x="537659" y="749299"/>
                    </a:lnTo>
                    <a:lnTo>
                      <a:pt x="539820" y="749299"/>
                    </a:lnTo>
                    <a:lnTo>
                      <a:pt x="544140" y="746124"/>
                    </a:lnTo>
                    <a:lnTo>
                      <a:pt x="537659" y="736599"/>
                    </a:lnTo>
                    <a:close/>
                  </a:path>
                  <a:path w="3439795" h="1447800">
                    <a:moveTo>
                      <a:pt x="546300" y="746759"/>
                    </a:moveTo>
                    <a:lnTo>
                      <a:pt x="545340" y="747888"/>
                    </a:lnTo>
                    <a:lnTo>
                      <a:pt x="546300" y="749299"/>
                    </a:lnTo>
                    <a:lnTo>
                      <a:pt x="546300" y="746759"/>
                    </a:lnTo>
                    <a:close/>
                  </a:path>
                  <a:path w="3439795" h="1447800">
                    <a:moveTo>
                      <a:pt x="552781" y="739774"/>
                    </a:moveTo>
                    <a:lnTo>
                      <a:pt x="551341" y="740833"/>
                    </a:lnTo>
                    <a:lnTo>
                      <a:pt x="546300" y="746759"/>
                    </a:lnTo>
                    <a:lnTo>
                      <a:pt x="546300" y="749299"/>
                    </a:lnTo>
                    <a:lnTo>
                      <a:pt x="552781" y="739774"/>
                    </a:lnTo>
                    <a:close/>
                  </a:path>
                  <a:path w="3439795" h="1447800">
                    <a:moveTo>
                      <a:pt x="557101" y="736599"/>
                    </a:moveTo>
                    <a:lnTo>
                      <a:pt x="552781" y="739774"/>
                    </a:lnTo>
                    <a:lnTo>
                      <a:pt x="546300" y="749299"/>
                    </a:lnTo>
                    <a:lnTo>
                      <a:pt x="548460" y="749299"/>
                    </a:lnTo>
                    <a:lnTo>
                      <a:pt x="557101" y="736599"/>
                    </a:lnTo>
                    <a:close/>
                  </a:path>
                  <a:path w="3439795" h="1447800">
                    <a:moveTo>
                      <a:pt x="665022" y="723899"/>
                    </a:moveTo>
                    <a:lnTo>
                      <a:pt x="662862" y="723899"/>
                    </a:lnTo>
                    <a:lnTo>
                      <a:pt x="656381" y="731519"/>
                    </a:lnTo>
                    <a:lnTo>
                      <a:pt x="656381" y="749299"/>
                    </a:lnTo>
                    <a:lnTo>
                      <a:pt x="673663" y="749299"/>
                    </a:lnTo>
                    <a:lnTo>
                      <a:pt x="673663" y="736599"/>
                    </a:lnTo>
                    <a:lnTo>
                      <a:pt x="671503" y="736599"/>
                    </a:lnTo>
                    <a:lnTo>
                      <a:pt x="665022" y="723899"/>
                    </a:lnTo>
                    <a:close/>
                  </a:path>
                  <a:path w="3439795" h="1447800">
                    <a:moveTo>
                      <a:pt x="1131177" y="738195"/>
                    </a:moveTo>
                    <a:lnTo>
                      <a:pt x="1129289" y="749299"/>
                    </a:lnTo>
                    <a:lnTo>
                      <a:pt x="1132645" y="739435"/>
                    </a:lnTo>
                    <a:lnTo>
                      <a:pt x="1131177" y="738195"/>
                    </a:lnTo>
                    <a:close/>
                  </a:path>
                  <a:path w="3439795" h="1447800">
                    <a:moveTo>
                      <a:pt x="1135679" y="741320"/>
                    </a:moveTo>
                    <a:lnTo>
                      <a:pt x="1135679" y="741999"/>
                    </a:lnTo>
                    <a:lnTo>
                      <a:pt x="1144320" y="749299"/>
                    </a:lnTo>
                    <a:lnTo>
                      <a:pt x="1146480" y="749299"/>
                    </a:lnTo>
                    <a:lnTo>
                      <a:pt x="1135679" y="741320"/>
                    </a:lnTo>
                    <a:close/>
                  </a:path>
                  <a:path w="3439795" h="1447800">
                    <a:moveTo>
                      <a:pt x="1135679" y="736599"/>
                    </a:moveTo>
                    <a:lnTo>
                      <a:pt x="1135736" y="741362"/>
                    </a:lnTo>
                    <a:lnTo>
                      <a:pt x="1146480" y="749299"/>
                    </a:lnTo>
                    <a:lnTo>
                      <a:pt x="1150801" y="749299"/>
                    </a:lnTo>
                    <a:lnTo>
                      <a:pt x="1135679" y="736599"/>
                    </a:lnTo>
                    <a:close/>
                  </a:path>
                  <a:path w="3439795" h="1447800">
                    <a:moveTo>
                      <a:pt x="1137840" y="736599"/>
                    </a:moveTo>
                    <a:lnTo>
                      <a:pt x="1135679" y="736599"/>
                    </a:lnTo>
                    <a:lnTo>
                      <a:pt x="1150801" y="749299"/>
                    </a:lnTo>
                    <a:lnTo>
                      <a:pt x="1137840" y="736599"/>
                    </a:lnTo>
                    <a:close/>
                  </a:path>
                  <a:path w="3439795" h="1447800">
                    <a:moveTo>
                      <a:pt x="1140000" y="723899"/>
                    </a:moveTo>
                    <a:lnTo>
                      <a:pt x="1137840" y="736599"/>
                    </a:lnTo>
                    <a:lnTo>
                      <a:pt x="1150801" y="749299"/>
                    </a:lnTo>
                    <a:lnTo>
                      <a:pt x="1152961" y="736599"/>
                    </a:lnTo>
                    <a:lnTo>
                      <a:pt x="1155121" y="736599"/>
                    </a:lnTo>
                    <a:lnTo>
                      <a:pt x="1140000" y="723899"/>
                    </a:lnTo>
                    <a:close/>
                  </a:path>
                  <a:path w="3439795" h="1447800">
                    <a:moveTo>
                      <a:pt x="1152961" y="736599"/>
                    </a:moveTo>
                    <a:lnTo>
                      <a:pt x="1150801" y="749299"/>
                    </a:lnTo>
                    <a:lnTo>
                      <a:pt x="1152961" y="749299"/>
                    </a:lnTo>
                    <a:lnTo>
                      <a:pt x="1152961" y="736599"/>
                    </a:lnTo>
                    <a:close/>
                  </a:path>
                  <a:path w="3439795" h="1447800">
                    <a:moveTo>
                      <a:pt x="1175545" y="746990"/>
                    </a:moveTo>
                    <a:lnTo>
                      <a:pt x="1174563" y="749299"/>
                    </a:lnTo>
                    <a:lnTo>
                      <a:pt x="1176723" y="749299"/>
                    </a:lnTo>
                    <a:lnTo>
                      <a:pt x="1175545" y="746990"/>
                    </a:lnTo>
                    <a:close/>
                  </a:path>
                  <a:path w="3439795" h="1447800">
                    <a:moveTo>
                      <a:pt x="1185364" y="723899"/>
                    </a:moveTo>
                    <a:lnTo>
                      <a:pt x="1175545" y="746990"/>
                    </a:lnTo>
                    <a:lnTo>
                      <a:pt x="1176723" y="749299"/>
                    </a:lnTo>
                    <a:lnTo>
                      <a:pt x="1185364" y="723899"/>
                    </a:lnTo>
                    <a:close/>
                  </a:path>
                  <a:path w="3439795" h="1447800">
                    <a:moveTo>
                      <a:pt x="1185364" y="723899"/>
                    </a:moveTo>
                    <a:lnTo>
                      <a:pt x="1176723" y="749299"/>
                    </a:lnTo>
                    <a:lnTo>
                      <a:pt x="1181044" y="749299"/>
                    </a:lnTo>
                    <a:lnTo>
                      <a:pt x="1185364" y="736599"/>
                    </a:lnTo>
                    <a:lnTo>
                      <a:pt x="1187524" y="736599"/>
                    </a:lnTo>
                    <a:lnTo>
                      <a:pt x="1185364" y="723899"/>
                    </a:lnTo>
                    <a:close/>
                  </a:path>
                  <a:path w="3439795" h="1447800">
                    <a:moveTo>
                      <a:pt x="1189685" y="736599"/>
                    </a:moveTo>
                    <a:lnTo>
                      <a:pt x="1185364" y="736599"/>
                    </a:lnTo>
                    <a:lnTo>
                      <a:pt x="1181044" y="749299"/>
                    </a:lnTo>
                    <a:lnTo>
                      <a:pt x="1189676" y="739150"/>
                    </a:lnTo>
                    <a:lnTo>
                      <a:pt x="1189685" y="736599"/>
                    </a:lnTo>
                    <a:close/>
                  </a:path>
                  <a:path w="3439795" h="1447800">
                    <a:moveTo>
                      <a:pt x="1189685" y="739139"/>
                    </a:moveTo>
                    <a:lnTo>
                      <a:pt x="1181044" y="749299"/>
                    </a:lnTo>
                    <a:lnTo>
                      <a:pt x="1187524" y="749299"/>
                    </a:lnTo>
                    <a:lnTo>
                      <a:pt x="1189685" y="745066"/>
                    </a:lnTo>
                    <a:lnTo>
                      <a:pt x="1189685" y="739139"/>
                    </a:lnTo>
                    <a:close/>
                  </a:path>
                  <a:path w="3439795" h="1447800">
                    <a:moveTo>
                      <a:pt x="1189685" y="745066"/>
                    </a:moveTo>
                    <a:lnTo>
                      <a:pt x="1187524" y="749299"/>
                    </a:lnTo>
                    <a:lnTo>
                      <a:pt x="1189685" y="749299"/>
                    </a:lnTo>
                    <a:lnTo>
                      <a:pt x="1189685" y="745066"/>
                    </a:lnTo>
                    <a:close/>
                  </a:path>
                  <a:path w="3439795" h="1447800">
                    <a:moveTo>
                      <a:pt x="1194005" y="736599"/>
                    </a:moveTo>
                    <a:lnTo>
                      <a:pt x="1189685" y="745066"/>
                    </a:lnTo>
                    <a:lnTo>
                      <a:pt x="1189685" y="749299"/>
                    </a:lnTo>
                    <a:lnTo>
                      <a:pt x="1194005" y="744219"/>
                    </a:lnTo>
                    <a:lnTo>
                      <a:pt x="1194005" y="736599"/>
                    </a:lnTo>
                    <a:close/>
                  </a:path>
                  <a:path w="3439795" h="1447800">
                    <a:moveTo>
                      <a:pt x="1194005" y="744219"/>
                    </a:moveTo>
                    <a:lnTo>
                      <a:pt x="1189685" y="749299"/>
                    </a:lnTo>
                    <a:lnTo>
                      <a:pt x="1191845" y="749299"/>
                    </a:lnTo>
                    <a:lnTo>
                      <a:pt x="1194005" y="745066"/>
                    </a:lnTo>
                    <a:lnTo>
                      <a:pt x="1194005" y="744219"/>
                    </a:lnTo>
                    <a:close/>
                  </a:path>
                  <a:path w="3439795" h="1447800">
                    <a:moveTo>
                      <a:pt x="1194005" y="745066"/>
                    </a:moveTo>
                    <a:lnTo>
                      <a:pt x="1191845" y="749299"/>
                    </a:lnTo>
                    <a:lnTo>
                      <a:pt x="1194005" y="746124"/>
                    </a:lnTo>
                    <a:lnTo>
                      <a:pt x="1194005" y="745066"/>
                    </a:lnTo>
                    <a:close/>
                  </a:path>
                  <a:path w="3439795" h="1447800">
                    <a:moveTo>
                      <a:pt x="1194005" y="746124"/>
                    </a:moveTo>
                    <a:lnTo>
                      <a:pt x="1191845" y="749299"/>
                    </a:lnTo>
                    <a:lnTo>
                      <a:pt x="1194005" y="747485"/>
                    </a:lnTo>
                    <a:lnTo>
                      <a:pt x="1194005" y="746124"/>
                    </a:lnTo>
                    <a:close/>
                  </a:path>
                  <a:path w="3439795" h="1447800">
                    <a:moveTo>
                      <a:pt x="1194005" y="747485"/>
                    </a:moveTo>
                    <a:lnTo>
                      <a:pt x="1191845" y="749299"/>
                    </a:lnTo>
                    <a:lnTo>
                      <a:pt x="1194005" y="749299"/>
                    </a:lnTo>
                    <a:lnTo>
                      <a:pt x="1194005" y="747485"/>
                    </a:lnTo>
                    <a:close/>
                  </a:path>
                  <a:path w="3439795" h="1447800">
                    <a:moveTo>
                      <a:pt x="1209127" y="736599"/>
                    </a:moveTo>
                    <a:lnTo>
                      <a:pt x="1206966" y="736599"/>
                    </a:lnTo>
                    <a:lnTo>
                      <a:pt x="1194005" y="747485"/>
                    </a:lnTo>
                    <a:lnTo>
                      <a:pt x="1194005" y="749299"/>
                    </a:lnTo>
                    <a:lnTo>
                      <a:pt x="1211287" y="749299"/>
                    </a:lnTo>
                    <a:lnTo>
                      <a:pt x="1209127" y="736599"/>
                    </a:lnTo>
                    <a:close/>
                  </a:path>
                  <a:path w="3439795" h="1447800">
                    <a:moveTo>
                      <a:pt x="1211287" y="736599"/>
                    </a:moveTo>
                    <a:lnTo>
                      <a:pt x="1209127" y="736599"/>
                    </a:lnTo>
                    <a:lnTo>
                      <a:pt x="1211287" y="749299"/>
                    </a:lnTo>
                    <a:lnTo>
                      <a:pt x="1211287" y="736599"/>
                    </a:lnTo>
                    <a:close/>
                  </a:path>
                  <a:path w="3439795" h="1447800">
                    <a:moveTo>
                      <a:pt x="1217768" y="736599"/>
                    </a:moveTo>
                    <a:lnTo>
                      <a:pt x="1211287" y="736599"/>
                    </a:lnTo>
                    <a:lnTo>
                      <a:pt x="1211287" y="749299"/>
                    </a:lnTo>
                    <a:lnTo>
                      <a:pt x="1224248" y="749299"/>
                    </a:lnTo>
                    <a:lnTo>
                      <a:pt x="1217768" y="736599"/>
                    </a:lnTo>
                    <a:close/>
                  </a:path>
                  <a:path w="3439795" h="1447800">
                    <a:moveTo>
                      <a:pt x="1219928" y="736599"/>
                    </a:moveTo>
                    <a:lnTo>
                      <a:pt x="1217768" y="736599"/>
                    </a:lnTo>
                    <a:lnTo>
                      <a:pt x="1224248" y="749299"/>
                    </a:lnTo>
                    <a:lnTo>
                      <a:pt x="1219928" y="736599"/>
                    </a:lnTo>
                    <a:close/>
                  </a:path>
                  <a:path w="3439795" h="1447800">
                    <a:moveTo>
                      <a:pt x="1219928" y="736599"/>
                    </a:moveTo>
                    <a:lnTo>
                      <a:pt x="1224248" y="749299"/>
                    </a:lnTo>
                    <a:lnTo>
                      <a:pt x="1226408" y="749299"/>
                    </a:lnTo>
                    <a:lnTo>
                      <a:pt x="1226408" y="744219"/>
                    </a:lnTo>
                    <a:lnTo>
                      <a:pt x="1219928" y="736599"/>
                    </a:lnTo>
                    <a:close/>
                  </a:path>
                  <a:path w="3439795" h="1447800">
                    <a:moveTo>
                      <a:pt x="1226408" y="744219"/>
                    </a:moveTo>
                    <a:lnTo>
                      <a:pt x="1226408" y="749299"/>
                    </a:lnTo>
                    <a:lnTo>
                      <a:pt x="1230729" y="749299"/>
                    </a:lnTo>
                    <a:lnTo>
                      <a:pt x="1226408" y="744219"/>
                    </a:lnTo>
                    <a:close/>
                  </a:path>
                  <a:path w="3439795" h="1447800">
                    <a:moveTo>
                      <a:pt x="1235049" y="736599"/>
                    </a:moveTo>
                    <a:lnTo>
                      <a:pt x="1226408" y="736599"/>
                    </a:lnTo>
                    <a:lnTo>
                      <a:pt x="1226408" y="744219"/>
                    </a:lnTo>
                    <a:lnTo>
                      <a:pt x="1230729" y="749299"/>
                    </a:lnTo>
                    <a:lnTo>
                      <a:pt x="1235049" y="749299"/>
                    </a:lnTo>
                    <a:lnTo>
                      <a:pt x="1235049" y="736599"/>
                    </a:lnTo>
                    <a:close/>
                  </a:path>
                  <a:path w="3439795" h="1447800">
                    <a:moveTo>
                      <a:pt x="1239370" y="736599"/>
                    </a:moveTo>
                    <a:lnTo>
                      <a:pt x="1235049" y="736599"/>
                    </a:lnTo>
                    <a:lnTo>
                      <a:pt x="1235049" y="749299"/>
                    </a:lnTo>
                    <a:lnTo>
                      <a:pt x="1239370" y="749299"/>
                    </a:lnTo>
                    <a:lnTo>
                      <a:pt x="1239370" y="736599"/>
                    </a:lnTo>
                    <a:close/>
                  </a:path>
                  <a:path w="3439795" h="1447800">
                    <a:moveTo>
                      <a:pt x="1239370" y="736599"/>
                    </a:moveTo>
                    <a:lnTo>
                      <a:pt x="1239370" y="749299"/>
                    </a:lnTo>
                    <a:lnTo>
                      <a:pt x="1241530" y="749299"/>
                    </a:lnTo>
                    <a:lnTo>
                      <a:pt x="1239370" y="736599"/>
                    </a:lnTo>
                    <a:close/>
                  </a:path>
                  <a:path w="3439795" h="1447800">
                    <a:moveTo>
                      <a:pt x="1253411" y="724807"/>
                    </a:moveTo>
                    <a:lnTo>
                      <a:pt x="1239370" y="736599"/>
                    </a:lnTo>
                    <a:lnTo>
                      <a:pt x="1241530" y="749299"/>
                    </a:lnTo>
                    <a:lnTo>
                      <a:pt x="1241530" y="736599"/>
                    </a:lnTo>
                    <a:lnTo>
                      <a:pt x="1250171" y="736599"/>
                    </a:lnTo>
                    <a:lnTo>
                      <a:pt x="1254011" y="725311"/>
                    </a:lnTo>
                    <a:lnTo>
                      <a:pt x="1253411" y="724807"/>
                    </a:lnTo>
                    <a:close/>
                  </a:path>
                  <a:path w="3439795" h="1447800">
                    <a:moveTo>
                      <a:pt x="1250171" y="736599"/>
                    </a:moveTo>
                    <a:lnTo>
                      <a:pt x="1241530" y="736599"/>
                    </a:lnTo>
                    <a:lnTo>
                      <a:pt x="1241530" y="749299"/>
                    </a:lnTo>
                    <a:lnTo>
                      <a:pt x="1258812" y="749299"/>
                    </a:lnTo>
                    <a:lnTo>
                      <a:pt x="1250171" y="736599"/>
                    </a:lnTo>
                    <a:close/>
                  </a:path>
                  <a:path w="3439795" h="1447800">
                    <a:moveTo>
                      <a:pt x="1254011" y="725311"/>
                    </a:moveTo>
                    <a:lnTo>
                      <a:pt x="1250171" y="736599"/>
                    </a:lnTo>
                    <a:lnTo>
                      <a:pt x="1258812" y="749299"/>
                    </a:lnTo>
                    <a:lnTo>
                      <a:pt x="1254851" y="726016"/>
                    </a:lnTo>
                    <a:lnTo>
                      <a:pt x="1254011" y="725311"/>
                    </a:lnTo>
                    <a:close/>
                  </a:path>
                  <a:path w="3439795" h="1447800">
                    <a:moveTo>
                      <a:pt x="1254851" y="726016"/>
                    </a:moveTo>
                    <a:lnTo>
                      <a:pt x="1258812" y="749299"/>
                    </a:lnTo>
                    <a:lnTo>
                      <a:pt x="1263132" y="749299"/>
                    </a:lnTo>
                    <a:lnTo>
                      <a:pt x="1265292" y="736599"/>
                    </a:lnTo>
                    <a:lnTo>
                      <a:pt x="1259892" y="730249"/>
                    </a:lnTo>
                    <a:lnTo>
                      <a:pt x="1254851" y="726016"/>
                    </a:lnTo>
                    <a:close/>
                  </a:path>
                  <a:path w="3439795" h="1447800">
                    <a:moveTo>
                      <a:pt x="546300" y="744537"/>
                    </a:moveTo>
                    <a:lnTo>
                      <a:pt x="544140" y="746124"/>
                    </a:lnTo>
                    <a:lnTo>
                      <a:pt x="545340" y="747888"/>
                    </a:lnTo>
                    <a:lnTo>
                      <a:pt x="546300" y="746759"/>
                    </a:lnTo>
                    <a:lnTo>
                      <a:pt x="546300" y="744537"/>
                    </a:lnTo>
                    <a:close/>
                  </a:path>
                  <a:path w="3439795" h="1447800">
                    <a:moveTo>
                      <a:pt x="1206966" y="736599"/>
                    </a:moveTo>
                    <a:lnTo>
                      <a:pt x="1200486" y="736599"/>
                    </a:lnTo>
                    <a:lnTo>
                      <a:pt x="1194005" y="746124"/>
                    </a:lnTo>
                    <a:lnTo>
                      <a:pt x="1194005" y="747485"/>
                    </a:lnTo>
                    <a:lnTo>
                      <a:pt x="1206966" y="736599"/>
                    </a:lnTo>
                    <a:close/>
                  </a:path>
                  <a:path w="3439795" h="1447800">
                    <a:moveTo>
                      <a:pt x="1185364" y="723899"/>
                    </a:moveTo>
                    <a:lnTo>
                      <a:pt x="1183204" y="723899"/>
                    </a:lnTo>
                    <a:lnTo>
                      <a:pt x="1168083" y="735012"/>
                    </a:lnTo>
                    <a:lnTo>
                      <a:pt x="1168083" y="736599"/>
                    </a:lnTo>
                    <a:lnTo>
                      <a:pt x="1170243" y="736599"/>
                    </a:lnTo>
                    <a:lnTo>
                      <a:pt x="1175545" y="746990"/>
                    </a:lnTo>
                    <a:lnTo>
                      <a:pt x="1185364" y="723899"/>
                    </a:lnTo>
                    <a:close/>
                  </a:path>
                  <a:path w="3439795" h="1447800">
                    <a:moveTo>
                      <a:pt x="476453" y="740833"/>
                    </a:moveTo>
                    <a:lnTo>
                      <a:pt x="473573" y="745066"/>
                    </a:lnTo>
                    <a:lnTo>
                      <a:pt x="474149" y="746759"/>
                    </a:lnTo>
                    <a:lnTo>
                      <a:pt x="475630" y="745671"/>
                    </a:lnTo>
                    <a:lnTo>
                      <a:pt x="476453" y="740833"/>
                    </a:lnTo>
                    <a:close/>
                  </a:path>
                  <a:path w="3439795" h="1447800">
                    <a:moveTo>
                      <a:pt x="490135" y="736599"/>
                    </a:moveTo>
                    <a:lnTo>
                      <a:pt x="481494" y="745066"/>
                    </a:lnTo>
                    <a:lnTo>
                      <a:pt x="481494" y="746759"/>
                    </a:lnTo>
                    <a:lnTo>
                      <a:pt x="490135" y="736599"/>
                    </a:lnTo>
                    <a:close/>
                  </a:path>
                  <a:path w="3439795" h="1447800">
                    <a:moveTo>
                      <a:pt x="551341" y="740833"/>
                    </a:moveTo>
                    <a:lnTo>
                      <a:pt x="546300" y="744537"/>
                    </a:lnTo>
                    <a:lnTo>
                      <a:pt x="546300" y="746759"/>
                    </a:lnTo>
                    <a:lnTo>
                      <a:pt x="551341" y="740833"/>
                    </a:lnTo>
                    <a:close/>
                  </a:path>
                  <a:path w="3439795" h="1447800">
                    <a:moveTo>
                      <a:pt x="546300" y="736599"/>
                    </a:moveTo>
                    <a:lnTo>
                      <a:pt x="537659" y="736599"/>
                    </a:lnTo>
                    <a:lnTo>
                      <a:pt x="544140" y="746124"/>
                    </a:lnTo>
                    <a:lnTo>
                      <a:pt x="546300" y="744537"/>
                    </a:lnTo>
                    <a:lnTo>
                      <a:pt x="546300" y="736599"/>
                    </a:lnTo>
                    <a:close/>
                  </a:path>
                  <a:path w="3439795" h="1447800">
                    <a:moveTo>
                      <a:pt x="1200486" y="736599"/>
                    </a:moveTo>
                    <a:lnTo>
                      <a:pt x="1195085" y="742949"/>
                    </a:lnTo>
                    <a:lnTo>
                      <a:pt x="1194005" y="745066"/>
                    </a:lnTo>
                    <a:lnTo>
                      <a:pt x="1194005" y="746124"/>
                    </a:lnTo>
                    <a:lnTo>
                      <a:pt x="1200486" y="736599"/>
                    </a:lnTo>
                    <a:close/>
                  </a:path>
                  <a:path w="3439795" h="1447800">
                    <a:moveTo>
                      <a:pt x="479334" y="723899"/>
                    </a:moveTo>
                    <a:lnTo>
                      <a:pt x="478253" y="730249"/>
                    </a:lnTo>
                    <a:lnTo>
                      <a:pt x="479334" y="736599"/>
                    </a:lnTo>
                    <a:lnTo>
                      <a:pt x="476453" y="740833"/>
                    </a:lnTo>
                    <a:lnTo>
                      <a:pt x="475630" y="745671"/>
                    </a:lnTo>
                    <a:lnTo>
                      <a:pt x="479334" y="742949"/>
                    </a:lnTo>
                    <a:lnTo>
                      <a:pt x="481494" y="736599"/>
                    </a:lnTo>
                    <a:lnTo>
                      <a:pt x="487974" y="736599"/>
                    </a:lnTo>
                    <a:lnTo>
                      <a:pt x="479334" y="723899"/>
                    </a:lnTo>
                    <a:close/>
                  </a:path>
                  <a:path w="3439795" h="1447800">
                    <a:moveTo>
                      <a:pt x="472853" y="731519"/>
                    </a:moveTo>
                    <a:lnTo>
                      <a:pt x="471233" y="733424"/>
                    </a:lnTo>
                    <a:lnTo>
                      <a:pt x="470693" y="736599"/>
                    </a:lnTo>
                    <a:lnTo>
                      <a:pt x="473573" y="745066"/>
                    </a:lnTo>
                    <a:lnTo>
                      <a:pt x="476453" y="740833"/>
                    </a:lnTo>
                    <a:lnTo>
                      <a:pt x="477173" y="736599"/>
                    </a:lnTo>
                    <a:lnTo>
                      <a:pt x="472853" y="736599"/>
                    </a:lnTo>
                    <a:lnTo>
                      <a:pt x="472853" y="731519"/>
                    </a:lnTo>
                    <a:close/>
                  </a:path>
                  <a:path w="3439795" h="1447800">
                    <a:moveTo>
                      <a:pt x="490135" y="736599"/>
                    </a:moveTo>
                    <a:lnTo>
                      <a:pt x="487974" y="736599"/>
                    </a:lnTo>
                    <a:lnTo>
                      <a:pt x="481550" y="741320"/>
                    </a:lnTo>
                    <a:lnTo>
                      <a:pt x="481494" y="745066"/>
                    </a:lnTo>
                    <a:lnTo>
                      <a:pt x="490135" y="736599"/>
                    </a:lnTo>
                    <a:close/>
                  </a:path>
                  <a:path w="3439795" h="1447800">
                    <a:moveTo>
                      <a:pt x="1194005" y="736599"/>
                    </a:moveTo>
                    <a:lnTo>
                      <a:pt x="1191845" y="736599"/>
                    </a:lnTo>
                    <a:lnTo>
                      <a:pt x="1189685" y="739139"/>
                    </a:lnTo>
                    <a:lnTo>
                      <a:pt x="1189685" y="745066"/>
                    </a:lnTo>
                    <a:lnTo>
                      <a:pt x="1194005" y="736599"/>
                    </a:lnTo>
                    <a:close/>
                  </a:path>
                  <a:path w="3439795" h="1447800">
                    <a:moveTo>
                      <a:pt x="1195085" y="742949"/>
                    </a:moveTo>
                    <a:lnTo>
                      <a:pt x="1194005" y="744219"/>
                    </a:lnTo>
                    <a:lnTo>
                      <a:pt x="1194005" y="745066"/>
                    </a:lnTo>
                    <a:lnTo>
                      <a:pt x="1195085" y="742949"/>
                    </a:lnTo>
                    <a:close/>
                  </a:path>
                  <a:path w="3439795" h="1447800">
                    <a:moveTo>
                      <a:pt x="554941" y="736599"/>
                    </a:moveTo>
                    <a:lnTo>
                      <a:pt x="546300" y="736599"/>
                    </a:lnTo>
                    <a:lnTo>
                      <a:pt x="546300" y="744537"/>
                    </a:lnTo>
                    <a:lnTo>
                      <a:pt x="551341" y="740833"/>
                    </a:lnTo>
                    <a:lnTo>
                      <a:pt x="554941" y="736599"/>
                    </a:lnTo>
                    <a:close/>
                  </a:path>
                  <a:path w="3439795" h="1447800">
                    <a:moveTo>
                      <a:pt x="1198326" y="736599"/>
                    </a:moveTo>
                    <a:lnTo>
                      <a:pt x="1194005" y="736599"/>
                    </a:lnTo>
                    <a:lnTo>
                      <a:pt x="1194005" y="744219"/>
                    </a:lnTo>
                    <a:lnTo>
                      <a:pt x="1195085" y="742949"/>
                    </a:lnTo>
                    <a:lnTo>
                      <a:pt x="1198326" y="736599"/>
                    </a:lnTo>
                    <a:close/>
                  </a:path>
                  <a:path w="3439795" h="1447800">
                    <a:moveTo>
                      <a:pt x="1226408" y="736599"/>
                    </a:moveTo>
                    <a:lnTo>
                      <a:pt x="1219928" y="736599"/>
                    </a:lnTo>
                    <a:lnTo>
                      <a:pt x="1226408" y="744219"/>
                    </a:lnTo>
                    <a:lnTo>
                      <a:pt x="1226408" y="736599"/>
                    </a:lnTo>
                    <a:close/>
                  </a:path>
                  <a:path w="3439795" h="1447800">
                    <a:moveTo>
                      <a:pt x="481494" y="736599"/>
                    </a:moveTo>
                    <a:lnTo>
                      <a:pt x="479334" y="742949"/>
                    </a:lnTo>
                    <a:lnTo>
                      <a:pt x="481494" y="741362"/>
                    </a:lnTo>
                    <a:lnTo>
                      <a:pt x="481494" y="736599"/>
                    </a:lnTo>
                    <a:close/>
                  </a:path>
                  <a:path w="3439795" h="1447800">
                    <a:moveTo>
                      <a:pt x="1200486" y="736599"/>
                    </a:moveTo>
                    <a:lnTo>
                      <a:pt x="1198326" y="736599"/>
                    </a:lnTo>
                    <a:lnTo>
                      <a:pt x="1195085" y="742949"/>
                    </a:lnTo>
                    <a:lnTo>
                      <a:pt x="1200486" y="736599"/>
                    </a:lnTo>
                    <a:close/>
                  </a:path>
                  <a:path w="3439795" h="1447800">
                    <a:moveTo>
                      <a:pt x="1132741" y="739150"/>
                    </a:moveTo>
                    <a:lnTo>
                      <a:pt x="1132645" y="739435"/>
                    </a:lnTo>
                    <a:lnTo>
                      <a:pt x="1135679" y="741999"/>
                    </a:lnTo>
                    <a:lnTo>
                      <a:pt x="1135679" y="741320"/>
                    </a:lnTo>
                    <a:lnTo>
                      <a:pt x="1132741" y="739150"/>
                    </a:lnTo>
                    <a:close/>
                  </a:path>
                  <a:path w="3439795" h="1447800">
                    <a:moveTo>
                      <a:pt x="487974" y="736599"/>
                    </a:moveTo>
                    <a:lnTo>
                      <a:pt x="481494" y="736599"/>
                    </a:lnTo>
                    <a:lnTo>
                      <a:pt x="481494" y="741362"/>
                    </a:lnTo>
                    <a:lnTo>
                      <a:pt x="487974" y="736599"/>
                    </a:lnTo>
                    <a:close/>
                  </a:path>
                  <a:path w="3439795" h="1447800">
                    <a:moveTo>
                      <a:pt x="1135679" y="736599"/>
                    </a:moveTo>
                    <a:lnTo>
                      <a:pt x="1133609" y="736599"/>
                    </a:lnTo>
                    <a:lnTo>
                      <a:pt x="1132741" y="739150"/>
                    </a:lnTo>
                    <a:lnTo>
                      <a:pt x="1135679" y="741320"/>
                    </a:lnTo>
                    <a:lnTo>
                      <a:pt x="1135679" y="736599"/>
                    </a:lnTo>
                    <a:close/>
                  </a:path>
                  <a:path w="3439795" h="1447800">
                    <a:moveTo>
                      <a:pt x="478253" y="730249"/>
                    </a:moveTo>
                    <a:lnTo>
                      <a:pt x="476453" y="740833"/>
                    </a:lnTo>
                    <a:lnTo>
                      <a:pt x="479334" y="736599"/>
                    </a:lnTo>
                    <a:lnTo>
                      <a:pt x="478253" y="730249"/>
                    </a:lnTo>
                    <a:close/>
                  </a:path>
                  <a:path w="3439795" h="1447800">
                    <a:moveTo>
                      <a:pt x="554941" y="736599"/>
                    </a:moveTo>
                    <a:lnTo>
                      <a:pt x="551341" y="740833"/>
                    </a:lnTo>
                    <a:lnTo>
                      <a:pt x="552781" y="739774"/>
                    </a:lnTo>
                    <a:lnTo>
                      <a:pt x="554941" y="736599"/>
                    </a:lnTo>
                    <a:close/>
                  </a:path>
                  <a:path w="3439795" h="1447800">
                    <a:moveTo>
                      <a:pt x="557101" y="736599"/>
                    </a:moveTo>
                    <a:lnTo>
                      <a:pt x="554941" y="736599"/>
                    </a:lnTo>
                    <a:lnTo>
                      <a:pt x="552781" y="739774"/>
                    </a:lnTo>
                    <a:lnTo>
                      <a:pt x="557101" y="736599"/>
                    </a:lnTo>
                    <a:close/>
                  </a:path>
                  <a:path w="3439795" h="1447800">
                    <a:moveTo>
                      <a:pt x="1131208" y="738017"/>
                    </a:moveTo>
                    <a:lnTo>
                      <a:pt x="1131177" y="738195"/>
                    </a:lnTo>
                    <a:lnTo>
                      <a:pt x="1132645" y="739435"/>
                    </a:lnTo>
                    <a:lnTo>
                      <a:pt x="1132727" y="739139"/>
                    </a:lnTo>
                    <a:lnTo>
                      <a:pt x="1131208" y="738017"/>
                    </a:lnTo>
                    <a:close/>
                  </a:path>
                  <a:path w="3439795" h="1447800">
                    <a:moveTo>
                      <a:pt x="1133609" y="736599"/>
                    </a:moveTo>
                    <a:lnTo>
                      <a:pt x="1131449" y="736599"/>
                    </a:lnTo>
                    <a:lnTo>
                      <a:pt x="1131208" y="738017"/>
                    </a:lnTo>
                    <a:lnTo>
                      <a:pt x="1132741" y="739150"/>
                    </a:lnTo>
                    <a:lnTo>
                      <a:pt x="1133609" y="736599"/>
                    </a:lnTo>
                    <a:close/>
                  </a:path>
                  <a:path w="3439795" h="1447800">
                    <a:moveTo>
                      <a:pt x="1185364" y="723899"/>
                    </a:moveTo>
                    <a:lnTo>
                      <a:pt x="1187524" y="736599"/>
                    </a:lnTo>
                    <a:lnTo>
                      <a:pt x="1189685" y="736599"/>
                    </a:lnTo>
                    <a:lnTo>
                      <a:pt x="1189685" y="739139"/>
                    </a:lnTo>
                    <a:lnTo>
                      <a:pt x="1191845" y="736599"/>
                    </a:lnTo>
                    <a:lnTo>
                      <a:pt x="1185364" y="723899"/>
                    </a:lnTo>
                    <a:close/>
                  </a:path>
                  <a:path w="3439795" h="1447800">
                    <a:moveTo>
                      <a:pt x="1129289" y="736599"/>
                    </a:moveTo>
                    <a:lnTo>
                      <a:pt x="1131177" y="738195"/>
                    </a:lnTo>
                    <a:lnTo>
                      <a:pt x="1131208" y="738017"/>
                    </a:lnTo>
                    <a:lnTo>
                      <a:pt x="1129289" y="736599"/>
                    </a:lnTo>
                    <a:close/>
                  </a:path>
                  <a:path w="3439795" h="1447800">
                    <a:moveTo>
                      <a:pt x="1131449" y="736599"/>
                    </a:moveTo>
                    <a:lnTo>
                      <a:pt x="1129289" y="736599"/>
                    </a:lnTo>
                    <a:lnTo>
                      <a:pt x="1131208" y="738017"/>
                    </a:lnTo>
                    <a:lnTo>
                      <a:pt x="1131449" y="736599"/>
                    </a:lnTo>
                    <a:close/>
                  </a:path>
                  <a:path w="3439795" h="1447800">
                    <a:moveTo>
                      <a:pt x="464212" y="711199"/>
                    </a:moveTo>
                    <a:lnTo>
                      <a:pt x="451251" y="723899"/>
                    </a:lnTo>
                    <a:lnTo>
                      <a:pt x="457731" y="736599"/>
                    </a:lnTo>
                    <a:lnTo>
                      <a:pt x="468532" y="723899"/>
                    </a:lnTo>
                    <a:lnTo>
                      <a:pt x="472853" y="723899"/>
                    </a:lnTo>
                    <a:lnTo>
                      <a:pt x="464212" y="711199"/>
                    </a:lnTo>
                    <a:close/>
                  </a:path>
                  <a:path w="3439795" h="1447800">
                    <a:moveTo>
                      <a:pt x="470693" y="723899"/>
                    </a:moveTo>
                    <a:lnTo>
                      <a:pt x="468532" y="723899"/>
                    </a:lnTo>
                    <a:lnTo>
                      <a:pt x="457731" y="736599"/>
                    </a:lnTo>
                    <a:lnTo>
                      <a:pt x="465292" y="730249"/>
                    </a:lnTo>
                    <a:lnTo>
                      <a:pt x="470693" y="723899"/>
                    </a:lnTo>
                    <a:close/>
                  </a:path>
                  <a:path w="3439795" h="1447800">
                    <a:moveTo>
                      <a:pt x="465292" y="730249"/>
                    </a:moveTo>
                    <a:lnTo>
                      <a:pt x="457731" y="736599"/>
                    </a:lnTo>
                    <a:lnTo>
                      <a:pt x="459892" y="736599"/>
                    </a:lnTo>
                    <a:lnTo>
                      <a:pt x="465292" y="730249"/>
                    </a:lnTo>
                    <a:close/>
                  </a:path>
                  <a:path w="3439795" h="1447800">
                    <a:moveTo>
                      <a:pt x="467812" y="728133"/>
                    </a:moveTo>
                    <a:lnTo>
                      <a:pt x="465292" y="730249"/>
                    </a:lnTo>
                    <a:lnTo>
                      <a:pt x="459892" y="736599"/>
                    </a:lnTo>
                    <a:lnTo>
                      <a:pt x="462052" y="736599"/>
                    </a:lnTo>
                    <a:lnTo>
                      <a:pt x="467812" y="728133"/>
                    </a:lnTo>
                    <a:close/>
                  </a:path>
                  <a:path w="3439795" h="1447800">
                    <a:moveTo>
                      <a:pt x="469829" y="726439"/>
                    </a:moveTo>
                    <a:lnTo>
                      <a:pt x="467812" y="728133"/>
                    </a:lnTo>
                    <a:lnTo>
                      <a:pt x="462052" y="736599"/>
                    </a:lnTo>
                    <a:lnTo>
                      <a:pt x="466372" y="736599"/>
                    </a:lnTo>
                    <a:lnTo>
                      <a:pt x="469829" y="726439"/>
                    </a:lnTo>
                    <a:close/>
                  </a:path>
                  <a:path w="3439795" h="1447800">
                    <a:moveTo>
                      <a:pt x="472853" y="723899"/>
                    </a:moveTo>
                    <a:lnTo>
                      <a:pt x="469829" y="726439"/>
                    </a:lnTo>
                    <a:lnTo>
                      <a:pt x="466372" y="736599"/>
                    </a:lnTo>
                    <a:lnTo>
                      <a:pt x="468532" y="736599"/>
                    </a:lnTo>
                    <a:lnTo>
                      <a:pt x="471233" y="733424"/>
                    </a:lnTo>
                    <a:lnTo>
                      <a:pt x="472853" y="723899"/>
                    </a:lnTo>
                    <a:close/>
                  </a:path>
                  <a:path w="3439795" h="1447800">
                    <a:moveTo>
                      <a:pt x="471233" y="733424"/>
                    </a:moveTo>
                    <a:lnTo>
                      <a:pt x="468532" y="736599"/>
                    </a:lnTo>
                    <a:lnTo>
                      <a:pt x="470693" y="736599"/>
                    </a:lnTo>
                    <a:lnTo>
                      <a:pt x="471233" y="733424"/>
                    </a:lnTo>
                    <a:close/>
                  </a:path>
                  <a:path w="3439795" h="1447800">
                    <a:moveTo>
                      <a:pt x="477533" y="726016"/>
                    </a:moveTo>
                    <a:lnTo>
                      <a:pt x="472853" y="731519"/>
                    </a:lnTo>
                    <a:lnTo>
                      <a:pt x="472853" y="736599"/>
                    </a:lnTo>
                    <a:lnTo>
                      <a:pt x="477173" y="736599"/>
                    </a:lnTo>
                    <a:lnTo>
                      <a:pt x="478253" y="730249"/>
                    </a:lnTo>
                    <a:lnTo>
                      <a:pt x="477533" y="726016"/>
                    </a:lnTo>
                    <a:close/>
                  </a:path>
                  <a:path w="3439795" h="1447800">
                    <a:moveTo>
                      <a:pt x="487974" y="723899"/>
                    </a:moveTo>
                    <a:lnTo>
                      <a:pt x="479334" y="723899"/>
                    </a:lnTo>
                    <a:lnTo>
                      <a:pt x="487974" y="736599"/>
                    </a:lnTo>
                    <a:lnTo>
                      <a:pt x="487974" y="723899"/>
                    </a:lnTo>
                    <a:close/>
                  </a:path>
                  <a:path w="3439795" h="1447800">
                    <a:moveTo>
                      <a:pt x="510657" y="704849"/>
                    </a:moveTo>
                    <a:lnTo>
                      <a:pt x="505256" y="709385"/>
                    </a:lnTo>
                    <a:lnTo>
                      <a:pt x="505256" y="711199"/>
                    </a:lnTo>
                    <a:lnTo>
                      <a:pt x="509577" y="736599"/>
                    </a:lnTo>
                    <a:lnTo>
                      <a:pt x="513897" y="736599"/>
                    </a:lnTo>
                    <a:lnTo>
                      <a:pt x="520378" y="723899"/>
                    </a:lnTo>
                    <a:lnTo>
                      <a:pt x="524698" y="723899"/>
                    </a:lnTo>
                    <a:lnTo>
                      <a:pt x="522538" y="711199"/>
                    </a:lnTo>
                    <a:lnTo>
                      <a:pt x="507416" y="711199"/>
                    </a:lnTo>
                    <a:lnTo>
                      <a:pt x="510657" y="704849"/>
                    </a:lnTo>
                    <a:close/>
                  </a:path>
                  <a:path w="3439795" h="1447800">
                    <a:moveTo>
                      <a:pt x="524698" y="723899"/>
                    </a:moveTo>
                    <a:lnTo>
                      <a:pt x="520378" y="723899"/>
                    </a:lnTo>
                    <a:lnTo>
                      <a:pt x="513897" y="736599"/>
                    </a:lnTo>
                    <a:lnTo>
                      <a:pt x="524698" y="723899"/>
                    </a:lnTo>
                    <a:close/>
                  </a:path>
                  <a:path w="3439795" h="1447800">
                    <a:moveTo>
                      <a:pt x="526858" y="723899"/>
                    </a:moveTo>
                    <a:lnTo>
                      <a:pt x="524698" y="723899"/>
                    </a:lnTo>
                    <a:lnTo>
                      <a:pt x="513897" y="736599"/>
                    </a:lnTo>
                    <a:lnTo>
                      <a:pt x="525994" y="726439"/>
                    </a:lnTo>
                    <a:lnTo>
                      <a:pt x="526858" y="723899"/>
                    </a:lnTo>
                    <a:close/>
                  </a:path>
                  <a:path w="3439795" h="1447800">
                    <a:moveTo>
                      <a:pt x="525994" y="726439"/>
                    </a:moveTo>
                    <a:lnTo>
                      <a:pt x="513897" y="736599"/>
                    </a:lnTo>
                    <a:lnTo>
                      <a:pt x="518217" y="736599"/>
                    </a:lnTo>
                    <a:lnTo>
                      <a:pt x="525418" y="728133"/>
                    </a:lnTo>
                    <a:lnTo>
                      <a:pt x="525994" y="726439"/>
                    </a:lnTo>
                    <a:close/>
                  </a:path>
                  <a:path w="3439795" h="1447800">
                    <a:moveTo>
                      <a:pt x="525418" y="728133"/>
                    </a:moveTo>
                    <a:lnTo>
                      <a:pt x="518217" y="736599"/>
                    </a:lnTo>
                    <a:lnTo>
                      <a:pt x="522538" y="736599"/>
                    </a:lnTo>
                    <a:lnTo>
                      <a:pt x="525418" y="728133"/>
                    </a:lnTo>
                    <a:close/>
                  </a:path>
                  <a:path w="3439795" h="1447800">
                    <a:moveTo>
                      <a:pt x="533339" y="723899"/>
                    </a:moveTo>
                    <a:lnTo>
                      <a:pt x="529019" y="723899"/>
                    </a:lnTo>
                    <a:lnTo>
                      <a:pt x="525418" y="728133"/>
                    </a:lnTo>
                    <a:lnTo>
                      <a:pt x="522538" y="736599"/>
                    </a:lnTo>
                    <a:lnTo>
                      <a:pt x="533339" y="723899"/>
                    </a:lnTo>
                    <a:close/>
                  </a:path>
                  <a:path w="3439795" h="1447800">
                    <a:moveTo>
                      <a:pt x="608857" y="713739"/>
                    </a:moveTo>
                    <a:lnTo>
                      <a:pt x="600216" y="723899"/>
                    </a:lnTo>
                    <a:lnTo>
                      <a:pt x="604536" y="736599"/>
                    </a:lnTo>
                    <a:lnTo>
                      <a:pt x="611017" y="723899"/>
                    </a:lnTo>
                    <a:lnTo>
                      <a:pt x="602376" y="723899"/>
                    </a:lnTo>
                    <a:lnTo>
                      <a:pt x="608857" y="714374"/>
                    </a:lnTo>
                    <a:lnTo>
                      <a:pt x="608857" y="713739"/>
                    </a:lnTo>
                    <a:close/>
                  </a:path>
                  <a:path w="3439795" h="1447800">
                    <a:moveTo>
                      <a:pt x="611017" y="711199"/>
                    </a:moveTo>
                    <a:lnTo>
                      <a:pt x="608857" y="714374"/>
                    </a:lnTo>
                    <a:lnTo>
                      <a:pt x="608857" y="723899"/>
                    </a:lnTo>
                    <a:lnTo>
                      <a:pt x="611017" y="723899"/>
                    </a:lnTo>
                    <a:lnTo>
                      <a:pt x="604536" y="736599"/>
                    </a:lnTo>
                    <a:lnTo>
                      <a:pt x="617497" y="723899"/>
                    </a:lnTo>
                    <a:lnTo>
                      <a:pt x="611017" y="711199"/>
                    </a:lnTo>
                    <a:close/>
                  </a:path>
                  <a:path w="3439795" h="1447800">
                    <a:moveTo>
                      <a:pt x="621818" y="723899"/>
                    </a:moveTo>
                    <a:lnTo>
                      <a:pt x="617497" y="723899"/>
                    </a:lnTo>
                    <a:lnTo>
                      <a:pt x="604536" y="736599"/>
                    </a:lnTo>
                    <a:lnTo>
                      <a:pt x="621818" y="736599"/>
                    </a:lnTo>
                    <a:lnTo>
                      <a:pt x="621818" y="723899"/>
                    </a:lnTo>
                    <a:close/>
                  </a:path>
                  <a:path w="3439795" h="1447800">
                    <a:moveTo>
                      <a:pt x="626138" y="723899"/>
                    </a:moveTo>
                    <a:lnTo>
                      <a:pt x="621818" y="723899"/>
                    </a:lnTo>
                    <a:lnTo>
                      <a:pt x="621818" y="736599"/>
                    </a:lnTo>
                    <a:lnTo>
                      <a:pt x="632619" y="736599"/>
                    </a:lnTo>
                    <a:lnTo>
                      <a:pt x="632619" y="733424"/>
                    </a:lnTo>
                    <a:lnTo>
                      <a:pt x="626138" y="723899"/>
                    </a:lnTo>
                    <a:close/>
                  </a:path>
                  <a:path w="3439795" h="1447800">
                    <a:moveTo>
                      <a:pt x="632619" y="733424"/>
                    </a:moveTo>
                    <a:lnTo>
                      <a:pt x="632619" y="736599"/>
                    </a:lnTo>
                    <a:lnTo>
                      <a:pt x="634779" y="736599"/>
                    </a:lnTo>
                    <a:lnTo>
                      <a:pt x="632619" y="733424"/>
                    </a:lnTo>
                    <a:close/>
                  </a:path>
                  <a:path w="3439795" h="1447800">
                    <a:moveTo>
                      <a:pt x="634779" y="723899"/>
                    </a:moveTo>
                    <a:lnTo>
                      <a:pt x="632619" y="723899"/>
                    </a:lnTo>
                    <a:lnTo>
                      <a:pt x="632619" y="733424"/>
                    </a:lnTo>
                    <a:lnTo>
                      <a:pt x="634779" y="736599"/>
                    </a:lnTo>
                    <a:lnTo>
                      <a:pt x="634779" y="723899"/>
                    </a:lnTo>
                    <a:close/>
                  </a:path>
                  <a:path w="3439795" h="1447800">
                    <a:moveTo>
                      <a:pt x="641260" y="723899"/>
                    </a:moveTo>
                    <a:lnTo>
                      <a:pt x="634779" y="723899"/>
                    </a:lnTo>
                    <a:lnTo>
                      <a:pt x="634779" y="736599"/>
                    </a:lnTo>
                    <a:lnTo>
                      <a:pt x="641260" y="727074"/>
                    </a:lnTo>
                    <a:lnTo>
                      <a:pt x="641260" y="723899"/>
                    </a:lnTo>
                    <a:close/>
                  </a:path>
                  <a:path w="3439795" h="1447800">
                    <a:moveTo>
                      <a:pt x="641260" y="727074"/>
                    </a:moveTo>
                    <a:lnTo>
                      <a:pt x="634779" y="736599"/>
                    </a:lnTo>
                    <a:lnTo>
                      <a:pt x="641260" y="736599"/>
                    </a:lnTo>
                    <a:lnTo>
                      <a:pt x="641260" y="727074"/>
                    </a:lnTo>
                    <a:close/>
                  </a:path>
                  <a:path w="3439795" h="1447800">
                    <a:moveTo>
                      <a:pt x="643420" y="723899"/>
                    </a:moveTo>
                    <a:lnTo>
                      <a:pt x="641260" y="727074"/>
                    </a:lnTo>
                    <a:lnTo>
                      <a:pt x="641260" y="736599"/>
                    </a:lnTo>
                    <a:lnTo>
                      <a:pt x="643420" y="723899"/>
                    </a:lnTo>
                    <a:close/>
                  </a:path>
                  <a:path w="3439795" h="1447800">
                    <a:moveTo>
                      <a:pt x="643420" y="723899"/>
                    </a:moveTo>
                    <a:lnTo>
                      <a:pt x="641260" y="736599"/>
                    </a:lnTo>
                    <a:lnTo>
                      <a:pt x="643420" y="736599"/>
                    </a:lnTo>
                    <a:lnTo>
                      <a:pt x="643420" y="723899"/>
                    </a:lnTo>
                    <a:close/>
                  </a:path>
                  <a:path w="3439795" h="1447800">
                    <a:moveTo>
                      <a:pt x="645580" y="711199"/>
                    </a:moveTo>
                    <a:lnTo>
                      <a:pt x="643420" y="723899"/>
                    </a:lnTo>
                    <a:lnTo>
                      <a:pt x="643420" y="736599"/>
                    </a:lnTo>
                    <a:lnTo>
                      <a:pt x="645580" y="736599"/>
                    </a:lnTo>
                    <a:lnTo>
                      <a:pt x="645580" y="711199"/>
                    </a:lnTo>
                    <a:close/>
                  </a:path>
                  <a:path w="3439795" h="1447800">
                    <a:moveTo>
                      <a:pt x="649901" y="711199"/>
                    </a:moveTo>
                    <a:lnTo>
                      <a:pt x="645580" y="711199"/>
                    </a:lnTo>
                    <a:lnTo>
                      <a:pt x="645580" y="736599"/>
                    </a:lnTo>
                    <a:lnTo>
                      <a:pt x="647740" y="736599"/>
                    </a:lnTo>
                    <a:lnTo>
                      <a:pt x="652061" y="723899"/>
                    </a:lnTo>
                    <a:lnTo>
                      <a:pt x="656381" y="723899"/>
                    </a:lnTo>
                    <a:lnTo>
                      <a:pt x="649901" y="711199"/>
                    </a:lnTo>
                    <a:close/>
                  </a:path>
                  <a:path w="3439795" h="1447800">
                    <a:moveTo>
                      <a:pt x="656381" y="723899"/>
                    </a:moveTo>
                    <a:lnTo>
                      <a:pt x="652061" y="723899"/>
                    </a:lnTo>
                    <a:lnTo>
                      <a:pt x="647740" y="736599"/>
                    </a:lnTo>
                    <a:lnTo>
                      <a:pt x="656381" y="723899"/>
                    </a:lnTo>
                    <a:close/>
                  </a:path>
                  <a:path w="3439795" h="1447800">
                    <a:moveTo>
                      <a:pt x="656381" y="723899"/>
                    </a:moveTo>
                    <a:lnTo>
                      <a:pt x="647740" y="736599"/>
                    </a:lnTo>
                    <a:lnTo>
                      <a:pt x="649901" y="736599"/>
                    </a:lnTo>
                    <a:lnTo>
                      <a:pt x="656381" y="723899"/>
                    </a:lnTo>
                    <a:close/>
                  </a:path>
                  <a:path w="3439795" h="1447800">
                    <a:moveTo>
                      <a:pt x="656381" y="723899"/>
                    </a:moveTo>
                    <a:lnTo>
                      <a:pt x="649901" y="736599"/>
                    </a:lnTo>
                    <a:lnTo>
                      <a:pt x="656381" y="730249"/>
                    </a:lnTo>
                    <a:lnTo>
                      <a:pt x="656381" y="723899"/>
                    </a:lnTo>
                    <a:close/>
                  </a:path>
                  <a:path w="3439795" h="1447800">
                    <a:moveTo>
                      <a:pt x="656381" y="730249"/>
                    </a:moveTo>
                    <a:lnTo>
                      <a:pt x="649901" y="736599"/>
                    </a:lnTo>
                    <a:lnTo>
                      <a:pt x="652061" y="736599"/>
                    </a:lnTo>
                    <a:lnTo>
                      <a:pt x="656381" y="731519"/>
                    </a:lnTo>
                    <a:lnTo>
                      <a:pt x="656381" y="730249"/>
                    </a:lnTo>
                    <a:close/>
                  </a:path>
                  <a:path w="3439795" h="1447800">
                    <a:moveTo>
                      <a:pt x="656381" y="731519"/>
                    </a:moveTo>
                    <a:lnTo>
                      <a:pt x="652061" y="736599"/>
                    </a:lnTo>
                    <a:lnTo>
                      <a:pt x="656381" y="736599"/>
                    </a:lnTo>
                    <a:lnTo>
                      <a:pt x="656381" y="731519"/>
                    </a:lnTo>
                    <a:close/>
                  </a:path>
                  <a:path w="3439795" h="1447800">
                    <a:moveTo>
                      <a:pt x="1146480" y="723899"/>
                    </a:moveTo>
                    <a:lnTo>
                      <a:pt x="1140000" y="723899"/>
                    </a:lnTo>
                    <a:lnTo>
                      <a:pt x="1155121" y="736599"/>
                    </a:lnTo>
                    <a:lnTo>
                      <a:pt x="1157281" y="736599"/>
                    </a:lnTo>
                    <a:lnTo>
                      <a:pt x="1156201" y="733424"/>
                    </a:lnTo>
                    <a:lnTo>
                      <a:pt x="1146480" y="723899"/>
                    </a:lnTo>
                    <a:close/>
                  </a:path>
                  <a:path w="3439795" h="1447800">
                    <a:moveTo>
                      <a:pt x="1156201" y="733424"/>
                    </a:moveTo>
                    <a:lnTo>
                      <a:pt x="1157281" y="736599"/>
                    </a:lnTo>
                    <a:lnTo>
                      <a:pt x="1159442" y="736599"/>
                    </a:lnTo>
                    <a:lnTo>
                      <a:pt x="1156201" y="733424"/>
                    </a:lnTo>
                    <a:close/>
                  </a:path>
                  <a:path w="3439795" h="1447800">
                    <a:moveTo>
                      <a:pt x="1148641" y="711199"/>
                    </a:moveTo>
                    <a:lnTo>
                      <a:pt x="1156201" y="733424"/>
                    </a:lnTo>
                    <a:lnTo>
                      <a:pt x="1159442" y="736599"/>
                    </a:lnTo>
                    <a:lnTo>
                      <a:pt x="1161602" y="730249"/>
                    </a:lnTo>
                    <a:lnTo>
                      <a:pt x="1159442" y="723899"/>
                    </a:lnTo>
                    <a:lnTo>
                      <a:pt x="1161013" y="721590"/>
                    </a:lnTo>
                    <a:lnTo>
                      <a:pt x="1148641" y="711199"/>
                    </a:lnTo>
                    <a:close/>
                  </a:path>
                  <a:path w="3439795" h="1447800">
                    <a:moveTo>
                      <a:pt x="1161602" y="730249"/>
                    </a:moveTo>
                    <a:lnTo>
                      <a:pt x="1159442" y="736599"/>
                    </a:lnTo>
                    <a:lnTo>
                      <a:pt x="1161602" y="736599"/>
                    </a:lnTo>
                    <a:lnTo>
                      <a:pt x="1161602" y="730249"/>
                    </a:lnTo>
                    <a:close/>
                  </a:path>
                  <a:path w="3439795" h="1447800">
                    <a:moveTo>
                      <a:pt x="1161602" y="730249"/>
                    </a:moveTo>
                    <a:lnTo>
                      <a:pt x="1161602" y="736599"/>
                    </a:lnTo>
                    <a:lnTo>
                      <a:pt x="1163762" y="736599"/>
                    </a:lnTo>
                    <a:lnTo>
                      <a:pt x="1161602" y="730249"/>
                    </a:lnTo>
                    <a:close/>
                  </a:path>
                  <a:path w="3439795" h="1447800">
                    <a:moveTo>
                      <a:pt x="1168083" y="711199"/>
                    </a:moveTo>
                    <a:lnTo>
                      <a:pt x="1161602" y="720724"/>
                    </a:lnTo>
                    <a:lnTo>
                      <a:pt x="1161602" y="722085"/>
                    </a:lnTo>
                    <a:lnTo>
                      <a:pt x="1163762" y="723899"/>
                    </a:lnTo>
                    <a:lnTo>
                      <a:pt x="1161602" y="730249"/>
                    </a:lnTo>
                    <a:lnTo>
                      <a:pt x="1163762" y="736599"/>
                    </a:lnTo>
                    <a:lnTo>
                      <a:pt x="1168083" y="732971"/>
                    </a:lnTo>
                    <a:lnTo>
                      <a:pt x="1168083" y="711199"/>
                    </a:lnTo>
                    <a:close/>
                  </a:path>
                  <a:path w="3439795" h="1447800">
                    <a:moveTo>
                      <a:pt x="1168083" y="732971"/>
                    </a:moveTo>
                    <a:lnTo>
                      <a:pt x="1163762" y="736599"/>
                    </a:lnTo>
                    <a:lnTo>
                      <a:pt x="1165922" y="736599"/>
                    </a:lnTo>
                    <a:lnTo>
                      <a:pt x="1168083" y="734483"/>
                    </a:lnTo>
                    <a:lnTo>
                      <a:pt x="1168083" y="732971"/>
                    </a:lnTo>
                    <a:close/>
                  </a:path>
                  <a:path w="3439795" h="1447800">
                    <a:moveTo>
                      <a:pt x="1168083" y="734483"/>
                    </a:moveTo>
                    <a:lnTo>
                      <a:pt x="1165922" y="736599"/>
                    </a:lnTo>
                    <a:lnTo>
                      <a:pt x="1168083" y="735012"/>
                    </a:lnTo>
                    <a:lnTo>
                      <a:pt x="1168083" y="734483"/>
                    </a:lnTo>
                    <a:close/>
                  </a:path>
                  <a:path w="3439795" h="1447800">
                    <a:moveTo>
                      <a:pt x="1168083" y="735012"/>
                    </a:moveTo>
                    <a:lnTo>
                      <a:pt x="1165922" y="736599"/>
                    </a:lnTo>
                    <a:lnTo>
                      <a:pt x="1168083" y="736599"/>
                    </a:lnTo>
                    <a:lnTo>
                      <a:pt x="1168083" y="735012"/>
                    </a:lnTo>
                    <a:close/>
                  </a:path>
                  <a:path w="3439795" h="1447800">
                    <a:moveTo>
                      <a:pt x="1259892" y="730249"/>
                    </a:moveTo>
                    <a:lnTo>
                      <a:pt x="1265292" y="736599"/>
                    </a:lnTo>
                    <a:lnTo>
                      <a:pt x="1267452" y="736599"/>
                    </a:lnTo>
                    <a:lnTo>
                      <a:pt x="1259892" y="730249"/>
                    </a:lnTo>
                    <a:close/>
                  </a:path>
                  <a:path w="3439795" h="1447800">
                    <a:moveTo>
                      <a:pt x="1256651" y="711199"/>
                    </a:moveTo>
                    <a:lnTo>
                      <a:pt x="1254491" y="723899"/>
                    </a:lnTo>
                    <a:lnTo>
                      <a:pt x="1259892" y="730249"/>
                    </a:lnTo>
                    <a:lnTo>
                      <a:pt x="1267452" y="736599"/>
                    </a:lnTo>
                    <a:lnTo>
                      <a:pt x="1256651" y="723899"/>
                    </a:lnTo>
                    <a:lnTo>
                      <a:pt x="1267452" y="723899"/>
                    </a:lnTo>
                    <a:lnTo>
                      <a:pt x="1256651" y="711199"/>
                    </a:lnTo>
                    <a:close/>
                  </a:path>
                  <a:path w="3439795" h="1447800">
                    <a:moveTo>
                      <a:pt x="1271773" y="698499"/>
                    </a:moveTo>
                    <a:lnTo>
                      <a:pt x="1263132" y="698499"/>
                    </a:lnTo>
                    <a:lnTo>
                      <a:pt x="1256651" y="711199"/>
                    </a:lnTo>
                    <a:lnTo>
                      <a:pt x="1267452" y="723899"/>
                    </a:lnTo>
                    <a:lnTo>
                      <a:pt x="1256651" y="723899"/>
                    </a:lnTo>
                    <a:lnTo>
                      <a:pt x="1267452" y="736599"/>
                    </a:lnTo>
                    <a:lnTo>
                      <a:pt x="1271773" y="723899"/>
                    </a:lnTo>
                    <a:lnTo>
                      <a:pt x="1273933" y="711199"/>
                    </a:lnTo>
                    <a:lnTo>
                      <a:pt x="1271773" y="698499"/>
                    </a:lnTo>
                    <a:close/>
                  </a:path>
                  <a:path w="3439795" h="1447800">
                    <a:moveTo>
                      <a:pt x="1379694" y="711199"/>
                    </a:moveTo>
                    <a:lnTo>
                      <a:pt x="1368893" y="711199"/>
                    </a:lnTo>
                    <a:lnTo>
                      <a:pt x="1355931" y="723899"/>
                    </a:lnTo>
                    <a:lnTo>
                      <a:pt x="1362412" y="723899"/>
                    </a:lnTo>
                    <a:lnTo>
                      <a:pt x="1379694" y="736599"/>
                    </a:lnTo>
                    <a:lnTo>
                      <a:pt x="1379694" y="728133"/>
                    </a:lnTo>
                    <a:lnTo>
                      <a:pt x="1377534" y="723899"/>
                    </a:lnTo>
                    <a:lnTo>
                      <a:pt x="1379694" y="711199"/>
                    </a:lnTo>
                    <a:close/>
                  </a:path>
                  <a:path w="3439795" h="1447800">
                    <a:moveTo>
                      <a:pt x="1386174" y="711199"/>
                    </a:moveTo>
                    <a:lnTo>
                      <a:pt x="1379694" y="711199"/>
                    </a:lnTo>
                    <a:lnTo>
                      <a:pt x="1379694" y="728133"/>
                    </a:lnTo>
                    <a:lnTo>
                      <a:pt x="1384014" y="736599"/>
                    </a:lnTo>
                    <a:lnTo>
                      <a:pt x="1386174" y="711199"/>
                    </a:lnTo>
                    <a:close/>
                  </a:path>
                  <a:path w="3439795" h="1447800">
                    <a:moveTo>
                      <a:pt x="1388335" y="711199"/>
                    </a:moveTo>
                    <a:lnTo>
                      <a:pt x="1386174" y="711199"/>
                    </a:lnTo>
                    <a:lnTo>
                      <a:pt x="1384014" y="736599"/>
                    </a:lnTo>
                    <a:lnTo>
                      <a:pt x="1388335" y="711199"/>
                    </a:lnTo>
                    <a:close/>
                  </a:path>
                  <a:path w="3439795" h="1447800">
                    <a:moveTo>
                      <a:pt x="1394815" y="711199"/>
                    </a:moveTo>
                    <a:lnTo>
                      <a:pt x="1388335" y="711199"/>
                    </a:lnTo>
                    <a:lnTo>
                      <a:pt x="1384014" y="736599"/>
                    </a:lnTo>
                    <a:lnTo>
                      <a:pt x="1394815" y="736599"/>
                    </a:lnTo>
                    <a:lnTo>
                      <a:pt x="1394815" y="711199"/>
                    </a:lnTo>
                    <a:close/>
                  </a:path>
                  <a:path w="3439795" h="1447800">
                    <a:moveTo>
                      <a:pt x="1394815" y="711199"/>
                    </a:moveTo>
                    <a:lnTo>
                      <a:pt x="1394815" y="736599"/>
                    </a:lnTo>
                    <a:lnTo>
                      <a:pt x="1399136" y="736599"/>
                    </a:lnTo>
                    <a:lnTo>
                      <a:pt x="1394815" y="711199"/>
                    </a:lnTo>
                    <a:close/>
                  </a:path>
                  <a:path w="3439795" h="1447800">
                    <a:moveTo>
                      <a:pt x="1399136" y="711199"/>
                    </a:moveTo>
                    <a:lnTo>
                      <a:pt x="1394815" y="711199"/>
                    </a:lnTo>
                    <a:lnTo>
                      <a:pt x="1399136" y="736599"/>
                    </a:lnTo>
                    <a:lnTo>
                      <a:pt x="1399136" y="711199"/>
                    </a:lnTo>
                    <a:close/>
                  </a:path>
                  <a:path w="3439795" h="1447800">
                    <a:moveTo>
                      <a:pt x="1399136" y="711199"/>
                    </a:moveTo>
                    <a:lnTo>
                      <a:pt x="1399136" y="736599"/>
                    </a:lnTo>
                    <a:lnTo>
                      <a:pt x="1407777" y="723899"/>
                    </a:lnTo>
                    <a:lnTo>
                      <a:pt x="1405616" y="723899"/>
                    </a:lnTo>
                    <a:lnTo>
                      <a:pt x="1399136" y="711199"/>
                    </a:lnTo>
                    <a:close/>
                  </a:path>
                  <a:path w="3439795" h="1447800">
                    <a:moveTo>
                      <a:pt x="1183204" y="723899"/>
                    </a:moveTo>
                    <a:lnTo>
                      <a:pt x="1178884" y="723899"/>
                    </a:lnTo>
                    <a:lnTo>
                      <a:pt x="1168083" y="734483"/>
                    </a:lnTo>
                    <a:lnTo>
                      <a:pt x="1168083" y="735012"/>
                    </a:lnTo>
                    <a:lnTo>
                      <a:pt x="1183204" y="723899"/>
                    </a:lnTo>
                    <a:close/>
                  </a:path>
                  <a:path w="3439795" h="1447800">
                    <a:moveTo>
                      <a:pt x="1178884" y="723899"/>
                    </a:moveTo>
                    <a:lnTo>
                      <a:pt x="1168083" y="732971"/>
                    </a:lnTo>
                    <a:lnTo>
                      <a:pt x="1168083" y="734483"/>
                    </a:lnTo>
                    <a:lnTo>
                      <a:pt x="1178884" y="723899"/>
                    </a:lnTo>
                    <a:close/>
                  </a:path>
                  <a:path w="3439795" h="1447800">
                    <a:moveTo>
                      <a:pt x="472853" y="723899"/>
                    </a:moveTo>
                    <a:lnTo>
                      <a:pt x="471233" y="733424"/>
                    </a:lnTo>
                    <a:lnTo>
                      <a:pt x="472853" y="731519"/>
                    </a:lnTo>
                    <a:lnTo>
                      <a:pt x="472853" y="723899"/>
                    </a:lnTo>
                    <a:close/>
                  </a:path>
                  <a:path w="3439795" h="1447800">
                    <a:moveTo>
                      <a:pt x="641260" y="711199"/>
                    </a:moveTo>
                    <a:lnTo>
                      <a:pt x="634779" y="711199"/>
                    </a:lnTo>
                    <a:lnTo>
                      <a:pt x="626138" y="723899"/>
                    </a:lnTo>
                    <a:lnTo>
                      <a:pt x="632619" y="733424"/>
                    </a:lnTo>
                    <a:lnTo>
                      <a:pt x="632619" y="723899"/>
                    </a:lnTo>
                    <a:lnTo>
                      <a:pt x="641260" y="723899"/>
                    </a:lnTo>
                    <a:lnTo>
                      <a:pt x="641260" y="711199"/>
                    </a:lnTo>
                    <a:close/>
                  </a:path>
                  <a:path w="3439795" h="1447800">
                    <a:moveTo>
                      <a:pt x="1148641" y="711199"/>
                    </a:moveTo>
                    <a:lnTo>
                      <a:pt x="1146480" y="723899"/>
                    </a:lnTo>
                    <a:lnTo>
                      <a:pt x="1156201" y="733424"/>
                    </a:lnTo>
                    <a:lnTo>
                      <a:pt x="1148641" y="711199"/>
                    </a:lnTo>
                    <a:close/>
                  </a:path>
                  <a:path w="3439795" h="1447800">
                    <a:moveTo>
                      <a:pt x="1174563" y="711199"/>
                    </a:moveTo>
                    <a:lnTo>
                      <a:pt x="1168083" y="711199"/>
                    </a:lnTo>
                    <a:lnTo>
                      <a:pt x="1168083" y="732971"/>
                    </a:lnTo>
                    <a:lnTo>
                      <a:pt x="1178884" y="723899"/>
                    </a:lnTo>
                    <a:lnTo>
                      <a:pt x="1174563" y="711199"/>
                    </a:lnTo>
                    <a:close/>
                  </a:path>
                  <a:path w="3439795" h="1447800">
                    <a:moveTo>
                      <a:pt x="477173" y="723899"/>
                    </a:moveTo>
                    <a:lnTo>
                      <a:pt x="472853" y="723899"/>
                    </a:lnTo>
                    <a:lnTo>
                      <a:pt x="472853" y="731519"/>
                    </a:lnTo>
                    <a:lnTo>
                      <a:pt x="477533" y="726016"/>
                    </a:lnTo>
                    <a:lnTo>
                      <a:pt x="477173" y="723899"/>
                    </a:lnTo>
                    <a:close/>
                  </a:path>
                  <a:path w="3439795" h="1447800">
                    <a:moveTo>
                      <a:pt x="662862" y="723899"/>
                    </a:moveTo>
                    <a:lnTo>
                      <a:pt x="656381" y="730249"/>
                    </a:lnTo>
                    <a:lnTo>
                      <a:pt x="656381" y="731519"/>
                    </a:lnTo>
                    <a:lnTo>
                      <a:pt x="662862" y="723899"/>
                    </a:lnTo>
                    <a:close/>
                  </a:path>
                  <a:path w="3439795" h="1447800">
                    <a:moveTo>
                      <a:pt x="470693" y="723899"/>
                    </a:moveTo>
                    <a:lnTo>
                      <a:pt x="465292" y="730249"/>
                    </a:lnTo>
                    <a:lnTo>
                      <a:pt x="467812" y="728133"/>
                    </a:lnTo>
                    <a:lnTo>
                      <a:pt x="470693" y="723899"/>
                    </a:lnTo>
                    <a:close/>
                  </a:path>
                  <a:path w="3439795" h="1447800">
                    <a:moveTo>
                      <a:pt x="479334" y="723899"/>
                    </a:moveTo>
                    <a:lnTo>
                      <a:pt x="477533" y="726016"/>
                    </a:lnTo>
                    <a:lnTo>
                      <a:pt x="478253" y="730249"/>
                    </a:lnTo>
                    <a:lnTo>
                      <a:pt x="479334" y="723899"/>
                    </a:lnTo>
                    <a:close/>
                  </a:path>
                  <a:path w="3439795" h="1447800">
                    <a:moveTo>
                      <a:pt x="662862" y="723899"/>
                    </a:moveTo>
                    <a:lnTo>
                      <a:pt x="656381" y="723899"/>
                    </a:lnTo>
                    <a:lnTo>
                      <a:pt x="656381" y="730249"/>
                    </a:lnTo>
                    <a:lnTo>
                      <a:pt x="662862" y="723899"/>
                    </a:lnTo>
                    <a:close/>
                  </a:path>
                  <a:path w="3439795" h="1447800">
                    <a:moveTo>
                      <a:pt x="1161013" y="721590"/>
                    </a:moveTo>
                    <a:lnTo>
                      <a:pt x="1159442" y="723899"/>
                    </a:lnTo>
                    <a:lnTo>
                      <a:pt x="1161602" y="730249"/>
                    </a:lnTo>
                    <a:lnTo>
                      <a:pt x="1161602" y="722085"/>
                    </a:lnTo>
                    <a:lnTo>
                      <a:pt x="1161013" y="721590"/>
                    </a:lnTo>
                    <a:close/>
                  </a:path>
                  <a:path w="3439795" h="1447800">
                    <a:moveTo>
                      <a:pt x="1161602" y="722085"/>
                    </a:moveTo>
                    <a:lnTo>
                      <a:pt x="1161602" y="730249"/>
                    </a:lnTo>
                    <a:lnTo>
                      <a:pt x="1163762" y="723899"/>
                    </a:lnTo>
                    <a:lnTo>
                      <a:pt x="1161602" y="722085"/>
                    </a:lnTo>
                    <a:close/>
                  </a:path>
                  <a:path w="3439795" h="1447800">
                    <a:moveTo>
                      <a:pt x="1254491" y="723899"/>
                    </a:moveTo>
                    <a:lnTo>
                      <a:pt x="1254851" y="726016"/>
                    </a:lnTo>
                    <a:lnTo>
                      <a:pt x="1259892" y="730249"/>
                    </a:lnTo>
                    <a:lnTo>
                      <a:pt x="1254491" y="723899"/>
                    </a:lnTo>
                    <a:close/>
                  </a:path>
                  <a:path w="3439795" h="1447800">
                    <a:moveTo>
                      <a:pt x="470693" y="723899"/>
                    </a:moveTo>
                    <a:lnTo>
                      <a:pt x="467812" y="728133"/>
                    </a:lnTo>
                    <a:lnTo>
                      <a:pt x="469829" y="726439"/>
                    </a:lnTo>
                    <a:lnTo>
                      <a:pt x="470693" y="723899"/>
                    </a:lnTo>
                    <a:close/>
                  </a:path>
                  <a:path w="3439795" h="1447800">
                    <a:moveTo>
                      <a:pt x="529019" y="723899"/>
                    </a:moveTo>
                    <a:lnTo>
                      <a:pt x="525994" y="726439"/>
                    </a:lnTo>
                    <a:lnTo>
                      <a:pt x="525418" y="728133"/>
                    </a:lnTo>
                    <a:lnTo>
                      <a:pt x="529019" y="723899"/>
                    </a:lnTo>
                    <a:close/>
                  </a:path>
                  <a:path w="3439795" h="1447800">
                    <a:moveTo>
                      <a:pt x="1379694" y="711199"/>
                    </a:moveTo>
                    <a:lnTo>
                      <a:pt x="1377534" y="723899"/>
                    </a:lnTo>
                    <a:lnTo>
                      <a:pt x="1379694" y="728133"/>
                    </a:lnTo>
                    <a:lnTo>
                      <a:pt x="1379694" y="711199"/>
                    </a:lnTo>
                    <a:close/>
                  </a:path>
                  <a:path w="3439795" h="1447800">
                    <a:moveTo>
                      <a:pt x="645580" y="711199"/>
                    </a:moveTo>
                    <a:lnTo>
                      <a:pt x="641260" y="711199"/>
                    </a:lnTo>
                    <a:lnTo>
                      <a:pt x="641260" y="727074"/>
                    </a:lnTo>
                    <a:lnTo>
                      <a:pt x="643420" y="723899"/>
                    </a:lnTo>
                    <a:lnTo>
                      <a:pt x="645580" y="711199"/>
                    </a:lnTo>
                    <a:close/>
                  </a:path>
                  <a:path w="3439795" h="1447800">
                    <a:moveTo>
                      <a:pt x="472853" y="723899"/>
                    </a:moveTo>
                    <a:lnTo>
                      <a:pt x="470693" y="723899"/>
                    </a:lnTo>
                    <a:lnTo>
                      <a:pt x="469829" y="726439"/>
                    </a:lnTo>
                    <a:lnTo>
                      <a:pt x="472853" y="723899"/>
                    </a:lnTo>
                    <a:close/>
                  </a:path>
                  <a:path w="3439795" h="1447800">
                    <a:moveTo>
                      <a:pt x="529019" y="723899"/>
                    </a:moveTo>
                    <a:lnTo>
                      <a:pt x="526858" y="723899"/>
                    </a:lnTo>
                    <a:lnTo>
                      <a:pt x="525994" y="726439"/>
                    </a:lnTo>
                    <a:lnTo>
                      <a:pt x="529019" y="723899"/>
                    </a:lnTo>
                    <a:close/>
                  </a:path>
                  <a:path w="3439795" h="1447800">
                    <a:moveTo>
                      <a:pt x="479334" y="723899"/>
                    </a:moveTo>
                    <a:lnTo>
                      <a:pt x="477173" y="723899"/>
                    </a:lnTo>
                    <a:lnTo>
                      <a:pt x="477533" y="726016"/>
                    </a:lnTo>
                    <a:lnTo>
                      <a:pt x="479334" y="723899"/>
                    </a:lnTo>
                    <a:close/>
                  </a:path>
                  <a:path w="3439795" h="1447800">
                    <a:moveTo>
                      <a:pt x="1254491" y="723899"/>
                    </a:moveTo>
                    <a:lnTo>
                      <a:pt x="1254011" y="725311"/>
                    </a:lnTo>
                    <a:lnTo>
                      <a:pt x="1254851" y="726016"/>
                    </a:lnTo>
                    <a:lnTo>
                      <a:pt x="1254491" y="723899"/>
                    </a:lnTo>
                    <a:close/>
                  </a:path>
                  <a:path w="3439795" h="1447800">
                    <a:moveTo>
                      <a:pt x="1254491" y="723899"/>
                    </a:moveTo>
                    <a:lnTo>
                      <a:pt x="1253411" y="724807"/>
                    </a:lnTo>
                    <a:lnTo>
                      <a:pt x="1254011" y="725311"/>
                    </a:lnTo>
                    <a:lnTo>
                      <a:pt x="1254491" y="723899"/>
                    </a:lnTo>
                    <a:close/>
                  </a:path>
                  <a:path w="3439795" h="1447800">
                    <a:moveTo>
                      <a:pt x="1254491" y="723899"/>
                    </a:moveTo>
                    <a:lnTo>
                      <a:pt x="1252331" y="723899"/>
                    </a:lnTo>
                    <a:lnTo>
                      <a:pt x="1253411" y="724807"/>
                    </a:lnTo>
                    <a:lnTo>
                      <a:pt x="1254491" y="723899"/>
                    </a:lnTo>
                    <a:close/>
                  </a:path>
                  <a:path w="3439795" h="1447800">
                    <a:moveTo>
                      <a:pt x="453411" y="698499"/>
                    </a:moveTo>
                    <a:lnTo>
                      <a:pt x="455571" y="711199"/>
                    </a:lnTo>
                    <a:lnTo>
                      <a:pt x="442610" y="711199"/>
                    </a:lnTo>
                    <a:lnTo>
                      <a:pt x="442610" y="723899"/>
                    </a:lnTo>
                    <a:lnTo>
                      <a:pt x="451251" y="723899"/>
                    </a:lnTo>
                    <a:lnTo>
                      <a:pt x="464212" y="711199"/>
                    </a:lnTo>
                    <a:lnTo>
                      <a:pt x="453411" y="698499"/>
                    </a:lnTo>
                    <a:close/>
                  </a:path>
                  <a:path w="3439795" h="1447800">
                    <a:moveTo>
                      <a:pt x="593735" y="685799"/>
                    </a:moveTo>
                    <a:lnTo>
                      <a:pt x="589415" y="698499"/>
                    </a:lnTo>
                    <a:lnTo>
                      <a:pt x="589415" y="723899"/>
                    </a:lnTo>
                    <a:lnTo>
                      <a:pt x="602376" y="711199"/>
                    </a:lnTo>
                    <a:lnTo>
                      <a:pt x="608857" y="711199"/>
                    </a:lnTo>
                    <a:lnTo>
                      <a:pt x="608857" y="698499"/>
                    </a:lnTo>
                    <a:lnTo>
                      <a:pt x="604536" y="698499"/>
                    </a:lnTo>
                    <a:lnTo>
                      <a:pt x="593735" y="685799"/>
                    </a:lnTo>
                    <a:close/>
                  </a:path>
                  <a:path w="3439795" h="1447800">
                    <a:moveTo>
                      <a:pt x="608857" y="711199"/>
                    </a:moveTo>
                    <a:lnTo>
                      <a:pt x="602376" y="711199"/>
                    </a:lnTo>
                    <a:lnTo>
                      <a:pt x="589415" y="723899"/>
                    </a:lnTo>
                    <a:lnTo>
                      <a:pt x="600216" y="723899"/>
                    </a:lnTo>
                    <a:lnTo>
                      <a:pt x="608857" y="713739"/>
                    </a:lnTo>
                    <a:lnTo>
                      <a:pt x="608857" y="711199"/>
                    </a:lnTo>
                    <a:close/>
                  </a:path>
                  <a:path w="3439795" h="1447800">
                    <a:moveTo>
                      <a:pt x="608857" y="714374"/>
                    </a:moveTo>
                    <a:lnTo>
                      <a:pt x="602376" y="723899"/>
                    </a:lnTo>
                    <a:lnTo>
                      <a:pt x="608857" y="723899"/>
                    </a:lnTo>
                    <a:lnTo>
                      <a:pt x="608857" y="714374"/>
                    </a:lnTo>
                    <a:close/>
                  </a:path>
                  <a:path w="3439795" h="1447800">
                    <a:moveTo>
                      <a:pt x="634779" y="711199"/>
                    </a:moveTo>
                    <a:lnTo>
                      <a:pt x="626138" y="711199"/>
                    </a:lnTo>
                    <a:lnTo>
                      <a:pt x="626138" y="723899"/>
                    </a:lnTo>
                    <a:lnTo>
                      <a:pt x="634779" y="711199"/>
                    </a:lnTo>
                    <a:close/>
                  </a:path>
                  <a:path w="3439795" h="1447800">
                    <a:moveTo>
                      <a:pt x="917677" y="698499"/>
                    </a:moveTo>
                    <a:lnTo>
                      <a:pt x="913357" y="698499"/>
                    </a:lnTo>
                    <a:lnTo>
                      <a:pt x="904716" y="711199"/>
                    </a:lnTo>
                    <a:lnTo>
                      <a:pt x="906876" y="723899"/>
                    </a:lnTo>
                    <a:lnTo>
                      <a:pt x="917677" y="698499"/>
                    </a:lnTo>
                    <a:close/>
                  </a:path>
                  <a:path w="3439795" h="1447800">
                    <a:moveTo>
                      <a:pt x="917677" y="698499"/>
                    </a:moveTo>
                    <a:lnTo>
                      <a:pt x="906876" y="723899"/>
                    </a:lnTo>
                    <a:lnTo>
                      <a:pt x="919838" y="723899"/>
                    </a:lnTo>
                    <a:lnTo>
                      <a:pt x="919838" y="711199"/>
                    </a:lnTo>
                    <a:lnTo>
                      <a:pt x="924158" y="711199"/>
                    </a:lnTo>
                    <a:lnTo>
                      <a:pt x="917677" y="698499"/>
                    </a:lnTo>
                    <a:close/>
                  </a:path>
                  <a:path w="3439795" h="1447800">
                    <a:moveTo>
                      <a:pt x="924158" y="711199"/>
                    </a:moveTo>
                    <a:lnTo>
                      <a:pt x="919838" y="711199"/>
                    </a:lnTo>
                    <a:lnTo>
                      <a:pt x="919838" y="723899"/>
                    </a:lnTo>
                    <a:lnTo>
                      <a:pt x="924158" y="711199"/>
                    </a:lnTo>
                    <a:close/>
                  </a:path>
                  <a:path w="3439795" h="1447800">
                    <a:moveTo>
                      <a:pt x="943600" y="711199"/>
                    </a:moveTo>
                    <a:lnTo>
                      <a:pt x="924158" y="711199"/>
                    </a:lnTo>
                    <a:lnTo>
                      <a:pt x="919838" y="723899"/>
                    </a:lnTo>
                    <a:lnTo>
                      <a:pt x="943600" y="723899"/>
                    </a:lnTo>
                    <a:lnTo>
                      <a:pt x="943600" y="711199"/>
                    </a:lnTo>
                    <a:close/>
                  </a:path>
                  <a:path w="3439795" h="1447800">
                    <a:moveTo>
                      <a:pt x="960792" y="711199"/>
                    </a:moveTo>
                    <a:lnTo>
                      <a:pt x="943600" y="711199"/>
                    </a:lnTo>
                    <a:lnTo>
                      <a:pt x="943600" y="723899"/>
                    </a:lnTo>
                    <a:lnTo>
                      <a:pt x="969433" y="723899"/>
                    </a:lnTo>
                    <a:lnTo>
                      <a:pt x="960792" y="711199"/>
                    </a:lnTo>
                    <a:close/>
                  </a:path>
                  <a:path w="3439795" h="1447800">
                    <a:moveTo>
                      <a:pt x="971593" y="698499"/>
                    </a:moveTo>
                    <a:lnTo>
                      <a:pt x="969433" y="698499"/>
                    </a:lnTo>
                    <a:lnTo>
                      <a:pt x="960792" y="711199"/>
                    </a:lnTo>
                    <a:lnTo>
                      <a:pt x="969433" y="723899"/>
                    </a:lnTo>
                    <a:lnTo>
                      <a:pt x="965112" y="711199"/>
                    </a:lnTo>
                    <a:lnTo>
                      <a:pt x="973753" y="711199"/>
                    </a:lnTo>
                    <a:lnTo>
                      <a:pt x="971593" y="698499"/>
                    </a:lnTo>
                    <a:close/>
                  </a:path>
                  <a:path w="3439795" h="1447800">
                    <a:moveTo>
                      <a:pt x="973753" y="711199"/>
                    </a:moveTo>
                    <a:lnTo>
                      <a:pt x="965112" y="711199"/>
                    </a:lnTo>
                    <a:lnTo>
                      <a:pt x="969433" y="723899"/>
                    </a:lnTo>
                    <a:lnTo>
                      <a:pt x="975913" y="723899"/>
                    </a:lnTo>
                    <a:lnTo>
                      <a:pt x="973753" y="711199"/>
                    </a:lnTo>
                    <a:close/>
                  </a:path>
                  <a:path w="3439795" h="1447800">
                    <a:moveTo>
                      <a:pt x="971593" y="698499"/>
                    </a:moveTo>
                    <a:lnTo>
                      <a:pt x="975913" y="723899"/>
                    </a:lnTo>
                    <a:lnTo>
                      <a:pt x="977456" y="722085"/>
                    </a:lnTo>
                    <a:lnTo>
                      <a:pt x="977484" y="721590"/>
                    </a:lnTo>
                    <a:lnTo>
                      <a:pt x="971593" y="698499"/>
                    </a:lnTo>
                    <a:close/>
                  </a:path>
                  <a:path w="3439795" h="1447800">
                    <a:moveTo>
                      <a:pt x="977575" y="721946"/>
                    </a:moveTo>
                    <a:lnTo>
                      <a:pt x="975913" y="723899"/>
                    </a:lnTo>
                    <a:lnTo>
                      <a:pt x="978073" y="723899"/>
                    </a:lnTo>
                    <a:lnTo>
                      <a:pt x="977575" y="721946"/>
                    </a:lnTo>
                    <a:close/>
                  </a:path>
                  <a:path w="3439795" h="1447800">
                    <a:moveTo>
                      <a:pt x="982664" y="715962"/>
                    </a:moveTo>
                    <a:lnTo>
                      <a:pt x="981314" y="717549"/>
                    </a:lnTo>
                    <a:lnTo>
                      <a:pt x="982394" y="723899"/>
                    </a:lnTo>
                    <a:lnTo>
                      <a:pt x="986714" y="723899"/>
                    </a:lnTo>
                    <a:lnTo>
                      <a:pt x="982664" y="715962"/>
                    </a:lnTo>
                    <a:close/>
                  </a:path>
                  <a:path w="3439795" h="1447800">
                    <a:moveTo>
                      <a:pt x="986714" y="711199"/>
                    </a:moveTo>
                    <a:lnTo>
                      <a:pt x="982664" y="715962"/>
                    </a:lnTo>
                    <a:lnTo>
                      <a:pt x="986714" y="723899"/>
                    </a:lnTo>
                    <a:lnTo>
                      <a:pt x="986714" y="711199"/>
                    </a:lnTo>
                    <a:close/>
                  </a:path>
                  <a:path w="3439795" h="1447800">
                    <a:moveTo>
                      <a:pt x="988875" y="704849"/>
                    </a:moveTo>
                    <a:lnTo>
                      <a:pt x="986714" y="711199"/>
                    </a:lnTo>
                    <a:lnTo>
                      <a:pt x="986714" y="723899"/>
                    </a:lnTo>
                    <a:lnTo>
                      <a:pt x="989955" y="711199"/>
                    </a:lnTo>
                    <a:lnTo>
                      <a:pt x="988875" y="711199"/>
                    </a:lnTo>
                    <a:lnTo>
                      <a:pt x="988875" y="704849"/>
                    </a:lnTo>
                    <a:close/>
                  </a:path>
                  <a:path w="3439795" h="1447800">
                    <a:moveTo>
                      <a:pt x="991343" y="707571"/>
                    </a:moveTo>
                    <a:lnTo>
                      <a:pt x="990603" y="708659"/>
                    </a:lnTo>
                    <a:lnTo>
                      <a:pt x="986714" y="723899"/>
                    </a:lnTo>
                    <a:lnTo>
                      <a:pt x="988875" y="723899"/>
                    </a:lnTo>
                    <a:lnTo>
                      <a:pt x="993195" y="711199"/>
                    </a:lnTo>
                    <a:lnTo>
                      <a:pt x="991343" y="707571"/>
                    </a:lnTo>
                    <a:close/>
                  </a:path>
                  <a:path w="3439795" h="1447800">
                    <a:moveTo>
                      <a:pt x="993195" y="711199"/>
                    </a:moveTo>
                    <a:lnTo>
                      <a:pt x="988875" y="723899"/>
                    </a:lnTo>
                    <a:lnTo>
                      <a:pt x="991035" y="723899"/>
                    </a:lnTo>
                    <a:lnTo>
                      <a:pt x="993195" y="711199"/>
                    </a:lnTo>
                    <a:close/>
                  </a:path>
                  <a:path w="3439795" h="1447800">
                    <a:moveTo>
                      <a:pt x="1273933" y="711199"/>
                    </a:moveTo>
                    <a:lnTo>
                      <a:pt x="1271773" y="723899"/>
                    </a:lnTo>
                    <a:lnTo>
                      <a:pt x="1276093" y="723899"/>
                    </a:lnTo>
                    <a:lnTo>
                      <a:pt x="1273933" y="711199"/>
                    </a:lnTo>
                    <a:close/>
                  </a:path>
                  <a:path w="3439795" h="1447800">
                    <a:moveTo>
                      <a:pt x="1282574" y="698499"/>
                    </a:moveTo>
                    <a:lnTo>
                      <a:pt x="1271773" y="698499"/>
                    </a:lnTo>
                    <a:lnTo>
                      <a:pt x="1276093" y="723899"/>
                    </a:lnTo>
                    <a:lnTo>
                      <a:pt x="1284734" y="711199"/>
                    </a:lnTo>
                    <a:lnTo>
                      <a:pt x="1282574" y="711199"/>
                    </a:lnTo>
                    <a:lnTo>
                      <a:pt x="1282574" y="698499"/>
                    </a:lnTo>
                    <a:close/>
                  </a:path>
                  <a:path w="3439795" h="1447800">
                    <a:moveTo>
                      <a:pt x="1317373" y="722485"/>
                    </a:moveTo>
                    <a:lnTo>
                      <a:pt x="1317137" y="723899"/>
                    </a:lnTo>
                    <a:lnTo>
                      <a:pt x="1319298" y="723899"/>
                    </a:lnTo>
                    <a:lnTo>
                      <a:pt x="1317373" y="722485"/>
                    </a:lnTo>
                    <a:close/>
                  </a:path>
                  <a:path w="3439795" h="1447800">
                    <a:moveTo>
                      <a:pt x="1321368" y="698499"/>
                    </a:moveTo>
                    <a:lnTo>
                      <a:pt x="1317373" y="722485"/>
                    </a:lnTo>
                    <a:lnTo>
                      <a:pt x="1319298" y="723899"/>
                    </a:lnTo>
                    <a:lnTo>
                      <a:pt x="1321368" y="698499"/>
                    </a:lnTo>
                    <a:close/>
                  </a:path>
                  <a:path w="3439795" h="1447800">
                    <a:moveTo>
                      <a:pt x="1334329" y="698499"/>
                    </a:moveTo>
                    <a:lnTo>
                      <a:pt x="1321368" y="698499"/>
                    </a:lnTo>
                    <a:lnTo>
                      <a:pt x="1319298" y="723899"/>
                    </a:lnTo>
                    <a:lnTo>
                      <a:pt x="1332169" y="723899"/>
                    </a:lnTo>
                    <a:lnTo>
                      <a:pt x="1334329" y="698499"/>
                    </a:lnTo>
                    <a:close/>
                  </a:path>
                  <a:path w="3439795" h="1447800">
                    <a:moveTo>
                      <a:pt x="1336489" y="698499"/>
                    </a:moveTo>
                    <a:lnTo>
                      <a:pt x="1334329" y="698499"/>
                    </a:lnTo>
                    <a:lnTo>
                      <a:pt x="1332169" y="723899"/>
                    </a:lnTo>
                    <a:lnTo>
                      <a:pt x="1336489" y="698499"/>
                    </a:lnTo>
                    <a:close/>
                  </a:path>
                  <a:path w="3439795" h="1447800">
                    <a:moveTo>
                      <a:pt x="1342970" y="698499"/>
                    </a:moveTo>
                    <a:lnTo>
                      <a:pt x="1336489" y="698499"/>
                    </a:lnTo>
                    <a:lnTo>
                      <a:pt x="1332169" y="723899"/>
                    </a:lnTo>
                    <a:lnTo>
                      <a:pt x="1342970" y="723899"/>
                    </a:lnTo>
                    <a:lnTo>
                      <a:pt x="1342970" y="698499"/>
                    </a:lnTo>
                    <a:close/>
                  </a:path>
                  <a:path w="3439795" h="1447800">
                    <a:moveTo>
                      <a:pt x="1351611" y="698499"/>
                    </a:moveTo>
                    <a:lnTo>
                      <a:pt x="1342970" y="698499"/>
                    </a:lnTo>
                    <a:lnTo>
                      <a:pt x="1342970" y="723899"/>
                    </a:lnTo>
                    <a:lnTo>
                      <a:pt x="1347290" y="723899"/>
                    </a:lnTo>
                    <a:lnTo>
                      <a:pt x="1351611" y="698499"/>
                    </a:lnTo>
                    <a:close/>
                  </a:path>
                  <a:path w="3439795" h="1447800">
                    <a:moveTo>
                      <a:pt x="1351611" y="698499"/>
                    </a:moveTo>
                    <a:lnTo>
                      <a:pt x="1347290" y="723899"/>
                    </a:lnTo>
                    <a:lnTo>
                      <a:pt x="1351611" y="723899"/>
                    </a:lnTo>
                    <a:lnTo>
                      <a:pt x="1351611" y="698499"/>
                    </a:lnTo>
                    <a:close/>
                  </a:path>
                  <a:path w="3439795" h="1447800">
                    <a:moveTo>
                      <a:pt x="1351611" y="698499"/>
                    </a:moveTo>
                    <a:lnTo>
                      <a:pt x="1351611" y="723899"/>
                    </a:lnTo>
                    <a:lnTo>
                      <a:pt x="1353771" y="723899"/>
                    </a:lnTo>
                    <a:lnTo>
                      <a:pt x="1364572" y="711199"/>
                    </a:lnTo>
                    <a:lnTo>
                      <a:pt x="1355931" y="711199"/>
                    </a:lnTo>
                    <a:lnTo>
                      <a:pt x="1351611" y="698499"/>
                    </a:lnTo>
                    <a:close/>
                  </a:path>
                  <a:path w="3439795" h="1447800">
                    <a:moveTo>
                      <a:pt x="1364572" y="711199"/>
                    </a:moveTo>
                    <a:lnTo>
                      <a:pt x="1353771" y="723899"/>
                    </a:lnTo>
                    <a:lnTo>
                      <a:pt x="1355931" y="723899"/>
                    </a:lnTo>
                    <a:lnTo>
                      <a:pt x="1364572" y="711199"/>
                    </a:lnTo>
                    <a:close/>
                  </a:path>
                  <a:path w="3439795" h="1447800">
                    <a:moveTo>
                      <a:pt x="1368893" y="711199"/>
                    </a:moveTo>
                    <a:lnTo>
                      <a:pt x="1364572" y="711199"/>
                    </a:lnTo>
                    <a:lnTo>
                      <a:pt x="1355931" y="723899"/>
                    </a:lnTo>
                    <a:lnTo>
                      <a:pt x="1368893" y="711199"/>
                    </a:lnTo>
                    <a:close/>
                  </a:path>
                  <a:path w="3439795" h="1447800">
                    <a:moveTo>
                      <a:pt x="1399136" y="711199"/>
                    </a:moveTo>
                    <a:lnTo>
                      <a:pt x="1405616" y="723899"/>
                    </a:lnTo>
                    <a:lnTo>
                      <a:pt x="1407777" y="723899"/>
                    </a:lnTo>
                    <a:lnTo>
                      <a:pt x="1399136" y="711199"/>
                    </a:lnTo>
                    <a:close/>
                  </a:path>
                  <a:path w="3439795" h="1447800">
                    <a:moveTo>
                      <a:pt x="1407777" y="711199"/>
                    </a:moveTo>
                    <a:lnTo>
                      <a:pt x="1399136" y="711199"/>
                    </a:lnTo>
                    <a:lnTo>
                      <a:pt x="1407777" y="723899"/>
                    </a:lnTo>
                    <a:lnTo>
                      <a:pt x="1412097" y="723899"/>
                    </a:lnTo>
                    <a:lnTo>
                      <a:pt x="1407777" y="711199"/>
                    </a:lnTo>
                    <a:close/>
                  </a:path>
                  <a:path w="3439795" h="1447800">
                    <a:moveTo>
                      <a:pt x="1418578" y="711199"/>
                    </a:moveTo>
                    <a:lnTo>
                      <a:pt x="1407777" y="711199"/>
                    </a:lnTo>
                    <a:lnTo>
                      <a:pt x="1412097" y="723899"/>
                    </a:lnTo>
                    <a:lnTo>
                      <a:pt x="1422898" y="723899"/>
                    </a:lnTo>
                    <a:lnTo>
                      <a:pt x="1418578" y="711199"/>
                    </a:lnTo>
                    <a:close/>
                  </a:path>
                  <a:path w="3439795" h="1447800">
                    <a:moveTo>
                      <a:pt x="1420738" y="711199"/>
                    </a:moveTo>
                    <a:lnTo>
                      <a:pt x="1418578" y="711199"/>
                    </a:lnTo>
                    <a:lnTo>
                      <a:pt x="1422898" y="723899"/>
                    </a:lnTo>
                    <a:lnTo>
                      <a:pt x="1429379" y="723899"/>
                    </a:lnTo>
                    <a:lnTo>
                      <a:pt x="1420738" y="711199"/>
                    </a:lnTo>
                    <a:close/>
                  </a:path>
                  <a:path w="3439795" h="1447800">
                    <a:moveTo>
                      <a:pt x="1420738" y="711199"/>
                    </a:moveTo>
                    <a:lnTo>
                      <a:pt x="1429379" y="723899"/>
                    </a:lnTo>
                    <a:lnTo>
                      <a:pt x="1431539" y="723899"/>
                    </a:lnTo>
                    <a:lnTo>
                      <a:pt x="1420738" y="711199"/>
                    </a:lnTo>
                    <a:close/>
                  </a:path>
                  <a:path w="3439795" h="1447800">
                    <a:moveTo>
                      <a:pt x="1440180" y="698499"/>
                    </a:moveTo>
                    <a:lnTo>
                      <a:pt x="1429379" y="698499"/>
                    </a:lnTo>
                    <a:lnTo>
                      <a:pt x="1420738" y="711199"/>
                    </a:lnTo>
                    <a:lnTo>
                      <a:pt x="1431539" y="723899"/>
                    </a:lnTo>
                    <a:lnTo>
                      <a:pt x="1427218" y="711199"/>
                    </a:lnTo>
                    <a:lnTo>
                      <a:pt x="1442340" y="711199"/>
                    </a:lnTo>
                    <a:lnTo>
                      <a:pt x="1440180" y="698499"/>
                    </a:lnTo>
                    <a:close/>
                  </a:path>
                  <a:path w="3439795" h="1447800">
                    <a:moveTo>
                      <a:pt x="1438020" y="711199"/>
                    </a:moveTo>
                    <a:lnTo>
                      <a:pt x="1427218" y="711199"/>
                    </a:lnTo>
                    <a:lnTo>
                      <a:pt x="1431539" y="723899"/>
                    </a:lnTo>
                    <a:lnTo>
                      <a:pt x="1438020" y="711199"/>
                    </a:lnTo>
                    <a:close/>
                  </a:path>
                  <a:path w="3439795" h="1447800">
                    <a:moveTo>
                      <a:pt x="1438020" y="711199"/>
                    </a:moveTo>
                    <a:lnTo>
                      <a:pt x="1431539" y="723899"/>
                    </a:lnTo>
                    <a:lnTo>
                      <a:pt x="1438020" y="723899"/>
                    </a:lnTo>
                    <a:lnTo>
                      <a:pt x="1438020" y="711199"/>
                    </a:lnTo>
                    <a:close/>
                  </a:path>
                  <a:path w="3439795" h="1447800">
                    <a:moveTo>
                      <a:pt x="1442340" y="711199"/>
                    </a:moveTo>
                    <a:lnTo>
                      <a:pt x="1438020" y="711199"/>
                    </a:lnTo>
                    <a:lnTo>
                      <a:pt x="1438020" y="723899"/>
                    </a:lnTo>
                    <a:lnTo>
                      <a:pt x="1444500" y="723899"/>
                    </a:lnTo>
                    <a:lnTo>
                      <a:pt x="1442340" y="711199"/>
                    </a:lnTo>
                    <a:close/>
                  </a:path>
                  <a:path w="3439795" h="1447800">
                    <a:moveTo>
                      <a:pt x="1442340" y="698499"/>
                    </a:moveTo>
                    <a:lnTo>
                      <a:pt x="1440180" y="698499"/>
                    </a:lnTo>
                    <a:lnTo>
                      <a:pt x="1444500" y="723899"/>
                    </a:lnTo>
                    <a:lnTo>
                      <a:pt x="1442340" y="698499"/>
                    </a:lnTo>
                    <a:close/>
                  </a:path>
                  <a:path w="3439795" h="1447800">
                    <a:moveTo>
                      <a:pt x="1448821" y="698499"/>
                    </a:moveTo>
                    <a:lnTo>
                      <a:pt x="1442340" y="698499"/>
                    </a:lnTo>
                    <a:lnTo>
                      <a:pt x="1444500" y="723899"/>
                    </a:lnTo>
                    <a:lnTo>
                      <a:pt x="1446660" y="723899"/>
                    </a:lnTo>
                    <a:lnTo>
                      <a:pt x="1457462" y="711199"/>
                    </a:lnTo>
                    <a:lnTo>
                      <a:pt x="1448821" y="698499"/>
                    </a:lnTo>
                    <a:close/>
                  </a:path>
                  <a:path w="3439795" h="1447800">
                    <a:moveTo>
                      <a:pt x="1304176" y="698499"/>
                    </a:moveTo>
                    <a:lnTo>
                      <a:pt x="1302016" y="711199"/>
                    </a:lnTo>
                    <a:lnTo>
                      <a:pt x="1317373" y="722485"/>
                    </a:lnTo>
                    <a:lnTo>
                      <a:pt x="1319253" y="711199"/>
                    </a:lnTo>
                    <a:lnTo>
                      <a:pt x="1304176" y="711199"/>
                    </a:lnTo>
                    <a:lnTo>
                      <a:pt x="1304176" y="698499"/>
                    </a:lnTo>
                    <a:close/>
                  </a:path>
                  <a:path w="3439795" h="1447800">
                    <a:moveTo>
                      <a:pt x="1161602" y="720724"/>
                    </a:moveTo>
                    <a:lnTo>
                      <a:pt x="1161013" y="721590"/>
                    </a:lnTo>
                    <a:lnTo>
                      <a:pt x="1161602" y="722085"/>
                    </a:lnTo>
                    <a:lnTo>
                      <a:pt x="1161602" y="720724"/>
                    </a:lnTo>
                    <a:close/>
                  </a:path>
                  <a:path w="3439795" h="1447800">
                    <a:moveTo>
                      <a:pt x="980234" y="698499"/>
                    </a:moveTo>
                    <a:lnTo>
                      <a:pt x="971593" y="698499"/>
                    </a:lnTo>
                    <a:lnTo>
                      <a:pt x="977575" y="721946"/>
                    </a:lnTo>
                    <a:lnTo>
                      <a:pt x="981314" y="717549"/>
                    </a:lnTo>
                    <a:lnTo>
                      <a:pt x="980234" y="711199"/>
                    </a:lnTo>
                    <a:lnTo>
                      <a:pt x="978073" y="711199"/>
                    </a:lnTo>
                    <a:lnTo>
                      <a:pt x="980234" y="709083"/>
                    </a:lnTo>
                    <a:lnTo>
                      <a:pt x="980234" y="698499"/>
                    </a:lnTo>
                    <a:close/>
                  </a:path>
                  <a:path w="3439795" h="1447800">
                    <a:moveTo>
                      <a:pt x="1161602" y="711199"/>
                    </a:moveTo>
                    <a:lnTo>
                      <a:pt x="1148641" y="711199"/>
                    </a:lnTo>
                    <a:lnTo>
                      <a:pt x="1161013" y="721590"/>
                    </a:lnTo>
                    <a:lnTo>
                      <a:pt x="1161602" y="720724"/>
                    </a:lnTo>
                    <a:lnTo>
                      <a:pt x="1161602" y="711199"/>
                    </a:lnTo>
                    <a:close/>
                  </a:path>
                  <a:path w="3439795" h="1447800">
                    <a:moveTo>
                      <a:pt x="1168083" y="711199"/>
                    </a:moveTo>
                    <a:lnTo>
                      <a:pt x="1161602" y="711199"/>
                    </a:lnTo>
                    <a:lnTo>
                      <a:pt x="1161602" y="720724"/>
                    </a:lnTo>
                    <a:lnTo>
                      <a:pt x="1168083" y="711199"/>
                    </a:lnTo>
                    <a:close/>
                  </a:path>
                  <a:path w="3439795" h="1447800">
                    <a:moveTo>
                      <a:pt x="980234" y="711199"/>
                    </a:moveTo>
                    <a:lnTo>
                      <a:pt x="981314" y="717549"/>
                    </a:lnTo>
                    <a:lnTo>
                      <a:pt x="982664" y="715962"/>
                    </a:lnTo>
                    <a:lnTo>
                      <a:pt x="980234" y="711199"/>
                    </a:lnTo>
                    <a:close/>
                  </a:path>
                  <a:path w="3439795" h="1447800">
                    <a:moveTo>
                      <a:pt x="986714" y="705757"/>
                    </a:moveTo>
                    <a:lnTo>
                      <a:pt x="980234" y="711199"/>
                    </a:lnTo>
                    <a:lnTo>
                      <a:pt x="982664" y="715962"/>
                    </a:lnTo>
                    <a:lnTo>
                      <a:pt x="986714" y="711199"/>
                    </a:lnTo>
                    <a:lnTo>
                      <a:pt x="986714" y="705757"/>
                    </a:lnTo>
                    <a:close/>
                  </a:path>
                  <a:path w="3439795" h="1447800">
                    <a:moveTo>
                      <a:pt x="611017" y="711199"/>
                    </a:moveTo>
                    <a:lnTo>
                      <a:pt x="608857" y="713739"/>
                    </a:lnTo>
                    <a:lnTo>
                      <a:pt x="608857" y="714374"/>
                    </a:lnTo>
                    <a:lnTo>
                      <a:pt x="611017" y="711199"/>
                    </a:lnTo>
                    <a:close/>
                  </a:path>
                  <a:path w="3439795" h="1447800">
                    <a:moveTo>
                      <a:pt x="611017" y="711199"/>
                    </a:moveTo>
                    <a:lnTo>
                      <a:pt x="608857" y="711199"/>
                    </a:lnTo>
                    <a:lnTo>
                      <a:pt x="608857" y="713739"/>
                    </a:lnTo>
                    <a:lnTo>
                      <a:pt x="611017" y="711199"/>
                    </a:lnTo>
                    <a:close/>
                  </a:path>
                  <a:path w="3439795" h="1447800">
                    <a:moveTo>
                      <a:pt x="435589" y="709612"/>
                    </a:moveTo>
                    <a:lnTo>
                      <a:pt x="433969" y="711199"/>
                    </a:lnTo>
                    <a:lnTo>
                      <a:pt x="436129" y="711199"/>
                    </a:lnTo>
                    <a:lnTo>
                      <a:pt x="435589" y="709612"/>
                    </a:lnTo>
                    <a:close/>
                  </a:path>
                  <a:path w="3439795" h="1447800">
                    <a:moveTo>
                      <a:pt x="446930" y="698499"/>
                    </a:moveTo>
                    <a:lnTo>
                      <a:pt x="435589" y="709612"/>
                    </a:lnTo>
                    <a:lnTo>
                      <a:pt x="436129" y="711199"/>
                    </a:lnTo>
                    <a:lnTo>
                      <a:pt x="446930" y="698499"/>
                    </a:lnTo>
                    <a:close/>
                  </a:path>
                  <a:path w="3439795" h="1447800">
                    <a:moveTo>
                      <a:pt x="453411" y="698499"/>
                    </a:moveTo>
                    <a:lnTo>
                      <a:pt x="446930" y="698499"/>
                    </a:lnTo>
                    <a:lnTo>
                      <a:pt x="436129" y="711199"/>
                    </a:lnTo>
                    <a:lnTo>
                      <a:pt x="438289" y="711199"/>
                    </a:lnTo>
                    <a:lnTo>
                      <a:pt x="453411" y="698499"/>
                    </a:lnTo>
                    <a:close/>
                  </a:path>
                  <a:path w="3439795" h="1447800">
                    <a:moveTo>
                      <a:pt x="453411" y="698499"/>
                    </a:moveTo>
                    <a:lnTo>
                      <a:pt x="438289" y="711199"/>
                    </a:lnTo>
                    <a:lnTo>
                      <a:pt x="440450" y="711199"/>
                    </a:lnTo>
                    <a:lnTo>
                      <a:pt x="453411" y="698499"/>
                    </a:lnTo>
                    <a:close/>
                  </a:path>
                  <a:path w="3439795" h="1447800">
                    <a:moveTo>
                      <a:pt x="453411" y="698499"/>
                    </a:moveTo>
                    <a:lnTo>
                      <a:pt x="440450" y="711199"/>
                    </a:lnTo>
                    <a:lnTo>
                      <a:pt x="455571" y="711199"/>
                    </a:lnTo>
                    <a:lnTo>
                      <a:pt x="453411" y="698499"/>
                    </a:lnTo>
                    <a:close/>
                  </a:path>
                  <a:path w="3439795" h="1447800">
                    <a:moveTo>
                      <a:pt x="513897" y="685799"/>
                    </a:moveTo>
                    <a:lnTo>
                      <a:pt x="498775" y="698499"/>
                    </a:lnTo>
                    <a:lnTo>
                      <a:pt x="503096" y="711199"/>
                    </a:lnTo>
                    <a:lnTo>
                      <a:pt x="505256" y="709083"/>
                    </a:lnTo>
                    <a:lnTo>
                      <a:pt x="505256" y="698499"/>
                    </a:lnTo>
                    <a:lnTo>
                      <a:pt x="500936" y="698499"/>
                    </a:lnTo>
                    <a:lnTo>
                      <a:pt x="513897" y="685799"/>
                    </a:lnTo>
                    <a:close/>
                  </a:path>
                  <a:path w="3439795" h="1447800">
                    <a:moveTo>
                      <a:pt x="505256" y="709083"/>
                    </a:moveTo>
                    <a:lnTo>
                      <a:pt x="503096" y="711199"/>
                    </a:lnTo>
                    <a:lnTo>
                      <a:pt x="505256" y="709385"/>
                    </a:lnTo>
                    <a:lnTo>
                      <a:pt x="505256" y="709083"/>
                    </a:lnTo>
                    <a:close/>
                  </a:path>
                  <a:path w="3439795" h="1447800">
                    <a:moveTo>
                      <a:pt x="505256" y="709385"/>
                    </a:moveTo>
                    <a:lnTo>
                      <a:pt x="503096" y="711199"/>
                    </a:lnTo>
                    <a:lnTo>
                      <a:pt x="505256" y="711199"/>
                    </a:lnTo>
                    <a:lnTo>
                      <a:pt x="505256" y="709385"/>
                    </a:lnTo>
                    <a:close/>
                  </a:path>
                  <a:path w="3439795" h="1447800">
                    <a:moveTo>
                      <a:pt x="513177" y="702733"/>
                    </a:moveTo>
                    <a:lnTo>
                      <a:pt x="510657" y="704849"/>
                    </a:lnTo>
                    <a:lnTo>
                      <a:pt x="507416" y="711199"/>
                    </a:lnTo>
                    <a:lnTo>
                      <a:pt x="513177" y="702733"/>
                    </a:lnTo>
                    <a:close/>
                  </a:path>
                  <a:path w="3439795" h="1447800">
                    <a:moveTo>
                      <a:pt x="522538" y="698499"/>
                    </a:moveTo>
                    <a:lnTo>
                      <a:pt x="518217" y="698499"/>
                    </a:lnTo>
                    <a:lnTo>
                      <a:pt x="513177" y="702733"/>
                    </a:lnTo>
                    <a:lnTo>
                      <a:pt x="507416" y="711199"/>
                    </a:lnTo>
                    <a:lnTo>
                      <a:pt x="511737" y="711199"/>
                    </a:lnTo>
                    <a:lnTo>
                      <a:pt x="522538" y="698499"/>
                    </a:lnTo>
                    <a:close/>
                  </a:path>
                  <a:path w="3439795" h="1447800">
                    <a:moveTo>
                      <a:pt x="522538" y="698499"/>
                    </a:moveTo>
                    <a:lnTo>
                      <a:pt x="511737" y="711199"/>
                    </a:lnTo>
                    <a:lnTo>
                      <a:pt x="522538" y="711199"/>
                    </a:lnTo>
                    <a:lnTo>
                      <a:pt x="522538" y="698499"/>
                    </a:lnTo>
                    <a:close/>
                  </a:path>
                  <a:path w="3439795" h="1447800">
                    <a:moveTo>
                      <a:pt x="688544" y="688622"/>
                    </a:moveTo>
                    <a:lnTo>
                      <a:pt x="680144" y="698499"/>
                    </a:lnTo>
                    <a:lnTo>
                      <a:pt x="682304" y="711199"/>
                    </a:lnTo>
                    <a:lnTo>
                      <a:pt x="686624" y="711199"/>
                    </a:lnTo>
                    <a:lnTo>
                      <a:pt x="688544" y="688622"/>
                    </a:lnTo>
                    <a:close/>
                  </a:path>
                  <a:path w="3439795" h="1447800">
                    <a:moveTo>
                      <a:pt x="690945" y="685799"/>
                    </a:moveTo>
                    <a:lnTo>
                      <a:pt x="688544" y="688622"/>
                    </a:lnTo>
                    <a:lnTo>
                      <a:pt x="686624" y="711199"/>
                    </a:lnTo>
                    <a:lnTo>
                      <a:pt x="690945" y="685799"/>
                    </a:lnTo>
                    <a:close/>
                  </a:path>
                  <a:path w="3439795" h="1447800">
                    <a:moveTo>
                      <a:pt x="695265" y="685799"/>
                    </a:moveTo>
                    <a:lnTo>
                      <a:pt x="690945" y="685799"/>
                    </a:lnTo>
                    <a:lnTo>
                      <a:pt x="686624" y="711199"/>
                    </a:lnTo>
                    <a:lnTo>
                      <a:pt x="695265" y="711199"/>
                    </a:lnTo>
                    <a:lnTo>
                      <a:pt x="695265" y="685799"/>
                    </a:lnTo>
                    <a:close/>
                  </a:path>
                  <a:path w="3439795" h="1447800">
                    <a:moveTo>
                      <a:pt x="697425" y="685799"/>
                    </a:moveTo>
                    <a:lnTo>
                      <a:pt x="695265" y="685799"/>
                    </a:lnTo>
                    <a:lnTo>
                      <a:pt x="695265" y="711199"/>
                    </a:lnTo>
                    <a:lnTo>
                      <a:pt x="697425" y="685799"/>
                    </a:lnTo>
                    <a:close/>
                  </a:path>
                  <a:path w="3439795" h="1447800">
                    <a:moveTo>
                      <a:pt x="719028" y="685799"/>
                    </a:moveTo>
                    <a:lnTo>
                      <a:pt x="697425" y="685799"/>
                    </a:lnTo>
                    <a:lnTo>
                      <a:pt x="695265" y="711199"/>
                    </a:lnTo>
                    <a:lnTo>
                      <a:pt x="716867" y="711199"/>
                    </a:lnTo>
                    <a:lnTo>
                      <a:pt x="719028" y="685799"/>
                    </a:lnTo>
                    <a:close/>
                  </a:path>
                  <a:path w="3439795" h="1447800">
                    <a:moveTo>
                      <a:pt x="719028" y="685799"/>
                    </a:moveTo>
                    <a:lnTo>
                      <a:pt x="716867" y="711199"/>
                    </a:lnTo>
                    <a:lnTo>
                      <a:pt x="719028" y="711199"/>
                    </a:lnTo>
                    <a:lnTo>
                      <a:pt x="719028" y="685799"/>
                    </a:lnTo>
                    <a:close/>
                  </a:path>
                  <a:path w="3439795" h="1447800">
                    <a:moveTo>
                      <a:pt x="719028" y="685799"/>
                    </a:moveTo>
                    <a:lnTo>
                      <a:pt x="719028" y="711199"/>
                    </a:lnTo>
                    <a:lnTo>
                      <a:pt x="744950" y="711199"/>
                    </a:lnTo>
                    <a:lnTo>
                      <a:pt x="744618" y="707292"/>
                    </a:lnTo>
                    <a:lnTo>
                      <a:pt x="734149" y="698499"/>
                    </a:lnTo>
                    <a:lnTo>
                      <a:pt x="736309" y="698499"/>
                    </a:lnTo>
                    <a:lnTo>
                      <a:pt x="736849" y="695324"/>
                    </a:lnTo>
                    <a:lnTo>
                      <a:pt x="719028" y="685799"/>
                    </a:lnTo>
                    <a:close/>
                  </a:path>
                  <a:path w="3439795" h="1447800">
                    <a:moveTo>
                      <a:pt x="744618" y="707292"/>
                    </a:moveTo>
                    <a:lnTo>
                      <a:pt x="744950" y="711199"/>
                    </a:lnTo>
                    <a:lnTo>
                      <a:pt x="749271" y="711199"/>
                    </a:lnTo>
                    <a:lnTo>
                      <a:pt x="744618" y="707292"/>
                    </a:lnTo>
                    <a:close/>
                  </a:path>
                  <a:path w="3439795" h="1447800">
                    <a:moveTo>
                      <a:pt x="744086" y="701039"/>
                    </a:moveTo>
                    <a:lnTo>
                      <a:pt x="744618" y="707292"/>
                    </a:lnTo>
                    <a:lnTo>
                      <a:pt x="749271" y="711199"/>
                    </a:lnTo>
                    <a:lnTo>
                      <a:pt x="744086" y="701039"/>
                    </a:lnTo>
                    <a:close/>
                  </a:path>
                  <a:path w="3439795" h="1447800">
                    <a:moveTo>
                      <a:pt x="742790" y="685799"/>
                    </a:moveTo>
                    <a:lnTo>
                      <a:pt x="744086" y="701039"/>
                    </a:lnTo>
                    <a:lnTo>
                      <a:pt x="749271" y="711199"/>
                    </a:lnTo>
                    <a:lnTo>
                      <a:pt x="751431" y="711199"/>
                    </a:lnTo>
                    <a:lnTo>
                      <a:pt x="742790" y="685799"/>
                    </a:lnTo>
                    <a:close/>
                  </a:path>
                  <a:path w="3439795" h="1447800">
                    <a:moveTo>
                      <a:pt x="753591" y="685799"/>
                    </a:moveTo>
                    <a:lnTo>
                      <a:pt x="742790" y="685799"/>
                    </a:lnTo>
                    <a:lnTo>
                      <a:pt x="751431" y="711199"/>
                    </a:lnTo>
                    <a:lnTo>
                      <a:pt x="757911" y="711199"/>
                    </a:lnTo>
                    <a:lnTo>
                      <a:pt x="753591" y="685799"/>
                    </a:lnTo>
                    <a:close/>
                  </a:path>
                  <a:path w="3439795" h="1447800">
                    <a:moveTo>
                      <a:pt x="757911" y="685799"/>
                    </a:moveTo>
                    <a:lnTo>
                      <a:pt x="753591" y="685799"/>
                    </a:lnTo>
                    <a:lnTo>
                      <a:pt x="757911" y="711199"/>
                    </a:lnTo>
                    <a:lnTo>
                      <a:pt x="766462" y="711199"/>
                    </a:lnTo>
                    <a:lnTo>
                      <a:pt x="768623" y="698499"/>
                    </a:lnTo>
                    <a:lnTo>
                      <a:pt x="757911" y="685799"/>
                    </a:lnTo>
                    <a:close/>
                  </a:path>
                  <a:path w="3439795" h="1447800">
                    <a:moveTo>
                      <a:pt x="768623" y="698499"/>
                    </a:moveTo>
                    <a:lnTo>
                      <a:pt x="766462" y="711199"/>
                    </a:lnTo>
                    <a:lnTo>
                      <a:pt x="768623" y="711199"/>
                    </a:lnTo>
                    <a:lnTo>
                      <a:pt x="768623" y="698499"/>
                    </a:lnTo>
                    <a:close/>
                  </a:path>
                  <a:path w="3439795" h="1447800">
                    <a:moveTo>
                      <a:pt x="900396" y="698499"/>
                    </a:moveTo>
                    <a:lnTo>
                      <a:pt x="885274" y="698499"/>
                    </a:lnTo>
                    <a:lnTo>
                      <a:pt x="887434" y="711199"/>
                    </a:lnTo>
                    <a:lnTo>
                      <a:pt x="891755" y="711199"/>
                    </a:lnTo>
                    <a:lnTo>
                      <a:pt x="900396" y="698499"/>
                    </a:lnTo>
                    <a:close/>
                  </a:path>
                  <a:path w="3439795" h="1447800">
                    <a:moveTo>
                      <a:pt x="904716" y="698499"/>
                    </a:moveTo>
                    <a:lnTo>
                      <a:pt x="900396" y="698499"/>
                    </a:lnTo>
                    <a:lnTo>
                      <a:pt x="891755" y="711199"/>
                    </a:lnTo>
                    <a:lnTo>
                      <a:pt x="904716" y="698499"/>
                    </a:lnTo>
                    <a:close/>
                  </a:path>
                  <a:path w="3439795" h="1447800">
                    <a:moveTo>
                      <a:pt x="904716" y="698499"/>
                    </a:moveTo>
                    <a:lnTo>
                      <a:pt x="891755" y="711199"/>
                    </a:lnTo>
                    <a:lnTo>
                      <a:pt x="893915" y="711199"/>
                    </a:lnTo>
                    <a:lnTo>
                      <a:pt x="904716" y="698499"/>
                    </a:lnTo>
                    <a:close/>
                  </a:path>
                  <a:path w="3439795" h="1447800">
                    <a:moveTo>
                      <a:pt x="906876" y="698499"/>
                    </a:moveTo>
                    <a:lnTo>
                      <a:pt x="904716" y="698499"/>
                    </a:lnTo>
                    <a:lnTo>
                      <a:pt x="893915" y="711199"/>
                    </a:lnTo>
                    <a:lnTo>
                      <a:pt x="903996" y="702733"/>
                    </a:lnTo>
                    <a:lnTo>
                      <a:pt x="906876" y="698499"/>
                    </a:lnTo>
                    <a:close/>
                  </a:path>
                  <a:path w="3439795" h="1447800">
                    <a:moveTo>
                      <a:pt x="903996" y="702733"/>
                    </a:moveTo>
                    <a:lnTo>
                      <a:pt x="893915" y="711199"/>
                    </a:lnTo>
                    <a:lnTo>
                      <a:pt x="896075" y="711199"/>
                    </a:lnTo>
                    <a:lnTo>
                      <a:pt x="902556" y="704849"/>
                    </a:lnTo>
                    <a:lnTo>
                      <a:pt x="903996" y="702733"/>
                    </a:lnTo>
                    <a:close/>
                  </a:path>
                  <a:path w="3439795" h="1447800">
                    <a:moveTo>
                      <a:pt x="902556" y="704849"/>
                    </a:moveTo>
                    <a:lnTo>
                      <a:pt x="896075" y="711199"/>
                    </a:lnTo>
                    <a:lnTo>
                      <a:pt x="898235" y="711199"/>
                    </a:lnTo>
                    <a:lnTo>
                      <a:pt x="902556" y="704849"/>
                    </a:lnTo>
                    <a:close/>
                  </a:path>
                  <a:path w="3439795" h="1447800">
                    <a:moveTo>
                      <a:pt x="911197" y="698499"/>
                    </a:moveTo>
                    <a:lnTo>
                      <a:pt x="909037" y="698499"/>
                    </a:lnTo>
                    <a:lnTo>
                      <a:pt x="902556" y="704849"/>
                    </a:lnTo>
                    <a:lnTo>
                      <a:pt x="898235" y="711199"/>
                    </a:lnTo>
                    <a:lnTo>
                      <a:pt x="911197" y="698499"/>
                    </a:lnTo>
                    <a:close/>
                  </a:path>
                  <a:path w="3439795" h="1447800">
                    <a:moveTo>
                      <a:pt x="913357" y="698499"/>
                    </a:moveTo>
                    <a:lnTo>
                      <a:pt x="911197" y="698499"/>
                    </a:lnTo>
                    <a:lnTo>
                      <a:pt x="898235" y="711199"/>
                    </a:lnTo>
                    <a:lnTo>
                      <a:pt x="904716" y="711199"/>
                    </a:lnTo>
                    <a:lnTo>
                      <a:pt x="913357" y="698499"/>
                    </a:lnTo>
                    <a:close/>
                  </a:path>
                  <a:path w="3439795" h="1447800">
                    <a:moveTo>
                      <a:pt x="980234" y="709083"/>
                    </a:moveTo>
                    <a:lnTo>
                      <a:pt x="978073" y="711199"/>
                    </a:lnTo>
                    <a:lnTo>
                      <a:pt x="980234" y="711199"/>
                    </a:lnTo>
                    <a:lnTo>
                      <a:pt x="980234" y="709083"/>
                    </a:lnTo>
                    <a:close/>
                  </a:path>
                  <a:path w="3439795" h="1447800">
                    <a:moveTo>
                      <a:pt x="986714" y="702733"/>
                    </a:moveTo>
                    <a:lnTo>
                      <a:pt x="980234" y="709083"/>
                    </a:lnTo>
                    <a:lnTo>
                      <a:pt x="980234" y="711199"/>
                    </a:lnTo>
                    <a:lnTo>
                      <a:pt x="986714" y="705757"/>
                    </a:lnTo>
                    <a:lnTo>
                      <a:pt x="986714" y="702733"/>
                    </a:lnTo>
                    <a:close/>
                  </a:path>
                  <a:path w="3439795" h="1447800">
                    <a:moveTo>
                      <a:pt x="988875" y="703942"/>
                    </a:moveTo>
                    <a:lnTo>
                      <a:pt x="986714" y="705757"/>
                    </a:lnTo>
                    <a:lnTo>
                      <a:pt x="986714" y="711199"/>
                    </a:lnTo>
                    <a:lnTo>
                      <a:pt x="988875" y="704849"/>
                    </a:lnTo>
                    <a:lnTo>
                      <a:pt x="988875" y="703942"/>
                    </a:lnTo>
                    <a:close/>
                  </a:path>
                  <a:path w="3439795" h="1447800">
                    <a:moveTo>
                      <a:pt x="989307" y="703579"/>
                    </a:moveTo>
                    <a:lnTo>
                      <a:pt x="988875" y="704849"/>
                    </a:lnTo>
                    <a:lnTo>
                      <a:pt x="988875" y="711199"/>
                    </a:lnTo>
                    <a:lnTo>
                      <a:pt x="990603" y="708659"/>
                    </a:lnTo>
                    <a:lnTo>
                      <a:pt x="991035" y="706966"/>
                    </a:lnTo>
                    <a:lnTo>
                      <a:pt x="989307" y="703579"/>
                    </a:lnTo>
                    <a:close/>
                  </a:path>
                  <a:path w="3439795" h="1447800">
                    <a:moveTo>
                      <a:pt x="990603" y="708659"/>
                    </a:moveTo>
                    <a:lnTo>
                      <a:pt x="988875" y="711199"/>
                    </a:lnTo>
                    <a:lnTo>
                      <a:pt x="989955" y="711199"/>
                    </a:lnTo>
                    <a:lnTo>
                      <a:pt x="990603" y="708659"/>
                    </a:lnTo>
                    <a:close/>
                  </a:path>
                  <a:path w="3439795" h="1447800">
                    <a:moveTo>
                      <a:pt x="991755" y="706966"/>
                    </a:moveTo>
                    <a:lnTo>
                      <a:pt x="991343" y="707571"/>
                    </a:lnTo>
                    <a:lnTo>
                      <a:pt x="993195" y="711199"/>
                    </a:lnTo>
                    <a:lnTo>
                      <a:pt x="991755" y="706966"/>
                    </a:lnTo>
                    <a:close/>
                  </a:path>
                  <a:path w="3439795" h="1447800">
                    <a:moveTo>
                      <a:pt x="993195" y="704849"/>
                    </a:moveTo>
                    <a:lnTo>
                      <a:pt x="991755" y="706966"/>
                    </a:lnTo>
                    <a:lnTo>
                      <a:pt x="993195" y="711199"/>
                    </a:lnTo>
                    <a:lnTo>
                      <a:pt x="995355" y="711199"/>
                    </a:lnTo>
                    <a:lnTo>
                      <a:pt x="993195" y="704849"/>
                    </a:lnTo>
                    <a:close/>
                  </a:path>
                  <a:path w="3439795" h="1447800">
                    <a:moveTo>
                      <a:pt x="994059" y="703579"/>
                    </a:moveTo>
                    <a:lnTo>
                      <a:pt x="993195" y="704849"/>
                    </a:lnTo>
                    <a:lnTo>
                      <a:pt x="995355" y="711199"/>
                    </a:lnTo>
                    <a:lnTo>
                      <a:pt x="994059" y="703579"/>
                    </a:lnTo>
                    <a:close/>
                  </a:path>
                  <a:path w="3439795" h="1447800">
                    <a:moveTo>
                      <a:pt x="997515" y="698499"/>
                    </a:moveTo>
                    <a:lnTo>
                      <a:pt x="994059" y="703579"/>
                    </a:lnTo>
                    <a:lnTo>
                      <a:pt x="995355" y="711199"/>
                    </a:lnTo>
                    <a:lnTo>
                      <a:pt x="997515" y="711199"/>
                    </a:lnTo>
                    <a:lnTo>
                      <a:pt x="997515" y="698499"/>
                    </a:lnTo>
                    <a:close/>
                  </a:path>
                  <a:path w="3439795" h="1447800">
                    <a:moveTo>
                      <a:pt x="997515" y="698499"/>
                    </a:moveTo>
                    <a:lnTo>
                      <a:pt x="997515" y="711199"/>
                    </a:lnTo>
                    <a:lnTo>
                      <a:pt x="999676" y="711199"/>
                    </a:lnTo>
                    <a:lnTo>
                      <a:pt x="997515" y="698499"/>
                    </a:lnTo>
                    <a:close/>
                  </a:path>
                  <a:path w="3439795" h="1447800">
                    <a:moveTo>
                      <a:pt x="997515" y="698499"/>
                    </a:moveTo>
                    <a:lnTo>
                      <a:pt x="999676" y="711199"/>
                    </a:lnTo>
                    <a:lnTo>
                      <a:pt x="999676" y="702733"/>
                    </a:lnTo>
                    <a:lnTo>
                      <a:pt x="997515" y="698499"/>
                    </a:lnTo>
                    <a:close/>
                  </a:path>
                  <a:path w="3439795" h="1447800">
                    <a:moveTo>
                      <a:pt x="999676" y="702733"/>
                    </a:moveTo>
                    <a:lnTo>
                      <a:pt x="999676" y="711199"/>
                    </a:lnTo>
                    <a:lnTo>
                      <a:pt x="1003996" y="711199"/>
                    </a:lnTo>
                    <a:lnTo>
                      <a:pt x="999676" y="702733"/>
                    </a:lnTo>
                    <a:close/>
                  </a:path>
                  <a:path w="3439795" h="1447800">
                    <a:moveTo>
                      <a:pt x="999676" y="700314"/>
                    </a:moveTo>
                    <a:lnTo>
                      <a:pt x="999676" y="702733"/>
                    </a:lnTo>
                    <a:lnTo>
                      <a:pt x="1003996" y="711199"/>
                    </a:lnTo>
                    <a:lnTo>
                      <a:pt x="1002556" y="702733"/>
                    </a:lnTo>
                    <a:lnTo>
                      <a:pt x="999676" y="700314"/>
                    </a:lnTo>
                    <a:close/>
                  </a:path>
                  <a:path w="3439795" h="1447800">
                    <a:moveTo>
                      <a:pt x="1002556" y="702733"/>
                    </a:moveTo>
                    <a:lnTo>
                      <a:pt x="1003996" y="711199"/>
                    </a:lnTo>
                    <a:lnTo>
                      <a:pt x="1012637" y="711199"/>
                    </a:lnTo>
                    <a:lnTo>
                      <a:pt x="1002556" y="702733"/>
                    </a:lnTo>
                    <a:close/>
                  </a:path>
                  <a:path w="3439795" h="1447800">
                    <a:moveTo>
                      <a:pt x="1002268" y="701039"/>
                    </a:moveTo>
                    <a:lnTo>
                      <a:pt x="1002556" y="702733"/>
                    </a:lnTo>
                    <a:lnTo>
                      <a:pt x="1012637" y="711199"/>
                    </a:lnTo>
                    <a:lnTo>
                      <a:pt x="1002268" y="701039"/>
                    </a:lnTo>
                    <a:close/>
                  </a:path>
                  <a:path w="3439795" h="1447800">
                    <a:moveTo>
                      <a:pt x="1001836" y="698499"/>
                    </a:moveTo>
                    <a:lnTo>
                      <a:pt x="1002268" y="701039"/>
                    </a:lnTo>
                    <a:lnTo>
                      <a:pt x="1012637" y="711199"/>
                    </a:lnTo>
                    <a:lnTo>
                      <a:pt x="1001836" y="698499"/>
                    </a:lnTo>
                    <a:close/>
                  </a:path>
                  <a:path w="3439795" h="1447800">
                    <a:moveTo>
                      <a:pt x="1014797" y="698499"/>
                    </a:moveTo>
                    <a:lnTo>
                      <a:pt x="1001836" y="698499"/>
                    </a:lnTo>
                    <a:lnTo>
                      <a:pt x="1012637" y="711199"/>
                    </a:lnTo>
                    <a:lnTo>
                      <a:pt x="1014797" y="698499"/>
                    </a:lnTo>
                    <a:close/>
                  </a:path>
                  <a:path w="3439795" h="1447800">
                    <a:moveTo>
                      <a:pt x="1263132" y="698499"/>
                    </a:moveTo>
                    <a:lnTo>
                      <a:pt x="1256651" y="698499"/>
                    </a:lnTo>
                    <a:lnTo>
                      <a:pt x="1256651" y="711199"/>
                    </a:lnTo>
                    <a:lnTo>
                      <a:pt x="1263132" y="698499"/>
                    </a:lnTo>
                    <a:close/>
                  </a:path>
                  <a:path w="3439795" h="1447800">
                    <a:moveTo>
                      <a:pt x="1282574" y="698499"/>
                    </a:moveTo>
                    <a:lnTo>
                      <a:pt x="1282574" y="711199"/>
                    </a:lnTo>
                    <a:lnTo>
                      <a:pt x="1284734" y="711199"/>
                    </a:lnTo>
                    <a:lnTo>
                      <a:pt x="1282574" y="698499"/>
                    </a:lnTo>
                    <a:close/>
                  </a:path>
                  <a:path w="3439795" h="1447800">
                    <a:moveTo>
                      <a:pt x="1295535" y="698499"/>
                    </a:moveTo>
                    <a:lnTo>
                      <a:pt x="1282574" y="698499"/>
                    </a:lnTo>
                    <a:lnTo>
                      <a:pt x="1284734" y="711199"/>
                    </a:lnTo>
                    <a:lnTo>
                      <a:pt x="1295535" y="711199"/>
                    </a:lnTo>
                    <a:lnTo>
                      <a:pt x="1295535" y="698499"/>
                    </a:lnTo>
                    <a:close/>
                  </a:path>
                  <a:path w="3439795" h="1447800">
                    <a:moveTo>
                      <a:pt x="1304176" y="698499"/>
                    </a:moveTo>
                    <a:lnTo>
                      <a:pt x="1295535" y="698499"/>
                    </a:lnTo>
                    <a:lnTo>
                      <a:pt x="1295535" y="711199"/>
                    </a:lnTo>
                    <a:lnTo>
                      <a:pt x="1302016" y="711199"/>
                    </a:lnTo>
                    <a:lnTo>
                      <a:pt x="1304176" y="698499"/>
                    </a:lnTo>
                    <a:close/>
                  </a:path>
                  <a:path w="3439795" h="1447800">
                    <a:moveTo>
                      <a:pt x="1321368" y="698499"/>
                    </a:moveTo>
                    <a:lnTo>
                      <a:pt x="1304176" y="698499"/>
                    </a:lnTo>
                    <a:lnTo>
                      <a:pt x="1304176" y="711199"/>
                    </a:lnTo>
                    <a:lnTo>
                      <a:pt x="1319253" y="711199"/>
                    </a:lnTo>
                    <a:lnTo>
                      <a:pt x="1321368" y="698499"/>
                    </a:lnTo>
                    <a:close/>
                  </a:path>
                  <a:path w="3439795" h="1447800">
                    <a:moveTo>
                      <a:pt x="1351611" y="698499"/>
                    </a:moveTo>
                    <a:lnTo>
                      <a:pt x="1355931" y="711199"/>
                    </a:lnTo>
                    <a:lnTo>
                      <a:pt x="1354203" y="701039"/>
                    </a:lnTo>
                    <a:lnTo>
                      <a:pt x="1351611" y="698499"/>
                    </a:lnTo>
                    <a:close/>
                  </a:path>
                  <a:path w="3439795" h="1447800">
                    <a:moveTo>
                      <a:pt x="1354203" y="701039"/>
                    </a:moveTo>
                    <a:lnTo>
                      <a:pt x="1355931" y="711199"/>
                    </a:lnTo>
                    <a:lnTo>
                      <a:pt x="1364572" y="711199"/>
                    </a:lnTo>
                    <a:lnTo>
                      <a:pt x="1354203" y="701039"/>
                    </a:lnTo>
                    <a:close/>
                  </a:path>
                  <a:path w="3439795" h="1447800">
                    <a:moveTo>
                      <a:pt x="1429379" y="698499"/>
                    </a:moveTo>
                    <a:lnTo>
                      <a:pt x="1420738" y="698499"/>
                    </a:lnTo>
                    <a:lnTo>
                      <a:pt x="1420738" y="711199"/>
                    </a:lnTo>
                    <a:lnTo>
                      <a:pt x="1429379" y="698499"/>
                    </a:lnTo>
                    <a:close/>
                  </a:path>
                  <a:path w="3439795" h="1447800">
                    <a:moveTo>
                      <a:pt x="1450981" y="698499"/>
                    </a:moveTo>
                    <a:lnTo>
                      <a:pt x="1448821" y="698499"/>
                    </a:lnTo>
                    <a:lnTo>
                      <a:pt x="1457462" y="711199"/>
                    </a:lnTo>
                    <a:lnTo>
                      <a:pt x="1450981" y="698499"/>
                    </a:lnTo>
                    <a:close/>
                  </a:path>
                  <a:path w="3439795" h="1447800">
                    <a:moveTo>
                      <a:pt x="1450981" y="698499"/>
                    </a:moveTo>
                    <a:lnTo>
                      <a:pt x="1457462" y="711199"/>
                    </a:lnTo>
                    <a:lnTo>
                      <a:pt x="1461782" y="711199"/>
                    </a:lnTo>
                    <a:lnTo>
                      <a:pt x="1450981" y="698499"/>
                    </a:lnTo>
                    <a:close/>
                  </a:path>
                  <a:path w="3439795" h="1447800">
                    <a:moveTo>
                      <a:pt x="1450981" y="698499"/>
                    </a:moveTo>
                    <a:lnTo>
                      <a:pt x="1461782" y="711199"/>
                    </a:lnTo>
                    <a:lnTo>
                      <a:pt x="1456021" y="702733"/>
                    </a:lnTo>
                    <a:lnTo>
                      <a:pt x="1450981" y="698499"/>
                    </a:lnTo>
                    <a:close/>
                  </a:path>
                  <a:path w="3439795" h="1447800">
                    <a:moveTo>
                      <a:pt x="1456021" y="702733"/>
                    </a:moveTo>
                    <a:lnTo>
                      <a:pt x="1461782" y="711199"/>
                    </a:lnTo>
                    <a:lnTo>
                      <a:pt x="1466102" y="711199"/>
                    </a:lnTo>
                    <a:lnTo>
                      <a:pt x="1456021" y="702733"/>
                    </a:lnTo>
                    <a:close/>
                  </a:path>
                  <a:path w="3439795" h="1447800">
                    <a:moveTo>
                      <a:pt x="1470423" y="685799"/>
                    </a:moveTo>
                    <a:lnTo>
                      <a:pt x="1457462" y="698499"/>
                    </a:lnTo>
                    <a:lnTo>
                      <a:pt x="1453141" y="698499"/>
                    </a:lnTo>
                    <a:lnTo>
                      <a:pt x="1456021" y="702733"/>
                    </a:lnTo>
                    <a:lnTo>
                      <a:pt x="1466102" y="711199"/>
                    </a:lnTo>
                    <a:lnTo>
                      <a:pt x="1474743" y="711199"/>
                    </a:lnTo>
                    <a:lnTo>
                      <a:pt x="1470423" y="685799"/>
                    </a:lnTo>
                    <a:close/>
                  </a:path>
                  <a:path w="3439795" h="1447800">
                    <a:moveTo>
                      <a:pt x="1479064" y="685799"/>
                    </a:moveTo>
                    <a:lnTo>
                      <a:pt x="1470423" y="685799"/>
                    </a:lnTo>
                    <a:lnTo>
                      <a:pt x="1474743" y="711199"/>
                    </a:lnTo>
                    <a:lnTo>
                      <a:pt x="1483384" y="711199"/>
                    </a:lnTo>
                    <a:lnTo>
                      <a:pt x="1479064" y="685799"/>
                    </a:lnTo>
                    <a:close/>
                  </a:path>
                  <a:path w="3439795" h="1447800">
                    <a:moveTo>
                      <a:pt x="1481224" y="685799"/>
                    </a:moveTo>
                    <a:lnTo>
                      <a:pt x="1479064" y="685799"/>
                    </a:lnTo>
                    <a:lnTo>
                      <a:pt x="1483384" y="711199"/>
                    </a:lnTo>
                    <a:lnTo>
                      <a:pt x="1481224" y="685799"/>
                    </a:lnTo>
                    <a:close/>
                  </a:path>
                  <a:path w="3439795" h="1447800">
                    <a:moveTo>
                      <a:pt x="1496345" y="685799"/>
                    </a:moveTo>
                    <a:lnTo>
                      <a:pt x="1481224" y="685799"/>
                    </a:lnTo>
                    <a:lnTo>
                      <a:pt x="1483384" y="711199"/>
                    </a:lnTo>
                    <a:lnTo>
                      <a:pt x="1485544" y="711199"/>
                    </a:lnTo>
                    <a:lnTo>
                      <a:pt x="1502826" y="698499"/>
                    </a:lnTo>
                    <a:lnTo>
                      <a:pt x="1500666" y="698499"/>
                    </a:lnTo>
                    <a:lnTo>
                      <a:pt x="1496345" y="685799"/>
                    </a:lnTo>
                    <a:close/>
                  </a:path>
                  <a:path w="3439795" h="1447800">
                    <a:moveTo>
                      <a:pt x="441170" y="687211"/>
                    </a:moveTo>
                    <a:lnTo>
                      <a:pt x="440450" y="687916"/>
                    </a:lnTo>
                    <a:lnTo>
                      <a:pt x="440450" y="698499"/>
                    </a:lnTo>
                    <a:lnTo>
                      <a:pt x="431809" y="698499"/>
                    </a:lnTo>
                    <a:lnTo>
                      <a:pt x="435589" y="709612"/>
                    </a:lnTo>
                    <a:lnTo>
                      <a:pt x="446930" y="698499"/>
                    </a:lnTo>
                    <a:lnTo>
                      <a:pt x="441170" y="687211"/>
                    </a:lnTo>
                    <a:close/>
                  </a:path>
                  <a:path w="3439795" h="1447800">
                    <a:moveTo>
                      <a:pt x="511737" y="702733"/>
                    </a:moveTo>
                    <a:lnTo>
                      <a:pt x="505256" y="709083"/>
                    </a:lnTo>
                    <a:lnTo>
                      <a:pt x="505256" y="709385"/>
                    </a:lnTo>
                    <a:lnTo>
                      <a:pt x="510657" y="704849"/>
                    </a:lnTo>
                    <a:lnTo>
                      <a:pt x="511737" y="702733"/>
                    </a:lnTo>
                    <a:close/>
                  </a:path>
                  <a:path w="3439795" h="1447800">
                    <a:moveTo>
                      <a:pt x="513897" y="698499"/>
                    </a:moveTo>
                    <a:lnTo>
                      <a:pt x="505256" y="698499"/>
                    </a:lnTo>
                    <a:lnTo>
                      <a:pt x="505256" y="709083"/>
                    </a:lnTo>
                    <a:lnTo>
                      <a:pt x="511737" y="702733"/>
                    </a:lnTo>
                    <a:lnTo>
                      <a:pt x="513897" y="698499"/>
                    </a:lnTo>
                    <a:close/>
                  </a:path>
                  <a:path w="3439795" h="1447800">
                    <a:moveTo>
                      <a:pt x="986714" y="698499"/>
                    </a:moveTo>
                    <a:lnTo>
                      <a:pt x="980234" y="698499"/>
                    </a:lnTo>
                    <a:lnTo>
                      <a:pt x="980234" y="709083"/>
                    </a:lnTo>
                    <a:lnTo>
                      <a:pt x="986714" y="702733"/>
                    </a:lnTo>
                    <a:lnTo>
                      <a:pt x="986714" y="698499"/>
                    </a:lnTo>
                    <a:close/>
                  </a:path>
                  <a:path w="3439795" h="1447800">
                    <a:moveTo>
                      <a:pt x="991035" y="706966"/>
                    </a:moveTo>
                    <a:lnTo>
                      <a:pt x="990603" y="708659"/>
                    </a:lnTo>
                    <a:lnTo>
                      <a:pt x="991343" y="707571"/>
                    </a:lnTo>
                    <a:lnTo>
                      <a:pt x="991035" y="706966"/>
                    </a:lnTo>
                    <a:close/>
                  </a:path>
                  <a:path w="3439795" h="1447800">
                    <a:moveTo>
                      <a:pt x="991343" y="705757"/>
                    </a:moveTo>
                    <a:lnTo>
                      <a:pt x="991035" y="706966"/>
                    </a:lnTo>
                    <a:lnTo>
                      <a:pt x="991343" y="707571"/>
                    </a:lnTo>
                    <a:lnTo>
                      <a:pt x="991755" y="706966"/>
                    </a:lnTo>
                    <a:lnTo>
                      <a:pt x="991343" y="705757"/>
                    </a:lnTo>
                    <a:close/>
                  </a:path>
                  <a:path w="3439795" h="1447800">
                    <a:moveTo>
                      <a:pt x="737698" y="695778"/>
                    </a:moveTo>
                    <a:lnTo>
                      <a:pt x="736309" y="698499"/>
                    </a:lnTo>
                    <a:lnTo>
                      <a:pt x="734149" y="698499"/>
                    </a:lnTo>
                    <a:lnTo>
                      <a:pt x="744618" y="707292"/>
                    </a:lnTo>
                    <a:lnTo>
                      <a:pt x="744086" y="701039"/>
                    </a:lnTo>
                    <a:lnTo>
                      <a:pt x="742790" y="698499"/>
                    </a:lnTo>
                    <a:lnTo>
                      <a:pt x="737698" y="695778"/>
                    </a:lnTo>
                    <a:close/>
                  </a:path>
                  <a:path w="3439795" h="1447800">
                    <a:moveTo>
                      <a:pt x="990315" y="702733"/>
                    </a:moveTo>
                    <a:lnTo>
                      <a:pt x="989307" y="703579"/>
                    </a:lnTo>
                    <a:lnTo>
                      <a:pt x="991035" y="706966"/>
                    </a:lnTo>
                    <a:lnTo>
                      <a:pt x="991343" y="705757"/>
                    </a:lnTo>
                    <a:lnTo>
                      <a:pt x="990315" y="702733"/>
                    </a:lnTo>
                    <a:close/>
                  </a:path>
                  <a:path w="3439795" h="1447800">
                    <a:moveTo>
                      <a:pt x="992269" y="702128"/>
                    </a:moveTo>
                    <a:lnTo>
                      <a:pt x="991343" y="705757"/>
                    </a:lnTo>
                    <a:lnTo>
                      <a:pt x="991755" y="706966"/>
                    </a:lnTo>
                    <a:lnTo>
                      <a:pt x="993195" y="704849"/>
                    </a:lnTo>
                    <a:lnTo>
                      <a:pt x="992269" y="702128"/>
                    </a:lnTo>
                    <a:close/>
                  </a:path>
                  <a:path w="3439795" h="1447800">
                    <a:moveTo>
                      <a:pt x="988155" y="701322"/>
                    </a:moveTo>
                    <a:lnTo>
                      <a:pt x="986714" y="702733"/>
                    </a:lnTo>
                    <a:lnTo>
                      <a:pt x="986714" y="705757"/>
                    </a:lnTo>
                    <a:lnTo>
                      <a:pt x="988875" y="703942"/>
                    </a:lnTo>
                    <a:lnTo>
                      <a:pt x="988875" y="702733"/>
                    </a:lnTo>
                    <a:lnTo>
                      <a:pt x="988155" y="701322"/>
                    </a:lnTo>
                    <a:close/>
                  </a:path>
                  <a:path w="3439795" h="1447800">
                    <a:moveTo>
                      <a:pt x="991995" y="701322"/>
                    </a:moveTo>
                    <a:lnTo>
                      <a:pt x="990315" y="702733"/>
                    </a:lnTo>
                    <a:lnTo>
                      <a:pt x="991343" y="705757"/>
                    </a:lnTo>
                    <a:lnTo>
                      <a:pt x="992269" y="702128"/>
                    </a:lnTo>
                    <a:lnTo>
                      <a:pt x="991995" y="701322"/>
                    </a:lnTo>
                    <a:close/>
                  </a:path>
                  <a:path w="3439795" h="1447800">
                    <a:moveTo>
                      <a:pt x="516057" y="698499"/>
                    </a:moveTo>
                    <a:lnTo>
                      <a:pt x="511737" y="702733"/>
                    </a:lnTo>
                    <a:lnTo>
                      <a:pt x="510657" y="704849"/>
                    </a:lnTo>
                    <a:lnTo>
                      <a:pt x="513177" y="702733"/>
                    </a:lnTo>
                    <a:lnTo>
                      <a:pt x="516057" y="698499"/>
                    </a:lnTo>
                    <a:close/>
                  </a:path>
                  <a:path w="3439795" h="1447800">
                    <a:moveTo>
                      <a:pt x="909037" y="698499"/>
                    </a:moveTo>
                    <a:lnTo>
                      <a:pt x="903996" y="702733"/>
                    </a:lnTo>
                    <a:lnTo>
                      <a:pt x="902556" y="704849"/>
                    </a:lnTo>
                    <a:lnTo>
                      <a:pt x="909037" y="698499"/>
                    </a:lnTo>
                    <a:close/>
                  </a:path>
                  <a:path w="3439795" h="1447800">
                    <a:moveTo>
                      <a:pt x="989307" y="703579"/>
                    </a:moveTo>
                    <a:lnTo>
                      <a:pt x="988875" y="703942"/>
                    </a:lnTo>
                    <a:lnTo>
                      <a:pt x="988875" y="704849"/>
                    </a:lnTo>
                    <a:lnTo>
                      <a:pt x="989307" y="703579"/>
                    </a:lnTo>
                    <a:close/>
                  </a:path>
                  <a:path w="3439795" h="1447800">
                    <a:moveTo>
                      <a:pt x="993465" y="700087"/>
                    </a:moveTo>
                    <a:lnTo>
                      <a:pt x="992606" y="700809"/>
                    </a:lnTo>
                    <a:lnTo>
                      <a:pt x="992269" y="702128"/>
                    </a:lnTo>
                    <a:lnTo>
                      <a:pt x="993195" y="704849"/>
                    </a:lnTo>
                    <a:lnTo>
                      <a:pt x="994059" y="703579"/>
                    </a:lnTo>
                    <a:lnTo>
                      <a:pt x="993465" y="700087"/>
                    </a:lnTo>
                    <a:close/>
                  </a:path>
                  <a:path w="3439795" h="1447800">
                    <a:moveTo>
                      <a:pt x="988875" y="702733"/>
                    </a:moveTo>
                    <a:lnTo>
                      <a:pt x="988875" y="703942"/>
                    </a:lnTo>
                    <a:lnTo>
                      <a:pt x="989307" y="703579"/>
                    </a:lnTo>
                    <a:lnTo>
                      <a:pt x="988875" y="702733"/>
                    </a:lnTo>
                    <a:close/>
                  </a:path>
                  <a:path w="3439795" h="1447800">
                    <a:moveTo>
                      <a:pt x="989415" y="700087"/>
                    </a:moveTo>
                    <a:lnTo>
                      <a:pt x="988875" y="700616"/>
                    </a:lnTo>
                    <a:lnTo>
                      <a:pt x="988875" y="702733"/>
                    </a:lnTo>
                    <a:lnTo>
                      <a:pt x="989307" y="703579"/>
                    </a:lnTo>
                    <a:lnTo>
                      <a:pt x="989955" y="701674"/>
                    </a:lnTo>
                    <a:lnTo>
                      <a:pt x="989415" y="700087"/>
                    </a:lnTo>
                    <a:close/>
                  </a:path>
                  <a:path w="3439795" h="1447800">
                    <a:moveTo>
                      <a:pt x="989955" y="701674"/>
                    </a:moveTo>
                    <a:lnTo>
                      <a:pt x="989307" y="703579"/>
                    </a:lnTo>
                    <a:lnTo>
                      <a:pt x="990315" y="702733"/>
                    </a:lnTo>
                    <a:lnTo>
                      <a:pt x="989955" y="701674"/>
                    </a:lnTo>
                    <a:close/>
                  </a:path>
                  <a:path w="3439795" h="1447800">
                    <a:moveTo>
                      <a:pt x="997515" y="698499"/>
                    </a:moveTo>
                    <a:lnTo>
                      <a:pt x="995355" y="698499"/>
                    </a:lnTo>
                    <a:lnTo>
                      <a:pt x="993465" y="700087"/>
                    </a:lnTo>
                    <a:lnTo>
                      <a:pt x="994059" y="703579"/>
                    </a:lnTo>
                    <a:lnTo>
                      <a:pt x="997515" y="698499"/>
                    </a:lnTo>
                    <a:close/>
                  </a:path>
                  <a:path w="3439795" h="1447800">
                    <a:moveTo>
                      <a:pt x="516057" y="698499"/>
                    </a:moveTo>
                    <a:lnTo>
                      <a:pt x="513897" y="698499"/>
                    </a:lnTo>
                    <a:lnTo>
                      <a:pt x="511737" y="702733"/>
                    </a:lnTo>
                    <a:lnTo>
                      <a:pt x="516057" y="698499"/>
                    </a:lnTo>
                    <a:close/>
                  </a:path>
                  <a:path w="3439795" h="1447800">
                    <a:moveTo>
                      <a:pt x="513897" y="685799"/>
                    </a:moveTo>
                    <a:lnTo>
                      <a:pt x="500936" y="698499"/>
                    </a:lnTo>
                    <a:lnTo>
                      <a:pt x="516057" y="698499"/>
                    </a:lnTo>
                    <a:lnTo>
                      <a:pt x="513177" y="702733"/>
                    </a:lnTo>
                    <a:lnTo>
                      <a:pt x="518217" y="698499"/>
                    </a:lnTo>
                    <a:lnTo>
                      <a:pt x="513897" y="685799"/>
                    </a:lnTo>
                    <a:close/>
                  </a:path>
                  <a:path w="3439795" h="1447800">
                    <a:moveTo>
                      <a:pt x="909037" y="698499"/>
                    </a:moveTo>
                    <a:lnTo>
                      <a:pt x="906876" y="698499"/>
                    </a:lnTo>
                    <a:lnTo>
                      <a:pt x="903996" y="702733"/>
                    </a:lnTo>
                    <a:lnTo>
                      <a:pt x="909037" y="698499"/>
                    </a:lnTo>
                    <a:close/>
                  </a:path>
                  <a:path w="3439795" h="1447800">
                    <a:moveTo>
                      <a:pt x="986714" y="698499"/>
                    </a:moveTo>
                    <a:lnTo>
                      <a:pt x="986714" y="702733"/>
                    </a:lnTo>
                    <a:lnTo>
                      <a:pt x="988155" y="701322"/>
                    </a:lnTo>
                    <a:lnTo>
                      <a:pt x="986714" y="698499"/>
                    </a:lnTo>
                    <a:close/>
                  </a:path>
                  <a:path w="3439795" h="1447800">
                    <a:moveTo>
                      <a:pt x="988875" y="700616"/>
                    </a:moveTo>
                    <a:lnTo>
                      <a:pt x="988155" y="701322"/>
                    </a:lnTo>
                    <a:lnTo>
                      <a:pt x="988875" y="702733"/>
                    </a:lnTo>
                    <a:lnTo>
                      <a:pt x="988875" y="700616"/>
                    </a:lnTo>
                    <a:close/>
                  </a:path>
                  <a:path w="3439795" h="1447800">
                    <a:moveTo>
                      <a:pt x="991035" y="698499"/>
                    </a:moveTo>
                    <a:lnTo>
                      <a:pt x="989955" y="701674"/>
                    </a:lnTo>
                    <a:lnTo>
                      <a:pt x="990315" y="702733"/>
                    </a:lnTo>
                    <a:lnTo>
                      <a:pt x="991995" y="701322"/>
                    </a:lnTo>
                    <a:lnTo>
                      <a:pt x="991035" y="698499"/>
                    </a:lnTo>
                    <a:close/>
                  </a:path>
                  <a:path w="3439795" h="1447800">
                    <a:moveTo>
                      <a:pt x="997515" y="698499"/>
                    </a:moveTo>
                    <a:lnTo>
                      <a:pt x="999676" y="702733"/>
                    </a:lnTo>
                    <a:lnTo>
                      <a:pt x="999676" y="700314"/>
                    </a:lnTo>
                    <a:lnTo>
                      <a:pt x="997515" y="698499"/>
                    </a:lnTo>
                    <a:close/>
                  </a:path>
                  <a:path w="3439795" h="1447800">
                    <a:moveTo>
                      <a:pt x="999676" y="698499"/>
                    </a:moveTo>
                    <a:lnTo>
                      <a:pt x="999676" y="700314"/>
                    </a:lnTo>
                    <a:lnTo>
                      <a:pt x="1002556" y="702733"/>
                    </a:lnTo>
                    <a:lnTo>
                      <a:pt x="1002268" y="701039"/>
                    </a:lnTo>
                    <a:lnTo>
                      <a:pt x="999676" y="698499"/>
                    </a:lnTo>
                    <a:close/>
                  </a:path>
                  <a:path w="3439795" h="1447800">
                    <a:moveTo>
                      <a:pt x="1453141" y="698499"/>
                    </a:moveTo>
                    <a:lnTo>
                      <a:pt x="1450981" y="698499"/>
                    </a:lnTo>
                    <a:lnTo>
                      <a:pt x="1456021" y="702733"/>
                    </a:lnTo>
                    <a:lnTo>
                      <a:pt x="1453141" y="698499"/>
                    </a:lnTo>
                    <a:close/>
                  </a:path>
                  <a:path w="3439795" h="1447800">
                    <a:moveTo>
                      <a:pt x="992606" y="700809"/>
                    </a:moveTo>
                    <a:lnTo>
                      <a:pt x="991995" y="701322"/>
                    </a:lnTo>
                    <a:lnTo>
                      <a:pt x="992269" y="702128"/>
                    </a:lnTo>
                    <a:lnTo>
                      <a:pt x="992606" y="700809"/>
                    </a:lnTo>
                    <a:close/>
                  </a:path>
                  <a:path w="3439795" h="1447800">
                    <a:moveTo>
                      <a:pt x="991035" y="698499"/>
                    </a:moveTo>
                    <a:lnTo>
                      <a:pt x="989415" y="700087"/>
                    </a:lnTo>
                    <a:lnTo>
                      <a:pt x="989955" y="701674"/>
                    </a:lnTo>
                    <a:lnTo>
                      <a:pt x="991035" y="698499"/>
                    </a:lnTo>
                    <a:close/>
                  </a:path>
                  <a:path w="3439795" h="1447800">
                    <a:moveTo>
                      <a:pt x="988875" y="698499"/>
                    </a:moveTo>
                    <a:lnTo>
                      <a:pt x="986714" y="698499"/>
                    </a:lnTo>
                    <a:lnTo>
                      <a:pt x="988155" y="701322"/>
                    </a:lnTo>
                    <a:lnTo>
                      <a:pt x="988875" y="700616"/>
                    </a:lnTo>
                    <a:lnTo>
                      <a:pt x="988875" y="698499"/>
                    </a:lnTo>
                    <a:close/>
                  </a:path>
                  <a:path w="3439795" h="1447800">
                    <a:moveTo>
                      <a:pt x="993195" y="698499"/>
                    </a:moveTo>
                    <a:lnTo>
                      <a:pt x="991035" y="698499"/>
                    </a:lnTo>
                    <a:lnTo>
                      <a:pt x="991995" y="701322"/>
                    </a:lnTo>
                    <a:lnTo>
                      <a:pt x="992606" y="700809"/>
                    </a:lnTo>
                    <a:lnTo>
                      <a:pt x="993195" y="698499"/>
                    </a:lnTo>
                    <a:close/>
                  </a:path>
                  <a:path w="3439795" h="1447800">
                    <a:moveTo>
                      <a:pt x="742790" y="685799"/>
                    </a:moveTo>
                    <a:lnTo>
                      <a:pt x="737698" y="695778"/>
                    </a:lnTo>
                    <a:lnTo>
                      <a:pt x="742790" y="698499"/>
                    </a:lnTo>
                    <a:lnTo>
                      <a:pt x="744086" y="701039"/>
                    </a:lnTo>
                    <a:lnTo>
                      <a:pt x="742790" y="685799"/>
                    </a:lnTo>
                    <a:close/>
                  </a:path>
                  <a:path w="3439795" h="1447800">
                    <a:moveTo>
                      <a:pt x="1003516" y="687211"/>
                    </a:moveTo>
                    <a:lnTo>
                      <a:pt x="999676" y="698499"/>
                    </a:lnTo>
                    <a:lnTo>
                      <a:pt x="1002268" y="701039"/>
                    </a:lnTo>
                    <a:lnTo>
                      <a:pt x="1001836" y="698499"/>
                    </a:lnTo>
                    <a:lnTo>
                      <a:pt x="1016957" y="698499"/>
                    </a:lnTo>
                    <a:lnTo>
                      <a:pt x="1003516" y="687211"/>
                    </a:lnTo>
                    <a:close/>
                  </a:path>
                  <a:path w="3439795" h="1447800">
                    <a:moveTo>
                      <a:pt x="1353771" y="698499"/>
                    </a:moveTo>
                    <a:lnTo>
                      <a:pt x="1351611" y="698499"/>
                    </a:lnTo>
                    <a:lnTo>
                      <a:pt x="1354203" y="701039"/>
                    </a:lnTo>
                    <a:lnTo>
                      <a:pt x="1353771" y="698499"/>
                    </a:lnTo>
                    <a:close/>
                  </a:path>
                  <a:path w="3439795" h="1447800">
                    <a:moveTo>
                      <a:pt x="993195" y="698499"/>
                    </a:moveTo>
                    <a:lnTo>
                      <a:pt x="992606" y="700809"/>
                    </a:lnTo>
                    <a:lnTo>
                      <a:pt x="993465" y="700087"/>
                    </a:lnTo>
                    <a:lnTo>
                      <a:pt x="993195" y="698499"/>
                    </a:lnTo>
                    <a:close/>
                  </a:path>
                  <a:path w="3439795" h="1447800">
                    <a:moveTo>
                      <a:pt x="988875" y="698499"/>
                    </a:moveTo>
                    <a:lnTo>
                      <a:pt x="988875" y="700616"/>
                    </a:lnTo>
                    <a:lnTo>
                      <a:pt x="989415" y="700087"/>
                    </a:lnTo>
                    <a:lnTo>
                      <a:pt x="988875" y="698499"/>
                    </a:lnTo>
                    <a:close/>
                  </a:path>
                  <a:path w="3439795" h="1447800">
                    <a:moveTo>
                      <a:pt x="999676" y="698499"/>
                    </a:moveTo>
                    <a:lnTo>
                      <a:pt x="997515" y="698499"/>
                    </a:lnTo>
                    <a:lnTo>
                      <a:pt x="999676" y="700314"/>
                    </a:lnTo>
                    <a:lnTo>
                      <a:pt x="999676" y="698499"/>
                    </a:lnTo>
                    <a:close/>
                  </a:path>
                  <a:path w="3439795" h="1447800">
                    <a:moveTo>
                      <a:pt x="991035" y="698499"/>
                    </a:moveTo>
                    <a:lnTo>
                      <a:pt x="988875" y="698499"/>
                    </a:lnTo>
                    <a:lnTo>
                      <a:pt x="989415" y="700087"/>
                    </a:lnTo>
                    <a:lnTo>
                      <a:pt x="991035" y="698499"/>
                    </a:lnTo>
                    <a:close/>
                  </a:path>
                  <a:path w="3439795" h="1447800">
                    <a:moveTo>
                      <a:pt x="995355" y="698499"/>
                    </a:moveTo>
                    <a:lnTo>
                      <a:pt x="993195" y="698499"/>
                    </a:lnTo>
                    <a:lnTo>
                      <a:pt x="993465" y="700087"/>
                    </a:lnTo>
                    <a:lnTo>
                      <a:pt x="995355" y="698499"/>
                    </a:lnTo>
                    <a:close/>
                  </a:path>
                  <a:path w="3439795" h="1447800">
                    <a:moveTo>
                      <a:pt x="431809" y="673099"/>
                    </a:moveTo>
                    <a:lnTo>
                      <a:pt x="418847" y="685799"/>
                    </a:lnTo>
                    <a:lnTo>
                      <a:pt x="423168" y="698499"/>
                    </a:lnTo>
                    <a:lnTo>
                      <a:pt x="423168" y="685799"/>
                    </a:lnTo>
                    <a:lnTo>
                      <a:pt x="428568" y="685799"/>
                    </a:lnTo>
                    <a:lnTo>
                      <a:pt x="432426" y="676728"/>
                    </a:lnTo>
                    <a:lnTo>
                      <a:pt x="431809" y="673099"/>
                    </a:lnTo>
                    <a:close/>
                  </a:path>
                  <a:path w="3439795" h="1447800">
                    <a:moveTo>
                      <a:pt x="428568" y="685799"/>
                    </a:moveTo>
                    <a:lnTo>
                      <a:pt x="423168" y="685799"/>
                    </a:lnTo>
                    <a:lnTo>
                      <a:pt x="423168" y="698499"/>
                    </a:lnTo>
                    <a:lnTo>
                      <a:pt x="428568" y="685799"/>
                    </a:lnTo>
                    <a:close/>
                  </a:path>
                  <a:path w="3439795" h="1447800">
                    <a:moveTo>
                      <a:pt x="432426" y="676728"/>
                    </a:moveTo>
                    <a:lnTo>
                      <a:pt x="423168" y="698499"/>
                    </a:lnTo>
                    <a:lnTo>
                      <a:pt x="433969" y="685799"/>
                    </a:lnTo>
                    <a:lnTo>
                      <a:pt x="432426" y="676728"/>
                    </a:lnTo>
                    <a:close/>
                  </a:path>
                  <a:path w="3439795" h="1447800">
                    <a:moveTo>
                      <a:pt x="433969" y="673099"/>
                    </a:moveTo>
                    <a:lnTo>
                      <a:pt x="432619" y="676274"/>
                    </a:lnTo>
                    <a:lnTo>
                      <a:pt x="432529" y="677333"/>
                    </a:lnTo>
                    <a:lnTo>
                      <a:pt x="433969" y="685799"/>
                    </a:lnTo>
                    <a:lnTo>
                      <a:pt x="423168" y="698499"/>
                    </a:lnTo>
                    <a:lnTo>
                      <a:pt x="433249" y="690033"/>
                    </a:lnTo>
                    <a:lnTo>
                      <a:pt x="436129" y="685799"/>
                    </a:lnTo>
                    <a:lnTo>
                      <a:pt x="433969" y="673099"/>
                    </a:lnTo>
                    <a:close/>
                  </a:path>
                  <a:path w="3439795" h="1447800">
                    <a:moveTo>
                      <a:pt x="433249" y="690033"/>
                    </a:moveTo>
                    <a:lnTo>
                      <a:pt x="423168" y="698499"/>
                    </a:lnTo>
                    <a:lnTo>
                      <a:pt x="427488" y="698499"/>
                    </a:lnTo>
                    <a:lnTo>
                      <a:pt x="433249" y="690033"/>
                    </a:lnTo>
                    <a:close/>
                  </a:path>
                  <a:path w="3439795" h="1447800">
                    <a:moveTo>
                      <a:pt x="440450" y="685799"/>
                    </a:moveTo>
                    <a:lnTo>
                      <a:pt x="438289" y="685799"/>
                    </a:lnTo>
                    <a:lnTo>
                      <a:pt x="433249" y="690033"/>
                    </a:lnTo>
                    <a:lnTo>
                      <a:pt x="427488" y="698499"/>
                    </a:lnTo>
                    <a:lnTo>
                      <a:pt x="429649" y="698499"/>
                    </a:lnTo>
                    <a:lnTo>
                      <a:pt x="440450" y="685799"/>
                    </a:lnTo>
                    <a:close/>
                  </a:path>
                  <a:path w="3439795" h="1447800">
                    <a:moveTo>
                      <a:pt x="440450" y="685799"/>
                    </a:moveTo>
                    <a:lnTo>
                      <a:pt x="429649" y="698499"/>
                    </a:lnTo>
                    <a:lnTo>
                      <a:pt x="440450" y="687916"/>
                    </a:lnTo>
                    <a:lnTo>
                      <a:pt x="440450" y="685799"/>
                    </a:lnTo>
                    <a:close/>
                  </a:path>
                  <a:path w="3439795" h="1447800">
                    <a:moveTo>
                      <a:pt x="440450" y="687916"/>
                    </a:moveTo>
                    <a:lnTo>
                      <a:pt x="429649" y="698499"/>
                    </a:lnTo>
                    <a:lnTo>
                      <a:pt x="440450" y="698499"/>
                    </a:lnTo>
                    <a:lnTo>
                      <a:pt x="440450" y="687916"/>
                    </a:lnTo>
                    <a:close/>
                  </a:path>
                  <a:path w="3439795" h="1447800">
                    <a:moveTo>
                      <a:pt x="492295" y="685799"/>
                    </a:moveTo>
                    <a:lnTo>
                      <a:pt x="492295" y="698499"/>
                    </a:lnTo>
                    <a:lnTo>
                      <a:pt x="494455" y="698499"/>
                    </a:lnTo>
                    <a:lnTo>
                      <a:pt x="492295" y="685799"/>
                    </a:lnTo>
                    <a:close/>
                  </a:path>
                  <a:path w="3439795" h="1447800">
                    <a:moveTo>
                      <a:pt x="507416" y="685799"/>
                    </a:moveTo>
                    <a:lnTo>
                      <a:pt x="492295" y="685799"/>
                    </a:lnTo>
                    <a:lnTo>
                      <a:pt x="494455" y="698499"/>
                    </a:lnTo>
                    <a:lnTo>
                      <a:pt x="507416" y="685799"/>
                    </a:lnTo>
                    <a:close/>
                  </a:path>
                  <a:path w="3439795" h="1447800">
                    <a:moveTo>
                      <a:pt x="507416" y="685799"/>
                    </a:moveTo>
                    <a:lnTo>
                      <a:pt x="494455" y="698499"/>
                    </a:lnTo>
                    <a:lnTo>
                      <a:pt x="503096" y="692149"/>
                    </a:lnTo>
                    <a:lnTo>
                      <a:pt x="507416" y="685799"/>
                    </a:lnTo>
                    <a:close/>
                  </a:path>
                  <a:path w="3439795" h="1447800">
                    <a:moveTo>
                      <a:pt x="503096" y="692149"/>
                    </a:moveTo>
                    <a:lnTo>
                      <a:pt x="494455" y="698499"/>
                    </a:lnTo>
                    <a:lnTo>
                      <a:pt x="498775" y="698499"/>
                    </a:lnTo>
                    <a:lnTo>
                      <a:pt x="503096" y="692149"/>
                    </a:lnTo>
                    <a:close/>
                  </a:path>
                  <a:path w="3439795" h="1447800">
                    <a:moveTo>
                      <a:pt x="505976" y="690033"/>
                    </a:moveTo>
                    <a:lnTo>
                      <a:pt x="503096" y="692149"/>
                    </a:lnTo>
                    <a:lnTo>
                      <a:pt x="498775" y="698499"/>
                    </a:lnTo>
                    <a:lnTo>
                      <a:pt x="505976" y="690033"/>
                    </a:lnTo>
                    <a:close/>
                  </a:path>
                  <a:path w="3439795" h="1447800">
                    <a:moveTo>
                      <a:pt x="513897" y="685799"/>
                    </a:moveTo>
                    <a:lnTo>
                      <a:pt x="511737" y="685799"/>
                    </a:lnTo>
                    <a:lnTo>
                      <a:pt x="505976" y="690033"/>
                    </a:lnTo>
                    <a:lnTo>
                      <a:pt x="498775" y="698499"/>
                    </a:lnTo>
                    <a:lnTo>
                      <a:pt x="513897" y="685799"/>
                    </a:lnTo>
                    <a:close/>
                  </a:path>
                  <a:path w="3439795" h="1447800">
                    <a:moveTo>
                      <a:pt x="593735" y="685799"/>
                    </a:moveTo>
                    <a:lnTo>
                      <a:pt x="589415" y="685799"/>
                    </a:lnTo>
                    <a:lnTo>
                      <a:pt x="589415" y="698499"/>
                    </a:lnTo>
                    <a:lnTo>
                      <a:pt x="593735" y="685799"/>
                    </a:lnTo>
                    <a:close/>
                  </a:path>
                  <a:path w="3439795" h="1447800">
                    <a:moveTo>
                      <a:pt x="593735" y="685799"/>
                    </a:moveTo>
                    <a:lnTo>
                      <a:pt x="604536" y="698499"/>
                    </a:lnTo>
                    <a:lnTo>
                      <a:pt x="608857" y="698499"/>
                    </a:lnTo>
                    <a:lnTo>
                      <a:pt x="593735" y="685799"/>
                    </a:lnTo>
                    <a:close/>
                  </a:path>
                  <a:path w="3439795" h="1447800">
                    <a:moveTo>
                      <a:pt x="595895" y="685799"/>
                    </a:moveTo>
                    <a:lnTo>
                      <a:pt x="593735" y="685799"/>
                    </a:lnTo>
                    <a:lnTo>
                      <a:pt x="608857" y="698499"/>
                    </a:lnTo>
                    <a:lnTo>
                      <a:pt x="611017" y="698499"/>
                    </a:lnTo>
                    <a:lnTo>
                      <a:pt x="595895" y="685799"/>
                    </a:lnTo>
                    <a:close/>
                  </a:path>
                  <a:path w="3439795" h="1447800">
                    <a:moveTo>
                      <a:pt x="595895" y="673099"/>
                    </a:moveTo>
                    <a:lnTo>
                      <a:pt x="595895" y="685799"/>
                    </a:lnTo>
                    <a:lnTo>
                      <a:pt x="611017" y="698499"/>
                    </a:lnTo>
                    <a:lnTo>
                      <a:pt x="598055" y="685799"/>
                    </a:lnTo>
                    <a:lnTo>
                      <a:pt x="613177" y="685799"/>
                    </a:lnTo>
                    <a:lnTo>
                      <a:pt x="595895" y="673099"/>
                    </a:lnTo>
                    <a:close/>
                  </a:path>
                  <a:path w="3439795" h="1447800">
                    <a:moveTo>
                      <a:pt x="613177" y="685799"/>
                    </a:moveTo>
                    <a:lnTo>
                      <a:pt x="598055" y="685799"/>
                    </a:lnTo>
                    <a:lnTo>
                      <a:pt x="611017" y="698499"/>
                    </a:lnTo>
                    <a:lnTo>
                      <a:pt x="613177" y="685799"/>
                    </a:lnTo>
                    <a:close/>
                  </a:path>
                  <a:path w="3439795" h="1447800">
                    <a:moveTo>
                      <a:pt x="677983" y="660399"/>
                    </a:moveTo>
                    <a:lnTo>
                      <a:pt x="673663" y="660399"/>
                    </a:lnTo>
                    <a:lnTo>
                      <a:pt x="662862" y="673099"/>
                    </a:lnTo>
                    <a:lnTo>
                      <a:pt x="665022" y="685799"/>
                    </a:lnTo>
                    <a:lnTo>
                      <a:pt x="669343" y="698499"/>
                    </a:lnTo>
                    <a:lnTo>
                      <a:pt x="680144" y="685799"/>
                    </a:lnTo>
                    <a:lnTo>
                      <a:pt x="682304" y="685799"/>
                    </a:lnTo>
                    <a:lnTo>
                      <a:pt x="677983" y="660399"/>
                    </a:lnTo>
                    <a:close/>
                  </a:path>
                  <a:path w="3439795" h="1447800">
                    <a:moveTo>
                      <a:pt x="684464" y="685799"/>
                    </a:moveTo>
                    <a:lnTo>
                      <a:pt x="680144" y="685799"/>
                    </a:lnTo>
                    <a:lnTo>
                      <a:pt x="669343" y="698499"/>
                    </a:lnTo>
                    <a:lnTo>
                      <a:pt x="684464" y="685799"/>
                    </a:lnTo>
                    <a:close/>
                  </a:path>
                  <a:path w="3439795" h="1447800">
                    <a:moveTo>
                      <a:pt x="688785" y="685799"/>
                    </a:moveTo>
                    <a:lnTo>
                      <a:pt x="684464" y="685799"/>
                    </a:lnTo>
                    <a:lnTo>
                      <a:pt x="669343" y="698499"/>
                    </a:lnTo>
                    <a:lnTo>
                      <a:pt x="673663" y="698499"/>
                    </a:lnTo>
                    <a:lnTo>
                      <a:pt x="688785" y="685799"/>
                    </a:lnTo>
                    <a:close/>
                  </a:path>
                  <a:path w="3439795" h="1447800">
                    <a:moveTo>
                      <a:pt x="688785" y="685799"/>
                    </a:moveTo>
                    <a:lnTo>
                      <a:pt x="673663" y="698499"/>
                    </a:lnTo>
                    <a:lnTo>
                      <a:pt x="675823" y="698499"/>
                    </a:lnTo>
                    <a:lnTo>
                      <a:pt x="688785" y="685799"/>
                    </a:lnTo>
                    <a:close/>
                  </a:path>
                  <a:path w="3439795" h="1447800">
                    <a:moveTo>
                      <a:pt x="688785" y="685799"/>
                    </a:moveTo>
                    <a:lnTo>
                      <a:pt x="675823" y="698499"/>
                    </a:lnTo>
                    <a:lnTo>
                      <a:pt x="680144" y="698499"/>
                    </a:lnTo>
                    <a:lnTo>
                      <a:pt x="688785" y="685799"/>
                    </a:lnTo>
                    <a:close/>
                  </a:path>
                  <a:path w="3439795" h="1447800">
                    <a:moveTo>
                      <a:pt x="688785" y="685799"/>
                    </a:moveTo>
                    <a:lnTo>
                      <a:pt x="680144" y="698499"/>
                    </a:lnTo>
                    <a:lnTo>
                      <a:pt x="688544" y="688622"/>
                    </a:lnTo>
                    <a:lnTo>
                      <a:pt x="688785" y="685799"/>
                    </a:lnTo>
                    <a:close/>
                  </a:path>
                  <a:path w="3439795" h="1447800">
                    <a:moveTo>
                      <a:pt x="736849" y="695324"/>
                    </a:moveTo>
                    <a:lnTo>
                      <a:pt x="736309" y="698499"/>
                    </a:lnTo>
                    <a:lnTo>
                      <a:pt x="737698" y="695778"/>
                    </a:lnTo>
                    <a:lnTo>
                      <a:pt x="736849" y="695324"/>
                    </a:lnTo>
                    <a:close/>
                  </a:path>
                  <a:path w="3439795" h="1447800">
                    <a:moveTo>
                      <a:pt x="762142" y="685799"/>
                    </a:moveTo>
                    <a:lnTo>
                      <a:pt x="757911" y="685799"/>
                    </a:lnTo>
                    <a:lnTo>
                      <a:pt x="768623" y="698499"/>
                    </a:lnTo>
                    <a:lnTo>
                      <a:pt x="762142" y="685799"/>
                    </a:lnTo>
                    <a:close/>
                  </a:path>
                  <a:path w="3439795" h="1447800">
                    <a:moveTo>
                      <a:pt x="770783" y="685799"/>
                    </a:moveTo>
                    <a:lnTo>
                      <a:pt x="762142" y="685799"/>
                    </a:lnTo>
                    <a:lnTo>
                      <a:pt x="768623" y="698499"/>
                    </a:lnTo>
                    <a:lnTo>
                      <a:pt x="779424" y="698499"/>
                    </a:lnTo>
                    <a:lnTo>
                      <a:pt x="770783" y="685799"/>
                    </a:lnTo>
                    <a:close/>
                  </a:path>
                  <a:path w="3439795" h="1447800">
                    <a:moveTo>
                      <a:pt x="782566" y="674254"/>
                    </a:moveTo>
                    <a:lnTo>
                      <a:pt x="770783" y="685799"/>
                    </a:lnTo>
                    <a:lnTo>
                      <a:pt x="779424" y="698499"/>
                    </a:lnTo>
                    <a:lnTo>
                      <a:pt x="790225" y="685799"/>
                    </a:lnTo>
                    <a:lnTo>
                      <a:pt x="783744" y="685799"/>
                    </a:lnTo>
                    <a:lnTo>
                      <a:pt x="783744" y="675639"/>
                    </a:lnTo>
                    <a:lnTo>
                      <a:pt x="782566" y="674254"/>
                    </a:lnTo>
                    <a:close/>
                  </a:path>
                  <a:path w="3439795" h="1447800">
                    <a:moveTo>
                      <a:pt x="883249" y="675084"/>
                    </a:moveTo>
                    <a:lnTo>
                      <a:pt x="872313" y="685799"/>
                    </a:lnTo>
                    <a:lnTo>
                      <a:pt x="878794" y="698499"/>
                    </a:lnTo>
                    <a:lnTo>
                      <a:pt x="891755" y="685799"/>
                    </a:lnTo>
                    <a:lnTo>
                      <a:pt x="883249" y="675084"/>
                    </a:lnTo>
                    <a:close/>
                  </a:path>
                  <a:path w="3439795" h="1447800">
                    <a:moveTo>
                      <a:pt x="893915" y="685799"/>
                    </a:moveTo>
                    <a:lnTo>
                      <a:pt x="891755" y="685799"/>
                    </a:lnTo>
                    <a:lnTo>
                      <a:pt x="878794" y="698499"/>
                    </a:lnTo>
                    <a:lnTo>
                      <a:pt x="880954" y="698499"/>
                    </a:lnTo>
                    <a:lnTo>
                      <a:pt x="893915" y="685799"/>
                    </a:lnTo>
                    <a:close/>
                  </a:path>
                  <a:path w="3439795" h="1447800">
                    <a:moveTo>
                      <a:pt x="896075" y="685799"/>
                    </a:moveTo>
                    <a:lnTo>
                      <a:pt x="893915" y="685799"/>
                    </a:lnTo>
                    <a:lnTo>
                      <a:pt x="880954" y="698499"/>
                    </a:lnTo>
                    <a:lnTo>
                      <a:pt x="896075" y="685799"/>
                    </a:lnTo>
                    <a:close/>
                  </a:path>
                  <a:path w="3439795" h="1447800">
                    <a:moveTo>
                      <a:pt x="896075" y="685799"/>
                    </a:moveTo>
                    <a:lnTo>
                      <a:pt x="880954" y="698499"/>
                    </a:lnTo>
                    <a:lnTo>
                      <a:pt x="883114" y="698499"/>
                    </a:lnTo>
                    <a:lnTo>
                      <a:pt x="896075" y="685799"/>
                    </a:lnTo>
                    <a:close/>
                  </a:path>
                  <a:path w="3439795" h="1447800">
                    <a:moveTo>
                      <a:pt x="900396" y="685799"/>
                    </a:moveTo>
                    <a:lnTo>
                      <a:pt x="896075" y="685799"/>
                    </a:lnTo>
                    <a:lnTo>
                      <a:pt x="883114" y="698499"/>
                    </a:lnTo>
                    <a:lnTo>
                      <a:pt x="902556" y="698499"/>
                    </a:lnTo>
                    <a:lnTo>
                      <a:pt x="900396" y="685799"/>
                    </a:lnTo>
                    <a:close/>
                  </a:path>
                  <a:path w="3439795" h="1447800">
                    <a:moveTo>
                      <a:pt x="1003996" y="685799"/>
                    </a:moveTo>
                    <a:lnTo>
                      <a:pt x="1003516" y="687211"/>
                    </a:lnTo>
                    <a:lnTo>
                      <a:pt x="1016957" y="698499"/>
                    </a:lnTo>
                    <a:lnTo>
                      <a:pt x="1003996" y="685799"/>
                    </a:lnTo>
                    <a:close/>
                  </a:path>
                  <a:path w="3439795" h="1447800">
                    <a:moveTo>
                      <a:pt x="1008317" y="685799"/>
                    </a:moveTo>
                    <a:lnTo>
                      <a:pt x="1003996" y="685799"/>
                    </a:lnTo>
                    <a:lnTo>
                      <a:pt x="1016957" y="698499"/>
                    </a:lnTo>
                    <a:lnTo>
                      <a:pt x="1019118" y="698499"/>
                    </a:lnTo>
                    <a:lnTo>
                      <a:pt x="1008317" y="685799"/>
                    </a:lnTo>
                    <a:close/>
                  </a:path>
                  <a:path w="3439795" h="1447800">
                    <a:moveTo>
                      <a:pt x="1008317" y="685799"/>
                    </a:moveTo>
                    <a:lnTo>
                      <a:pt x="1019118" y="698499"/>
                    </a:lnTo>
                    <a:lnTo>
                      <a:pt x="1021278" y="698499"/>
                    </a:lnTo>
                    <a:lnTo>
                      <a:pt x="1008317" y="685799"/>
                    </a:lnTo>
                    <a:close/>
                  </a:path>
                  <a:path w="3439795" h="1447800">
                    <a:moveTo>
                      <a:pt x="1010477" y="685799"/>
                    </a:moveTo>
                    <a:lnTo>
                      <a:pt x="1008317" y="685799"/>
                    </a:lnTo>
                    <a:lnTo>
                      <a:pt x="1021278" y="698499"/>
                    </a:lnTo>
                    <a:lnTo>
                      <a:pt x="1023438" y="698499"/>
                    </a:lnTo>
                    <a:lnTo>
                      <a:pt x="1010477" y="685799"/>
                    </a:lnTo>
                    <a:close/>
                  </a:path>
                  <a:path w="3439795" h="1447800">
                    <a:moveTo>
                      <a:pt x="1014797" y="673099"/>
                    </a:moveTo>
                    <a:lnTo>
                      <a:pt x="1010477" y="685799"/>
                    </a:lnTo>
                    <a:lnTo>
                      <a:pt x="1023438" y="698499"/>
                    </a:lnTo>
                    <a:lnTo>
                      <a:pt x="1029919" y="685799"/>
                    </a:lnTo>
                    <a:lnTo>
                      <a:pt x="1014797" y="685799"/>
                    </a:lnTo>
                    <a:lnTo>
                      <a:pt x="1014797" y="673099"/>
                    </a:lnTo>
                    <a:close/>
                  </a:path>
                  <a:path w="3439795" h="1447800">
                    <a:moveTo>
                      <a:pt x="1496345" y="685799"/>
                    </a:moveTo>
                    <a:lnTo>
                      <a:pt x="1500666" y="698499"/>
                    </a:lnTo>
                    <a:lnTo>
                      <a:pt x="1502826" y="698499"/>
                    </a:lnTo>
                    <a:lnTo>
                      <a:pt x="1496345" y="685799"/>
                    </a:lnTo>
                    <a:close/>
                  </a:path>
                  <a:path w="3439795" h="1447800">
                    <a:moveTo>
                      <a:pt x="1522402" y="673978"/>
                    </a:moveTo>
                    <a:lnTo>
                      <a:pt x="1496345" y="685799"/>
                    </a:lnTo>
                    <a:lnTo>
                      <a:pt x="1502826" y="698499"/>
                    </a:lnTo>
                    <a:lnTo>
                      <a:pt x="1528659" y="698499"/>
                    </a:lnTo>
                    <a:lnTo>
                      <a:pt x="1522402" y="673978"/>
                    </a:lnTo>
                    <a:close/>
                  </a:path>
                  <a:path w="3439795" h="1447800">
                    <a:moveTo>
                      <a:pt x="1524338" y="673099"/>
                    </a:moveTo>
                    <a:lnTo>
                      <a:pt x="1522402" y="673978"/>
                    </a:lnTo>
                    <a:lnTo>
                      <a:pt x="1528659" y="698499"/>
                    </a:lnTo>
                    <a:lnTo>
                      <a:pt x="1524338" y="673099"/>
                    </a:lnTo>
                    <a:close/>
                  </a:path>
                  <a:path w="3439795" h="1447800">
                    <a:moveTo>
                      <a:pt x="1535139" y="673099"/>
                    </a:moveTo>
                    <a:lnTo>
                      <a:pt x="1524338" y="673099"/>
                    </a:lnTo>
                    <a:lnTo>
                      <a:pt x="1528659" y="698499"/>
                    </a:lnTo>
                    <a:lnTo>
                      <a:pt x="1530819" y="698499"/>
                    </a:lnTo>
                    <a:lnTo>
                      <a:pt x="1543780" y="685799"/>
                    </a:lnTo>
                    <a:lnTo>
                      <a:pt x="1535139" y="673099"/>
                    </a:lnTo>
                    <a:close/>
                  </a:path>
                  <a:path w="3439795" h="1447800">
                    <a:moveTo>
                      <a:pt x="1632349" y="685799"/>
                    </a:moveTo>
                    <a:lnTo>
                      <a:pt x="1632349" y="698499"/>
                    </a:lnTo>
                    <a:lnTo>
                      <a:pt x="1643150" y="698499"/>
                    </a:lnTo>
                    <a:lnTo>
                      <a:pt x="1632349" y="685799"/>
                    </a:lnTo>
                    <a:close/>
                  </a:path>
                  <a:path w="3439795" h="1447800">
                    <a:moveTo>
                      <a:pt x="1634509" y="682624"/>
                    </a:moveTo>
                    <a:lnTo>
                      <a:pt x="1632349" y="685799"/>
                    </a:lnTo>
                    <a:lnTo>
                      <a:pt x="1643150" y="698499"/>
                    </a:lnTo>
                    <a:lnTo>
                      <a:pt x="1656111" y="687614"/>
                    </a:lnTo>
                    <a:lnTo>
                      <a:pt x="1656111" y="685799"/>
                    </a:lnTo>
                    <a:lnTo>
                      <a:pt x="1634509" y="685799"/>
                    </a:lnTo>
                    <a:lnTo>
                      <a:pt x="1634509" y="682624"/>
                    </a:lnTo>
                    <a:close/>
                  </a:path>
                  <a:path w="3439795" h="1447800">
                    <a:moveTo>
                      <a:pt x="1666913" y="673099"/>
                    </a:moveTo>
                    <a:lnTo>
                      <a:pt x="1656111" y="673099"/>
                    </a:lnTo>
                    <a:lnTo>
                      <a:pt x="1658272" y="685799"/>
                    </a:lnTo>
                    <a:lnTo>
                      <a:pt x="1656111" y="687614"/>
                    </a:lnTo>
                    <a:lnTo>
                      <a:pt x="1656111" y="698499"/>
                    </a:lnTo>
                    <a:lnTo>
                      <a:pt x="1675553" y="698499"/>
                    </a:lnTo>
                    <a:lnTo>
                      <a:pt x="1666913" y="673099"/>
                    </a:lnTo>
                    <a:close/>
                  </a:path>
                  <a:path w="3439795" h="1447800">
                    <a:moveTo>
                      <a:pt x="1671233" y="673099"/>
                    </a:moveTo>
                    <a:lnTo>
                      <a:pt x="1666913" y="673099"/>
                    </a:lnTo>
                    <a:lnTo>
                      <a:pt x="1675553" y="698499"/>
                    </a:lnTo>
                    <a:lnTo>
                      <a:pt x="1675553" y="677333"/>
                    </a:lnTo>
                    <a:lnTo>
                      <a:pt x="1671233" y="673099"/>
                    </a:lnTo>
                    <a:close/>
                  </a:path>
                  <a:path w="3439795" h="1447800">
                    <a:moveTo>
                      <a:pt x="1675553" y="677333"/>
                    </a:moveTo>
                    <a:lnTo>
                      <a:pt x="1675553" y="698499"/>
                    </a:lnTo>
                    <a:lnTo>
                      <a:pt x="1682034" y="685799"/>
                    </a:lnTo>
                    <a:lnTo>
                      <a:pt x="1684194" y="685799"/>
                    </a:lnTo>
                    <a:lnTo>
                      <a:pt x="1675553" y="677333"/>
                    </a:lnTo>
                    <a:close/>
                  </a:path>
                  <a:path w="3439795" h="1447800">
                    <a:moveTo>
                      <a:pt x="1682034" y="685799"/>
                    </a:moveTo>
                    <a:lnTo>
                      <a:pt x="1675553" y="698499"/>
                    </a:lnTo>
                    <a:lnTo>
                      <a:pt x="1679874" y="698499"/>
                    </a:lnTo>
                    <a:lnTo>
                      <a:pt x="1682034" y="685799"/>
                    </a:lnTo>
                    <a:close/>
                  </a:path>
                  <a:path w="3439795" h="1447800">
                    <a:moveTo>
                      <a:pt x="742790" y="685799"/>
                    </a:moveTo>
                    <a:lnTo>
                      <a:pt x="738469" y="685799"/>
                    </a:lnTo>
                    <a:lnTo>
                      <a:pt x="736849" y="695324"/>
                    </a:lnTo>
                    <a:lnTo>
                      <a:pt x="737698" y="695778"/>
                    </a:lnTo>
                    <a:lnTo>
                      <a:pt x="742790" y="685799"/>
                    </a:lnTo>
                    <a:close/>
                  </a:path>
                  <a:path w="3439795" h="1447800">
                    <a:moveTo>
                      <a:pt x="509577" y="685799"/>
                    </a:moveTo>
                    <a:lnTo>
                      <a:pt x="507416" y="685799"/>
                    </a:lnTo>
                    <a:lnTo>
                      <a:pt x="503096" y="692149"/>
                    </a:lnTo>
                    <a:lnTo>
                      <a:pt x="505976" y="690033"/>
                    </a:lnTo>
                    <a:lnTo>
                      <a:pt x="509577" y="685799"/>
                    </a:lnTo>
                    <a:close/>
                  </a:path>
                  <a:path w="3439795" h="1447800">
                    <a:moveTo>
                      <a:pt x="438289" y="685799"/>
                    </a:moveTo>
                    <a:lnTo>
                      <a:pt x="436129" y="685799"/>
                    </a:lnTo>
                    <a:lnTo>
                      <a:pt x="433249" y="690033"/>
                    </a:lnTo>
                    <a:lnTo>
                      <a:pt x="438289" y="685799"/>
                    </a:lnTo>
                    <a:close/>
                  </a:path>
                  <a:path w="3439795" h="1447800">
                    <a:moveTo>
                      <a:pt x="505256" y="673099"/>
                    </a:moveTo>
                    <a:lnTo>
                      <a:pt x="494455" y="685799"/>
                    </a:lnTo>
                    <a:lnTo>
                      <a:pt x="509577" y="685799"/>
                    </a:lnTo>
                    <a:lnTo>
                      <a:pt x="505976" y="690033"/>
                    </a:lnTo>
                    <a:lnTo>
                      <a:pt x="511737" y="685799"/>
                    </a:lnTo>
                    <a:lnTo>
                      <a:pt x="505256" y="673099"/>
                    </a:lnTo>
                    <a:close/>
                  </a:path>
                  <a:path w="3439795" h="1447800">
                    <a:moveTo>
                      <a:pt x="690945" y="685799"/>
                    </a:moveTo>
                    <a:lnTo>
                      <a:pt x="688785" y="685799"/>
                    </a:lnTo>
                    <a:lnTo>
                      <a:pt x="688544" y="688622"/>
                    </a:lnTo>
                    <a:lnTo>
                      <a:pt x="690945" y="685799"/>
                    </a:lnTo>
                    <a:close/>
                  </a:path>
                  <a:path w="3439795" h="1447800">
                    <a:moveTo>
                      <a:pt x="440450" y="685799"/>
                    </a:moveTo>
                    <a:lnTo>
                      <a:pt x="440450" y="687916"/>
                    </a:lnTo>
                    <a:lnTo>
                      <a:pt x="441170" y="687211"/>
                    </a:lnTo>
                    <a:lnTo>
                      <a:pt x="440450" y="685799"/>
                    </a:lnTo>
                    <a:close/>
                  </a:path>
                  <a:path w="3439795" h="1447800">
                    <a:moveTo>
                      <a:pt x="1656111" y="673099"/>
                    </a:moveTo>
                    <a:lnTo>
                      <a:pt x="1656111" y="687614"/>
                    </a:lnTo>
                    <a:lnTo>
                      <a:pt x="1658272" y="685799"/>
                    </a:lnTo>
                    <a:lnTo>
                      <a:pt x="1656111" y="673099"/>
                    </a:lnTo>
                    <a:close/>
                  </a:path>
                  <a:path w="3439795" h="1447800">
                    <a:moveTo>
                      <a:pt x="442610" y="685799"/>
                    </a:moveTo>
                    <a:lnTo>
                      <a:pt x="440450" y="685799"/>
                    </a:lnTo>
                    <a:lnTo>
                      <a:pt x="441170" y="687211"/>
                    </a:lnTo>
                    <a:lnTo>
                      <a:pt x="442610" y="685799"/>
                    </a:lnTo>
                    <a:close/>
                  </a:path>
                  <a:path w="3439795" h="1447800">
                    <a:moveTo>
                      <a:pt x="1003996" y="685799"/>
                    </a:moveTo>
                    <a:lnTo>
                      <a:pt x="1001836" y="685799"/>
                    </a:lnTo>
                    <a:lnTo>
                      <a:pt x="1003516" y="687211"/>
                    </a:lnTo>
                    <a:lnTo>
                      <a:pt x="1003996" y="685799"/>
                    </a:lnTo>
                    <a:close/>
                  </a:path>
                  <a:path w="3439795" h="1447800">
                    <a:moveTo>
                      <a:pt x="427488" y="673099"/>
                    </a:moveTo>
                    <a:lnTo>
                      <a:pt x="410207" y="673099"/>
                    </a:lnTo>
                    <a:lnTo>
                      <a:pt x="410207" y="685799"/>
                    </a:lnTo>
                    <a:lnTo>
                      <a:pt x="427488" y="673099"/>
                    </a:lnTo>
                    <a:close/>
                  </a:path>
                  <a:path w="3439795" h="1447800">
                    <a:moveTo>
                      <a:pt x="427488" y="673099"/>
                    </a:moveTo>
                    <a:lnTo>
                      <a:pt x="410207" y="685799"/>
                    </a:lnTo>
                    <a:lnTo>
                      <a:pt x="414527" y="685799"/>
                    </a:lnTo>
                    <a:lnTo>
                      <a:pt x="427488" y="673099"/>
                    </a:lnTo>
                    <a:close/>
                  </a:path>
                  <a:path w="3439795" h="1447800">
                    <a:moveTo>
                      <a:pt x="429649" y="673099"/>
                    </a:moveTo>
                    <a:lnTo>
                      <a:pt x="427488" y="673099"/>
                    </a:lnTo>
                    <a:lnTo>
                      <a:pt x="414527" y="685799"/>
                    </a:lnTo>
                    <a:lnTo>
                      <a:pt x="429649" y="673099"/>
                    </a:lnTo>
                    <a:close/>
                  </a:path>
                  <a:path w="3439795" h="1447800">
                    <a:moveTo>
                      <a:pt x="431809" y="673099"/>
                    </a:moveTo>
                    <a:lnTo>
                      <a:pt x="429649" y="673099"/>
                    </a:lnTo>
                    <a:lnTo>
                      <a:pt x="414527" y="685799"/>
                    </a:lnTo>
                    <a:lnTo>
                      <a:pt x="418847" y="685799"/>
                    </a:lnTo>
                    <a:lnTo>
                      <a:pt x="431809" y="673099"/>
                    </a:lnTo>
                    <a:close/>
                  </a:path>
                  <a:path w="3439795" h="1447800">
                    <a:moveTo>
                      <a:pt x="498775" y="660399"/>
                    </a:moveTo>
                    <a:lnTo>
                      <a:pt x="481494" y="673099"/>
                    </a:lnTo>
                    <a:lnTo>
                      <a:pt x="485814" y="685799"/>
                    </a:lnTo>
                    <a:lnTo>
                      <a:pt x="500936" y="673099"/>
                    </a:lnTo>
                    <a:lnTo>
                      <a:pt x="498775" y="673099"/>
                    </a:lnTo>
                    <a:lnTo>
                      <a:pt x="498775" y="660399"/>
                    </a:lnTo>
                    <a:close/>
                  </a:path>
                  <a:path w="3439795" h="1447800">
                    <a:moveTo>
                      <a:pt x="500936" y="673099"/>
                    </a:moveTo>
                    <a:lnTo>
                      <a:pt x="485814" y="685799"/>
                    </a:lnTo>
                    <a:lnTo>
                      <a:pt x="499640" y="675639"/>
                    </a:lnTo>
                    <a:lnTo>
                      <a:pt x="500936" y="673099"/>
                    </a:lnTo>
                    <a:close/>
                  </a:path>
                  <a:path w="3439795" h="1447800">
                    <a:moveTo>
                      <a:pt x="499640" y="675639"/>
                    </a:moveTo>
                    <a:lnTo>
                      <a:pt x="485814" y="685799"/>
                    </a:lnTo>
                    <a:lnTo>
                      <a:pt x="490135" y="685799"/>
                    </a:lnTo>
                    <a:lnTo>
                      <a:pt x="498775" y="677333"/>
                    </a:lnTo>
                    <a:lnTo>
                      <a:pt x="499640" y="675639"/>
                    </a:lnTo>
                    <a:close/>
                  </a:path>
                  <a:path w="3439795" h="1447800">
                    <a:moveTo>
                      <a:pt x="498775" y="677333"/>
                    </a:moveTo>
                    <a:lnTo>
                      <a:pt x="490135" y="685799"/>
                    </a:lnTo>
                    <a:lnTo>
                      <a:pt x="494455" y="685799"/>
                    </a:lnTo>
                    <a:lnTo>
                      <a:pt x="498775" y="677333"/>
                    </a:lnTo>
                    <a:close/>
                  </a:path>
                  <a:path w="3439795" h="1447800">
                    <a:moveTo>
                      <a:pt x="505256" y="673099"/>
                    </a:moveTo>
                    <a:lnTo>
                      <a:pt x="503096" y="673099"/>
                    </a:lnTo>
                    <a:lnTo>
                      <a:pt x="498775" y="677333"/>
                    </a:lnTo>
                    <a:lnTo>
                      <a:pt x="494455" y="685799"/>
                    </a:lnTo>
                    <a:lnTo>
                      <a:pt x="505256" y="673099"/>
                    </a:lnTo>
                    <a:close/>
                  </a:path>
                  <a:path w="3439795" h="1447800">
                    <a:moveTo>
                      <a:pt x="511737" y="673099"/>
                    </a:moveTo>
                    <a:lnTo>
                      <a:pt x="505256" y="673099"/>
                    </a:lnTo>
                    <a:lnTo>
                      <a:pt x="511737" y="685799"/>
                    </a:lnTo>
                    <a:lnTo>
                      <a:pt x="511737" y="673099"/>
                    </a:lnTo>
                    <a:close/>
                  </a:path>
                  <a:path w="3439795" h="1447800">
                    <a:moveTo>
                      <a:pt x="604227" y="662214"/>
                    </a:moveTo>
                    <a:lnTo>
                      <a:pt x="596821" y="667657"/>
                    </a:lnTo>
                    <a:lnTo>
                      <a:pt x="595895" y="673099"/>
                    </a:lnTo>
                    <a:lnTo>
                      <a:pt x="613177" y="685799"/>
                    </a:lnTo>
                    <a:lnTo>
                      <a:pt x="613177" y="673099"/>
                    </a:lnTo>
                    <a:lnTo>
                      <a:pt x="602376" y="673099"/>
                    </a:lnTo>
                    <a:lnTo>
                      <a:pt x="604227" y="662214"/>
                    </a:lnTo>
                    <a:close/>
                  </a:path>
                  <a:path w="3439795" h="1447800">
                    <a:moveTo>
                      <a:pt x="606696" y="660399"/>
                    </a:moveTo>
                    <a:lnTo>
                      <a:pt x="606696" y="673099"/>
                    </a:lnTo>
                    <a:lnTo>
                      <a:pt x="613177" y="673099"/>
                    </a:lnTo>
                    <a:lnTo>
                      <a:pt x="613177" y="685799"/>
                    </a:lnTo>
                    <a:lnTo>
                      <a:pt x="615337" y="673099"/>
                    </a:lnTo>
                    <a:lnTo>
                      <a:pt x="606696" y="660399"/>
                    </a:lnTo>
                    <a:close/>
                  </a:path>
                  <a:path w="3439795" h="1447800">
                    <a:moveTo>
                      <a:pt x="783744" y="675639"/>
                    </a:moveTo>
                    <a:lnTo>
                      <a:pt x="783744" y="685799"/>
                    </a:lnTo>
                    <a:lnTo>
                      <a:pt x="792385" y="685799"/>
                    </a:lnTo>
                    <a:lnTo>
                      <a:pt x="783744" y="675639"/>
                    </a:lnTo>
                    <a:close/>
                  </a:path>
                  <a:path w="3439795" h="1447800">
                    <a:moveTo>
                      <a:pt x="783744" y="673099"/>
                    </a:moveTo>
                    <a:lnTo>
                      <a:pt x="783744" y="675639"/>
                    </a:lnTo>
                    <a:lnTo>
                      <a:pt x="792385" y="685799"/>
                    </a:lnTo>
                    <a:lnTo>
                      <a:pt x="783744" y="673099"/>
                    </a:lnTo>
                    <a:close/>
                  </a:path>
                  <a:path w="3439795" h="1447800">
                    <a:moveTo>
                      <a:pt x="788064" y="673099"/>
                    </a:moveTo>
                    <a:lnTo>
                      <a:pt x="783744" y="673099"/>
                    </a:lnTo>
                    <a:lnTo>
                      <a:pt x="792385" y="685799"/>
                    </a:lnTo>
                    <a:lnTo>
                      <a:pt x="794545" y="685799"/>
                    </a:lnTo>
                    <a:lnTo>
                      <a:pt x="791305" y="676274"/>
                    </a:lnTo>
                    <a:lnTo>
                      <a:pt x="788064" y="673099"/>
                    </a:lnTo>
                    <a:close/>
                  </a:path>
                  <a:path w="3439795" h="1447800">
                    <a:moveTo>
                      <a:pt x="791305" y="676274"/>
                    </a:moveTo>
                    <a:lnTo>
                      <a:pt x="794545" y="685799"/>
                    </a:lnTo>
                    <a:lnTo>
                      <a:pt x="801026" y="685799"/>
                    </a:lnTo>
                    <a:lnTo>
                      <a:pt x="791305" y="676274"/>
                    </a:lnTo>
                    <a:close/>
                  </a:path>
                  <a:path w="3439795" h="1447800">
                    <a:moveTo>
                      <a:pt x="799483" y="662214"/>
                    </a:moveTo>
                    <a:lnTo>
                      <a:pt x="790225" y="673099"/>
                    </a:lnTo>
                    <a:lnTo>
                      <a:pt x="791305" y="676274"/>
                    </a:lnTo>
                    <a:lnTo>
                      <a:pt x="801026" y="685799"/>
                    </a:lnTo>
                    <a:lnTo>
                      <a:pt x="801026" y="673099"/>
                    </a:lnTo>
                    <a:lnTo>
                      <a:pt x="803186" y="673099"/>
                    </a:lnTo>
                    <a:lnTo>
                      <a:pt x="799483" y="662214"/>
                    </a:lnTo>
                    <a:close/>
                  </a:path>
                  <a:path w="3439795" h="1447800">
                    <a:moveTo>
                      <a:pt x="803186" y="673099"/>
                    </a:moveTo>
                    <a:lnTo>
                      <a:pt x="801026" y="673099"/>
                    </a:lnTo>
                    <a:lnTo>
                      <a:pt x="801026" y="685799"/>
                    </a:lnTo>
                    <a:lnTo>
                      <a:pt x="807506" y="685799"/>
                    </a:lnTo>
                    <a:lnTo>
                      <a:pt x="803186" y="673099"/>
                    </a:lnTo>
                    <a:close/>
                  </a:path>
                  <a:path w="3439795" h="1447800">
                    <a:moveTo>
                      <a:pt x="801026" y="660399"/>
                    </a:moveTo>
                    <a:lnTo>
                      <a:pt x="799483" y="662214"/>
                    </a:lnTo>
                    <a:lnTo>
                      <a:pt x="807506" y="685799"/>
                    </a:lnTo>
                    <a:lnTo>
                      <a:pt x="801026" y="660399"/>
                    </a:lnTo>
                    <a:close/>
                  </a:path>
                  <a:path w="3439795" h="1447800">
                    <a:moveTo>
                      <a:pt x="809667" y="660399"/>
                    </a:moveTo>
                    <a:lnTo>
                      <a:pt x="801026" y="660399"/>
                    </a:lnTo>
                    <a:lnTo>
                      <a:pt x="807506" y="685799"/>
                    </a:lnTo>
                    <a:lnTo>
                      <a:pt x="813987" y="673099"/>
                    </a:lnTo>
                    <a:lnTo>
                      <a:pt x="809667" y="673099"/>
                    </a:lnTo>
                    <a:lnTo>
                      <a:pt x="809667" y="660399"/>
                    </a:lnTo>
                    <a:close/>
                  </a:path>
                  <a:path w="3439795" h="1447800">
                    <a:moveTo>
                      <a:pt x="871593" y="660399"/>
                    </a:moveTo>
                    <a:lnTo>
                      <a:pt x="857191" y="660399"/>
                    </a:lnTo>
                    <a:lnTo>
                      <a:pt x="855031" y="673099"/>
                    </a:lnTo>
                    <a:lnTo>
                      <a:pt x="870153" y="685799"/>
                    </a:lnTo>
                    <a:lnTo>
                      <a:pt x="870873" y="683683"/>
                    </a:lnTo>
                    <a:lnTo>
                      <a:pt x="863672" y="673099"/>
                    </a:lnTo>
                    <a:lnTo>
                      <a:pt x="874473" y="664028"/>
                    </a:lnTo>
                    <a:lnTo>
                      <a:pt x="871593" y="660399"/>
                    </a:lnTo>
                    <a:close/>
                  </a:path>
                  <a:path w="3439795" h="1447800">
                    <a:moveTo>
                      <a:pt x="876633" y="666749"/>
                    </a:moveTo>
                    <a:lnTo>
                      <a:pt x="870873" y="683683"/>
                    </a:lnTo>
                    <a:lnTo>
                      <a:pt x="872313" y="685799"/>
                    </a:lnTo>
                    <a:lnTo>
                      <a:pt x="883249" y="675084"/>
                    </a:lnTo>
                    <a:lnTo>
                      <a:pt x="876633" y="666749"/>
                    </a:lnTo>
                    <a:close/>
                  </a:path>
                  <a:path w="3439795" h="1447800">
                    <a:moveTo>
                      <a:pt x="885274" y="673099"/>
                    </a:moveTo>
                    <a:lnTo>
                      <a:pt x="883249" y="675084"/>
                    </a:lnTo>
                    <a:lnTo>
                      <a:pt x="891755" y="685799"/>
                    </a:lnTo>
                    <a:lnTo>
                      <a:pt x="885274" y="673099"/>
                    </a:lnTo>
                    <a:close/>
                  </a:path>
                  <a:path w="3439795" h="1447800">
                    <a:moveTo>
                      <a:pt x="1016957" y="660399"/>
                    </a:moveTo>
                    <a:lnTo>
                      <a:pt x="1014797" y="673099"/>
                    </a:lnTo>
                    <a:lnTo>
                      <a:pt x="1014797" y="685799"/>
                    </a:lnTo>
                    <a:lnTo>
                      <a:pt x="1029919" y="685799"/>
                    </a:lnTo>
                    <a:lnTo>
                      <a:pt x="1016957" y="673099"/>
                    </a:lnTo>
                    <a:lnTo>
                      <a:pt x="1032079" y="673099"/>
                    </a:lnTo>
                    <a:lnTo>
                      <a:pt x="1016957" y="660399"/>
                    </a:lnTo>
                    <a:close/>
                  </a:path>
                  <a:path w="3439795" h="1447800">
                    <a:moveTo>
                      <a:pt x="1019118" y="673099"/>
                    </a:moveTo>
                    <a:lnTo>
                      <a:pt x="1016957" y="673099"/>
                    </a:lnTo>
                    <a:lnTo>
                      <a:pt x="1029919" y="685799"/>
                    </a:lnTo>
                    <a:lnTo>
                      <a:pt x="1034239" y="685799"/>
                    </a:lnTo>
                    <a:lnTo>
                      <a:pt x="1019118" y="673099"/>
                    </a:lnTo>
                    <a:close/>
                  </a:path>
                  <a:path w="3439795" h="1447800">
                    <a:moveTo>
                      <a:pt x="1032511" y="671829"/>
                    </a:moveTo>
                    <a:lnTo>
                      <a:pt x="1032079" y="673099"/>
                    </a:lnTo>
                    <a:lnTo>
                      <a:pt x="1019118" y="673099"/>
                    </a:lnTo>
                    <a:lnTo>
                      <a:pt x="1034239" y="685799"/>
                    </a:lnTo>
                    <a:lnTo>
                      <a:pt x="1034239" y="673099"/>
                    </a:lnTo>
                    <a:lnTo>
                      <a:pt x="1032511" y="671829"/>
                    </a:lnTo>
                    <a:close/>
                  </a:path>
                  <a:path w="3439795" h="1447800">
                    <a:moveTo>
                      <a:pt x="1545940" y="660399"/>
                    </a:moveTo>
                    <a:lnTo>
                      <a:pt x="1535139" y="673099"/>
                    </a:lnTo>
                    <a:lnTo>
                      <a:pt x="1543780" y="685799"/>
                    </a:lnTo>
                    <a:lnTo>
                      <a:pt x="1545940" y="685799"/>
                    </a:lnTo>
                    <a:lnTo>
                      <a:pt x="1556741" y="673099"/>
                    </a:lnTo>
                    <a:lnTo>
                      <a:pt x="1545940" y="660399"/>
                    </a:lnTo>
                    <a:close/>
                  </a:path>
                  <a:path w="3439795" h="1447800">
                    <a:moveTo>
                      <a:pt x="1634509" y="660399"/>
                    </a:moveTo>
                    <a:lnTo>
                      <a:pt x="1628029" y="660399"/>
                    </a:lnTo>
                    <a:lnTo>
                      <a:pt x="1619388" y="673099"/>
                    </a:lnTo>
                    <a:lnTo>
                      <a:pt x="1621548" y="685799"/>
                    </a:lnTo>
                    <a:lnTo>
                      <a:pt x="1632349" y="685799"/>
                    </a:lnTo>
                    <a:lnTo>
                      <a:pt x="1632349" y="673099"/>
                    </a:lnTo>
                    <a:lnTo>
                      <a:pt x="1634509" y="669924"/>
                    </a:lnTo>
                    <a:lnTo>
                      <a:pt x="1634509" y="660399"/>
                    </a:lnTo>
                    <a:close/>
                  </a:path>
                  <a:path w="3439795" h="1447800">
                    <a:moveTo>
                      <a:pt x="1634509" y="669924"/>
                    </a:moveTo>
                    <a:lnTo>
                      <a:pt x="1632349" y="673099"/>
                    </a:lnTo>
                    <a:lnTo>
                      <a:pt x="1632349" y="685799"/>
                    </a:lnTo>
                    <a:lnTo>
                      <a:pt x="1634509" y="682624"/>
                    </a:lnTo>
                    <a:lnTo>
                      <a:pt x="1634509" y="669924"/>
                    </a:lnTo>
                    <a:close/>
                  </a:path>
                  <a:path w="3439795" h="1447800">
                    <a:moveTo>
                      <a:pt x="1634818" y="682171"/>
                    </a:moveTo>
                    <a:lnTo>
                      <a:pt x="1634509" y="682624"/>
                    </a:lnTo>
                    <a:lnTo>
                      <a:pt x="1634509" y="685799"/>
                    </a:lnTo>
                    <a:lnTo>
                      <a:pt x="1634818" y="682171"/>
                    </a:lnTo>
                    <a:close/>
                  </a:path>
                  <a:path w="3439795" h="1447800">
                    <a:moveTo>
                      <a:pt x="1640990" y="673099"/>
                    </a:moveTo>
                    <a:lnTo>
                      <a:pt x="1634818" y="682171"/>
                    </a:lnTo>
                    <a:lnTo>
                      <a:pt x="1634509" y="685799"/>
                    </a:lnTo>
                    <a:lnTo>
                      <a:pt x="1640990" y="685799"/>
                    </a:lnTo>
                    <a:lnTo>
                      <a:pt x="1640990" y="673099"/>
                    </a:lnTo>
                    <a:close/>
                  </a:path>
                  <a:path w="3439795" h="1447800">
                    <a:moveTo>
                      <a:pt x="1640990" y="660399"/>
                    </a:moveTo>
                    <a:lnTo>
                      <a:pt x="1640990" y="685799"/>
                    </a:lnTo>
                    <a:lnTo>
                      <a:pt x="1651791" y="685799"/>
                    </a:lnTo>
                    <a:lnTo>
                      <a:pt x="1651791" y="673099"/>
                    </a:lnTo>
                    <a:lnTo>
                      <a:pt x="1640990" y="660399"/>
                    </a:lnTo>
                    <a:close/>
                  </a:path>
                  <a:path w="3439795" h="1447800">
                    <a:moveTo>
                      <a:pt x="1656111" y="673099"/>
                    </a:moveTo>
                    <a:lnTo>
                      <a:pt x="1651791" y="673099"/>
                    </a:lnTo>
                    <a:lnTo>
                      <a:pt x="1651791" y="685799"/>
                    </a:lnTo>
                    <a:lnTo>
                      <a:pt x="1656111" y="685799"/>
                    </a:lnTo>
                    <a:lnTo>
                      <a:pt x="1656111" y="673099"/>
                    </a:lnTo>
                    <a:close/>
                  </a:path>
                  <a:path w="3439795" h="1447800">
                    <a:moveTo>
                      <a:pt x="1675553" y="676728"/>
                    </a:moveTo>
                    <a:lnTo>
                      <a:pt x="1675553" y="677333"/>
                    </a:lnTo>
                    <a:lnTo>
                      <a:pt x="1684194" y="685799"/>
                    </a:lnTo>
                    <a:lnTo>
                      <a:pt x="1684842" y="684529"/>
                    </a:lnTo>
                    <a:lnTo>
                      <a:pt x="1675553" y="676728"/>
                    </a:lnTo>
                    <a:close/>
                  </a:path>
                  <a:path w="3439795" h="1447800">
                    <a:moveTo>
                      <a:pt x="1684842" y="684529"/>
                    </a:moveTo>
                    <a:lnTo>
                      <a:pt x="1684194" y="685799"/>
                    </a:lnTo>
                    <a:lnTo>
                      <a:pt x="1686354" y="685799"/>
                    </a:lnTo>
                    <a:lnTo>
                      <a:pt x="1684842" y="684529"/>
                    </a:lnTo>
                    <a:close/>
                  </a:path>
                  <a:path w="3439795" h="1447800">
                    <a:moveTo>
                      <a:pt x="1689055" y="676274"/>
                    </a:moveTo>
                    <a:lnTo>
                      <a:pt x="1685120" y="683985"/>
                    </a:lnTo>
                    <a:lnTo>
                      <a:pt x="1686354" y="685799"/>
                    </a:lnTo>
                    <a:lnTo>
                      <a:pt x="1690675" y="685799"/>
                    </a:lnTo>
                    <a:lnTo>
                      <a:pt x="1689055" y="676274"/>
                    </a:lnTo>
                    <a:close/>
                  </a:path>
                  <a:path w="3439795" h="1447800">
                    <a:moveTo>
                      <a:pt x="1699226" y="673099"/>
                    </a:moveTo>
                    <a:lnTo>
                      <a:pt x="1690675" y="673099"/>
                    </a:lnTo>
                    <a:lnTo>
                      <a:pt x="1689055" y="676274"/>
                    </a:lnTo>
                    <a:lnTo>
                      <a:pt x="1690675" y="685799"/>
                    </a:lnTo>
                    <a:lnTo>
                      <a:pt x="1699226" y="673099"/>
                    </a:lnTo>
                    <a:close/>
                  </a:path>
                  <a:path w="3439795" h="1447800">
                    <a:moveTo>
                      <a:pt x="1677714" y="673099"/>
                    </a:moveTo>
                    <a:lnTo>
                      <a:pt x="1675553" y="673099"/>
                    </a:lnTo>
                    <a:lnTo>
                      <a:pt x="1675553" y="676728"/>
                    </a:lnTo>
                    <a:lnTo>
                      <a:pt x="1684842" y="684529"/>
                    </a:lnTo>
                    <a:lnTo>
                      <a:pt x="1685120" y="683985"/>
                    </a:lnTo>
                    <a:lnTo>
                      <a:pt x="1677714" y="673099"/>
                    </a:lnTo>
                    <a:close/>
                  </a:path>
                  <a:path w="3439795" h="1447800">
                    <a:moveTo>
                      <a:pt x="1686354" y="660399"/>
                    </a:moveTo>
                    <a:lnTo>
                      <a:pt x="1682034" y="660399"/>
                    </a:lnTo>
                    <a:lnTo>
                      <a:pt x="1677714" y="673099"/>
                    </a:lnTo>
                    <a:lnTo>
                      <a:pt x="1685120" y="683985"/>
                    </a:lnTo>
                    <a:lnTo>
                      <a:pt x="1689055" y="676274"/>
                    </a:lnTo>
                    <a:lnTo>
                      <a:pt x="1686354" y="660399"/>
                    </a:lnTo>
                    <a:close/>
                  </a:path>
                  <a:path w="3439795" h="1447800">
                    <a:moveTo>
                      <a:pt x="874473" y="664028"/>
                    </a:moveTo>
                    <a:lnTo>
                      <a:pt x="863672" y="673099"/>
                    </a:lnTo>
                    <a:lnTo>
                      <a:pt x="870873" y="683683"/>
                    </a:lnTo>
                    <a:lnTo>
                      <a:pt x="876633" y="666749"/>
                    </a:lnTo>
                    <a:lnTo>
                      <a:pt x="874473" y="664028"/>
                    </a:lnTo>
                    <a:close/>
                  </a:path>
                  <a:path w="3439795" h="1447800">
                    <a:moveTo>
                      <a:pt x="1636052" y="667657"/>
                    </a:moveTo>
                    <a:lnTo>
                      <a:pt x="1634509" y="669924"/>
                    </a:lnTo>
                    <a:lnTo>
                      <a:pt x="1634509" y="682624"/>
                    </a:lnTo>
                    <a:lnTo>
                      <a:pt x="1634818" y="682171"/>
                    </a:lnTo>
                    <a:lnTo>
                      <a:pt x="1636052" y="667657"/>
                    </a:lnTo>
                    <a:close/>
                  </a:path>
                  <a:path w="3439795" h="1447800">
                    <a:moveTo>
                      <a:pt x="1640990" y="660399"/>
                    </a:moveTo>
                    <a:lnTo>
                      <a:pt x="1636052" y="667657"/>
                    </a:lnTo>
                    <a:lnTo>
                      <a:pt x="1634818" y="682171"/>
                    </a:lnTo>
                    <a:lnTo>
                      <a:pt x="1640990" y="673099"/>
                    </a:lnTo>
                    <a:lnTo>
                      <a:pt x="1640990" y="660399"/>
                    </a:lnTo>
                    <a:close/>
                  </a:path>
                  <a:path w="3439795" h="1447800">
                    <a:moveTo>
                      <a:pt x="503096" y="673099"/>
                    </a:moveTo>
                    <a:lnTo>
                      <a:pt x="499640" y="675639"/>
                    </a:lnTo>
                    <a:lnTo>
                      <a:pt x="498775" y="677333"/>
                    </a:lnTo>
                    <a:lnTo>
                      <a:pt x="503096" y="673099"/>
                    </a:lnTo>
                    <a:close/>
                  </a:path>
                  <a:path w="3439795" h="1447800">
                    <a:moveTo>
                      <a:pt x="1671233" y="673099"/>
                    </a:moveTo>
                    <a:lnTo>
                      <a:pt x="1675553" y="677333"/>
                    </a:lnTo>
                    <a:lnTo>
                      <a:pt x="1675553" y="676728"/>
                    </a:lnTo>
                    <a:lnTo>
                      <a:pt x="1671233" y="673099"/>
                    </a:lnTo>
                    <a:close/>
                  </a:path>
                  <a:path w="3439795" h="1447800">
                    <a:moveTo>
                      <a:pt x="1675553" y="673099"/>
                    </a:moveTo>
                    <a:lnTo>
                      <a:pt x="1671233" y="673099"/>
                    </a:lnTo>
                    <a:lnTo>
                      <a:pt x="1675553" y="676728"/>
                    </a:lnTo>
                    <a:lnTo>
                      <a:pt x="1675553" y="673099"/>
                    </a:lnTo>
                    <a:close/>
                  </a:path>
                  <a:path w="3439795" h="1447800">
                    <a:moveTo>
                      <a:pt x="790225" y="673099"/>
                    </a:moveTo>
                    <a:lnTo>
                      <a:pt x="788064" y="673099"/>
                    </a:lnTo>
                    <a:lnTo>
                      <a:pt x="791305" y="676274"/>
                    </a:lnTo>
                    <a:lnTo>
                      <a:pt x="790225" y="673099"/>
                    </a:lnTo>
                    <a:close/>
                  </a:path>
                  <a:path w="3439795" h="1447800">
                    <a:moveTo>
                      <a:pt x="1690675" y="660399"/>
                    </a:moveTo>
                    <a:lnTo>
                      <a:pt x="1686354" y="660399"/>
                    </a:lnTo>
                    <a:lnTo>
                      <a:pt x="1689055" y="676274"/>
                    </a:lnTo>
                    <a:lnTo>
                      <a:pt x="1690675" y="673099"/>
                    </a:lnTo>
                    <a:lnTo>
                      <a:pt x="1699226" y="673099"/>
                    </a:lnTo>
                    <a:lnTo>
                      <a:pt x="1690675" y="660399"/>
                    </a:lnTo>
                    <a:close/>
                  </a:path>
                  <a:path w="3439795" h="1447800">
                    <a:moveTo>
                      <a:pt x="498775" y="660399"/>
                    </a:moveTo>
                    <a:lnTo>
                      <a:pt x="498775" y="673099"/>
                    </a:lnTo>
                    <a:lnTo>
                      <a:pt x="500936" y="673099"/>
                    </a:lnTo>
                    <a:lnTo>
                      <a:pt x="499640" y="675639"/>
                    </a:lnTo>
                    <a:lnTo>
                      <a:pt x="503096" y="673099"/>
                    </a:lnTo>
                    <a:lnTo>
                      <a:pt x="498775" y="660399"/>
                    </a:lnTo>
                    <a:close/>
                  </a:path>
                  <a:path w="3439795" h="1447800">
                    <a:moveTo>
                      <a:pt x="783744" y="673099"/>
                    </a:moveTo>
                    <a:lnTo>
                      <a:pt x="782566" y="674254"/>
                    </a:lnTo>
                    <a:lnTo>
                      <a:pt x="783744" y="675639"/>
                    </a:lnTo>
                    <a:lnTo>
                      <a:pt x="783744" y="673099"/>
                    </a:lnTo>
                    <a:close/>
                  </a:path>
                  <a:path w="3439795" h="1447800">
                    <a:moveTo>
                      <a:pt x="878794" y="660399"/>
                    </a:moveTo>
                    <a:lnTo>
                      <a:pt x="876633" y="666749"/>
                    </a:lnTo>
                    <a:lnTo>
                      <a:pt x="883249" y="675084"/>
                    </a:lnTo>
                    <a:lnTo>
                      <a:pt x="885274" y="673099"/>
                    </a:lnTo>
                    <a:lnTo>
                      <a:pt x="878794" y="660399"/>
                    </a:lnTo>
                    <a:close/>
                  </a:path>
                  <a:path w="3439795" h="1447800">
                    <a:moveTo>
                      <a:pt x="783744" y="673099"/>
                    </a:moveTo>
                    <a:lnTo>
                      <a:pt x="781584" y="673099"/>
                    </a:lnTo>
                    <a:lnTo>
                      <a:pt x="782566" y="674254"/>
                    </a:lnTo>
                    <a:lnTo>
                      <a:pt x="783744" y="673099"/>
                    </a:lnTo>
                    <a:close/>
                  </a:path>
                  <a:path w="3439795" h="1447800">
                    <a:moveTo>
                      <a:pt x="1524338" y="673099"/>
                    </a:moveTo>
                    <a:lnTo>
                      <a:pt x="1522178" y="673099"/>
                    </a:lnTo>
                    <a:lnTo>
                      <a:pt x="1522402" y="673978"/>
                    </a:lnTo>
                    <a:lnTo>
                      <a:pt x="1524338" y="673099"/>
                    </a:lnTo>
                    <a:close/>
                  </a:path>
                  <a:path w="3439795" h="1447800">
                    <a:moveTo>
                      <a:pt x="416687" y="660399"/>
                    </a:moveTo>
                    <a:lnTo>
                      <a:pt x="401566" y="660399"/>
                    </a:lnTo>
                    <a:lnTo>
                      <a:pt x="401566" y="673099"/>
                    </a:lnTo>
                    <a:lnTo>
                      <a:pt x="416687" y="660399"/>
                    </a:lnTo>
                    <a:close/>
                  </a:path>
                  <a:path w="3439795" h="1447800">
                    <a:moveTo>
                      <a:pt x="403726" y="622299"/>
                    </a:moveTo>
                    <a:lnTo>
                      <a:pt x="401566" y="622299"/>
                    </a:lnTo>
                    <a:lnTo>
                      <a:pt x="399406" y="634999"/>
                    </a:lnTo>
                    <a:lnTo>
                      <a:pt x="399406" y="660399"/>
                    </a:lnTo>
                    <a:lnTo>
                      <a:pt x="416687" y="660399"/>
                    </a:lnTo>
                    <a:lnTo>
                      <a:pt x="401566" y="673099"/>
                    </a:lnTo>
                    <a:lnTo>
                      <a:pt x="418847" y="660399"/>
                    </a:lnTo>
                    <a:lnTo>
                      <a:pt x="418847" y="634999"/>
                    </a:lnTo>
                    <a:lnTo>
                      <a:pt x="403726" y="622299"/>
                    </a:lnTo>
                    <a:close/>
                  </a:path>
                  <a:path w="3439795" h="1447800">
                    <a:moveTo>
                      <a:pt x="421008" y="660399"/>
                    </a:moveTo>
                    <a:lnTo>
                      <a:pt x="418847" y="660399"/>
                    </a:lnTo>
                    <a:lnTo>
                      <a:pt x="401566" y="673099"/>
                    </a:lnTo>
                    <a:lnTo>
                      <a:pt x="408046" y="673099"/>
                    </a:lnTo>
                    <a:lnTo>
                      <a:pt x="421008" y="660399"/>
                    </a:lnTo>
                    <a:close/>
                  </a:path>
                  <a:path w="3439795" h="1447800">
                    <a:moveTo>
                      <a:pt x="421008" y="660399"/>
                    </a:moveTo>
                    <a:lnTo>
                      <a:pt x="408046" y="673099"/>
                    </a:lnTo>
                    <a:lnTo>
                      <a:pt x="425328" y="673099"/>
                    </a:lnTo>
                    <a:lnTo>
                      <a:pt x="421008" y="660399"/>
                    </a:lnTo>
                    <a:close/>
                  </a:path>
                  <a:path w="3439795" h="1447800">
                    <a:moveTo>
                      <a:pt x="490135" y="622299"/>
                    </a:moveTo>
                    <a:lnTo>
                      <a:pt x="487974" y="622299"/>
                    </a:lnTo>
                    <a:lnTo>
                      <a:pt x="477173" y="634999"/>
                    </a:lnTo>
                    <a:lnTo>
                      <a:pt x="477173" y="647699"/>
                    </a:lnTo>
                    <a:lnTo>
                      <a:pt x="481494" y="660399"/>
                    </a:lnTo>
                    <a:lnTo>
                      <a:pt x="481494" y="673099"/>
                    </a:lnTo>
                    <a:lnTo>
                      <a:pt x="498775" y="660399"/>
                    </a:lnTo>
                    <a:lnTo>
                      <a:pt x="494455" y="647699"/>
                    </a:lnTo>
                    <a:lnTo>
                      <a:pt x="494455" y="634999"/>
                    </a:lnTo>
                    <a:lnTo>
                      <a:pt x="490135" y="622299"/>
                    </a:lnTo>
                    <a:close/>
                  </a:path>
                  <a:path w="3439795" h="1447800">
                    <a:moveTo>
                      <a:pt x="598055" y="660399"/>
                    </a:moveTo>
                    <a:lnTo>
                      <a:pt x="589415" y="660399"/>
                    </a:lnTo>
                    <a:lnTo>
                      <a:pt x="589415" y="673099"/>
                    </a:lnTo>
                    <a:lnTo>
                      <a:pt x="597515" y="663574"/>
                    </a:lnTo>
                    <a:lnTo>
                      <a:pt x="598055" y="660399"/>
                    </a:lnTo>
                    <a:close/>
                  </a:path>
                  <a:path w="3439795" h="1447800">
                    <a:moveTo>
                      <a:pt x="597515" y="663574"/>
                    </a:moveTo>
                    <a:lnTo>
                      <a:pt x="589415" y="673099"/>
                    </a:lnTo>
                    <a:lnTo>
                      <a:pt x="596821" y="667657"/>
                    </a:lnTo>
                    <a:lnTo>
                      <a:pt x="597515" y="663574"/>
                    </a:lnTo>
                    <a:close/>
                  </a:path>
                  <a:path w="3439795" h="1447800">
                    <a:moveTo>
                      <a:pt x="596821" y="667657"/>
                    </a:moveTo>
                    <a:lnTo>
                      <a:pt x="589415" y="673099"/>
                    </a:lnTo>
                    <a:lnTo>
                      <a:pt x="595895" y="673099"/>
                    </a:lnTo>
                    <a:lnTo>
                      <a:pt x="596821" y="667657"/>
                    </a:lnTo>
                    <a:close/>
                  </a:path>
                  <a:path w="3439795" h="1447800">
                    <a:moveTo>
                      <a:pt x="606696" y="660399"/>
                    </a:moveTo>
                    <a:lnTo>
                      <a:pt x="604227" y="662214"/>
                    </a:lnTo>
                    <a:lnTo>
                      <a:pt x="602376" y="673099"/>
                    </a:lnTo>
                    <a:lnTo>
                      <a:pt x="606696" y="660399"/>
                    </a:lnTo>
                    <a:close/>
                  </a:path>
                  <a:path w="3439795" h="1447800">
                    <a:moveTo>
                      <a:pt x="606696" y="660399"/>
                    </a:moveTo>
                    <a:lnTo>
                      <a:pt x="602376" y="673099"/>
                    </a:lnTo>
                    <a:lnTo>
                      <a:pt x="606696" y="673099"/>
                    </a:lnTo>
                    <a:lnTo>
                      <a:pt x="606696" y="660399"/>
                    </a:lnTo>
                    <a:close/>
                  </a:path>
                  <a:path w="3439795" h="1447800">
                    <a:moveTo>
                      <a:pt x="617497" y="660399"/>
                    </a:moveTo>
                    <a:lnTo>
                      <a:pt x="606696" y="660399"/>
                    </a:lnTo>
                    <a:lnTo>
                      <a:pt x="615337" y="673099"/>
                    </a:lnTo>
                    <a:lnTo>
                      <a:pt x="617497" y="660399"/>
                    </a:lnTo>
                    <a:close/>
                  </a:path>
                  <a:path w="3439795" h="1447800">
                    <a:moveTo>
                      <a:pt x="652061" y="660399"/>
                    </a:moveTo>
                    <a:lnTo>
                      <a:pt x="654221" y="673099"/>
                    </a:lnTo>
                    <a:lnTo>
                      <a:pt x="656381" y="673099"/>
                    </a:lnTo>
                    <a:lnTo>
                      <a:pt x="652061" y="660399"/>
                    </a:lnTo>
                    <a:close/>
                  </a:path>
                  <a:path w="3439795" h="1447800">
                    <a:moveTo>
                      <a:pt x="665022" y="647699"/>
                    </a:moveTo>
                    <a:lnTo>
                      <a:pt x="652061" y="660399"/>
                    </a:lnTo>
                    <a:lnTo>
                      <a:pt x="656381" y="673099"/>
                    </a:lnTo>
                    <a:lnTo>
                      <a:pt x="665022" y="660399"/>
                    </a:lnTo>
                    <a:lnTo>
                      <a:pt x="667182" y="660399"/>
                    </a:lnTo>
                    <a:lnTo>
                      <a:pt x="665022" y="647699"/>
                    </a:lnTo>
                    <a:close/>
                  </a:path>
                  <a:path w="3439795" h="1447800">
                    <a:moveTo>
                      <a:pt x="669343" y="660399"/>
                    </a:moveTo>
                    <a:lnTo>
                      <a:pt x="665022" y="660399"/>
                    </a:lnTo>
                    <a:lnTo>
                      <a:pt x="656381" y="673099"/>
                    </a:lnTo>
                    <a:lnTo>
                      <a:pt x="669343" y="660399"/>
                    </a:lnTo>
                    <a:close/>
                  </a:path>
                  <a:path w="3439795" h="1447800">
                    <a:moveTo>
                      <a:pt x="673663" y="660399"/>
                    </a:moveTo>
                    <a:lnTo>
                      <a:pt x="669343" y="660399"/>
                    </a:lnTo>
                    <a:lnTo>
                      <a:pt x="656381" y="673099"/>
                    </a:lnTo>
                    <a:lnTo>
                      <a:pt x="660702" y="673099"/>
                    </a:lnTo>
                    <a:lnTo>
                      <a:pt x="673663" y="660399"/>
                    </a:lnTo>
                    <a:close/>
                  </a:path>
                  <a:path w="3439795" h="1447800">
                    <a:moveTo>
                      <a:pt x="673663" y="660399"/>
                    </a:moveTo>
                    <a:lnTo>
                      <a:pt x="660702" y="673099"/>
                    </a:lnTo>
                    <a:lnTo>
                      <a:pt x="662862" y="673099"/>
                    </a:lnTo>
                    <a:lnTo>
                      <a:pt x="673663" y="660399"/>
                    </a:lnTo>
                    <a:close/>
                  </a:path>
                  <a:path w="3439795" h="1447800">
                    <a:moveTo>
                      <a:pt x="680144" y="660399"/>
                    </a:moveTo>
                    <a:lnTo>
                      <a:pt x="677983" y="660399"/>
                    </a:lnTo>
                    <a:lnTo>
                      <a:pt x="680144" y="673099"/>
                    </a:lnTo>
                    <a:lnTo>
                      <a:pt x="680144" y="660399"/>
                    </a:lnTo>
                    <a:close/>
                  </a:path>
                  <a:path w="3439795" h="1447800">
                    <a:moveTo>
                      <a:pt x="809667" y="660399"/>
                    </a:moveTo>
                    <a:lnTo>
                      <a:pt x="809667" y="673099"/>
                    </a:lnTo>
                    <a:lnTo>
                      <a:pt x="813987" y="673099"/>
                    </a:lnTo>
                    <a:lnTo>
                      <a:pt x="809667" y="660399"/>
                    </a:lnTo>
                    <a:close/>
                  </a:path>
                  <a:path w="3439795" h="1447800">
                    <a:moveTo>
                      <a:pt x="831269" y="660399"/>
                    </a:moveTo>
                    <a:lnTo>
                      <a:pt x="809667" y="660399"/>
                    </a:lnTo>
                    <a:lnTo>
                      <a:pt x="813987" y="673099"/>
                    </a:lnTo>
                    <a:lnTo>
                      <a:pt x="831269" y="673099"/>
                    </a:lnTo>
                    <a:lnTo>
                      <a:pt x="831269" y="660399"/>
                    </a:lnTo>
                    <a:close/>
                  </a:path>
                  <a:path w="3439795" h="1447800">
                    <a:moveTo>
                      <a:pt x="850711" y="660399"/>
                    </a:moveTo>
                    <a:lnTo>
                      <a:pt x="831269" y="660399"/>
                    </a:lnTo>
                    <a:lnTo>
                      <a:pt x="831269" y="673099"/>
                    </a:lnTo>
                    <a:lnTo>
                      <a:pt x="850711" y="673099"/>
                    </a:lnTo>
                    <a:lnTo>
                      <a:pt x="850711" y="660399"/>
                    </a:lnTo>
                    <a:close/>
                  </a:path>
                  <a:path w="3439795" h="1447800">
                    <a:moveTo>
                      <a:pt x="857191" y="660399"/>
                    </a:moveTo>
                    <a:lnTo>
                      <a:pt x="850711" y="660399"/>
                    </a:lnTo>
                    <a:lnTo>
                      <a:pt x="850711" y="673099"/>
                    </a:lnTo>
                    <a:lnTo>
                      <a:pt x="855031" y="673099"/>
                    </a:lnTo>
                    <a:lnTo>
                      <a:pt x="857191" y="660399"/>
                    </a:lnTo>
                    <a:close/>
                  </a:path>
                  <a:path w="3439795" h="1447800">
                    <a:moveTo>
                      <a:pt x="1016957" y="660399"/>
                    </a:moveTo>
                    <a:lnTo>
                      <a:pt x="1032079" y="673099"/>
                    </a:lnTo>
                    <a:lnTo>
                      <a:pt x="1032511" y="671829"/>
                    </a:lnTo>
                    <a:lnTo>
                      <a:pt x="1016957" y="660399"/>
                    </a:lnTo>
                    <a:close/>
                  </a:path>
                  <a:path w="3439795" h="1447800">
                    <a:moveTo>
                      <a:pt x="1545940" y="660399"/>
                    </a:moveTo>
                    <a:lnTo>
                      <a:pt x="1556741" y="673099"/>
                    </a:lnTo>
                    <a:lnTo>
                      <a:pt x="1558902" y="673099"/>
                    </a:lnTo>
                    <a:lnTo>
                      <a:pt x="1545940" y="660399"/>
                    </a:lnTo>
                    <a:close/>
                  </a:path>
                  <a:path w="3439795" h="1447800">
                    <a:moveTo>
                      <a:pt x="1545940" y="660399"/>
                    </a:moveTo>
                    <a:lnTo>
                      <a:pt x="1558902" y="673099"/>
                    </a:lnTo>
                    <a:lnTo>
                      <a:pt x="1561062" y="673099"/>
                    </a:lnTo>
                    <a:lnTo>
                      <a:pt x="1560753" y="671285"/>
                    </a:lnTo>
                    <a:lnTo>
                      <a:pt x="1545940" y="660399"/>
                    </a:lnTo>
                    <a:close/>
                  </a:path>
                  <a:path w="3439795" h="1447800">
                    <a:moveTo>
                      <a:pt x="1560753" y="671285"/>
                    </a:moveTo>
                    <a:lnTo>
                      <a:pt x="1561062" y="673099"/>
                    </a:lnTo>
                    <a:lnTo>
                      <a:pt x="1561302" y="671688"/>
                    </a:lnTo>
                    <a:lnTo>
                      <a:pt x="1560753" y="671285"/>
                    </a:lnTo>
                    <a:close/>
                  </a:path>
                  <a:path w="3439795" h="1447800">
                    <a:moveTo>
                      <a:pt x="1561302" y="671688"/>
                    </a:moveTo>
                    <a:lnTo>
                      <a:pt x="1561062" y="673099"/>
                    </a:lnTo>
                    <a:lnTo>
                      <a:pt x="1563222" y="673099"/>
                    </a:lnTo>
                    <a:lnTo>
                      <a:pt x="1561302" y="671688"/>
                    </a:lnTo>
                    <a:close/>
                  </a:path>
                  <a:path w="3439795" h="1447800">
                    <a:moveTo>
                      <a:pt x="1561782" y="668866"/>
                    </a:moveTo>
                    <a:lnTo>
                      <a:pt x="1561302" y="671688"/>
                    </a:lnTo>
                    <a:lnTo>
                      <a:pt x="1563222" y="673099"/>
                    </a:lnTo>
                    <a:lnTo>
                      <a:pt x="1561782" y="668866"/>
                    </a:lnTo>
                    <a:close/>
                  </a:path>
                  <a:path w="3439795" h="1447800">
                    <a:moveTo>
                      <a:pt x="1563222" y="660399"/>
                    </a:moveTo>
                    <a:lnTo>
                      <a:pt x="1561782" y="668866"/>
                    </a:lnTo>
                    <a:lnTo>
                      <a:pt x="1563222" y="673099"/>
                    </a:lnTo>
                    <a:lnTo>
                      <a:pt x="1563222" y="660399"/>
                    </a:lnTo>
                    <a:close/>
                  </a:path>
                  <a:path w="3439795" h="1447800">
                    <a:moveTo>
                      <a:pt x="1578344" y="660399"/>
                    </a:moveTo>
                    <a:lnTo>
                      <a:pt x="1563222" y="660399"/>
                    </a:lnTo>
                    <a:lnTo>
                      <a:pt x="1563222" y="673099"/>
                    </a:lnTo>
                    <a:lnTo>
                      <a:pt x="1576183" y="673099"/>
                    </a:lnTo>
                    <a:lnTo>
                      <a:pt x="1578344" y="660399"/>
                    </a:lnTo>
                    <a:close/>
                  </a:path>
                  <a:path w="3439795" h="1447800">
                    <a:moveTo>
                      <a:pt x="1578344" y="660399"/>
                    </a:moveTo>
                    <a:lnTo>
                      <a:pt x="1576183" y="673099"/>
                    </a:lnTo>
                    <a:lnTo>
                      <a:pt x="1578344" y="673099"/>
                    </a:lnTo>
                    <a:lnTo>
                      <a:pt x="1578344" y="660399"/>
                    </a:lnTo>
                    <a:close/>
                  </a:path>
                  <a:path w="3439795" h="1447800">
                    <a:moveTo>
                      <a:pt x="1593465" y="660399"/>
                    </a:moveTo>
                    <a:lnTo>
                      <a:pt x="1578344" y="660399"/>
                    </a:lnTo>
                    <a:lnTo>
                      <a:pt x="1578344" y="673099"/>
                    </a:lnTo>
                    <a:lnTo>
                      <a:pt x="1591305" y="673099"/>
                    </a:lnTo>
                    <a:lnTo>
                      <a:pt x="1593465" y="660399"/>
                    </a:lnTo>
                    <a:close/>
                  </a:path>
                  <a:path w="3439795" h="1447800">
                    <a:moveTo>
                      <a:pt x="1595625" y="660399"/>
                    </a:moveTo>
                    <a:lnTo>
                      <a:pt x="1593465" y="660399"/>
                    </a:lnTo>
                    <a:lnTo>
                      <a:pt x="1591305" y="673099"/>
                    </a:lnTo>
                    <a:lnTo>
                      <a:pt x="1595625" y="660399"/>
                    </a:lnTo>
                    <a:close/>
                  </a:path>
                  <a:path w="3439795" h="1447800">
                    <a:moveTo>
                      <a:pt x="1610747" y="660399"/>
                    </a:moveTo>
                    <a:lnTo>
                      <a:pt x="1595625" y="660399"/>
                    </a:lnTo>
                    <a:lnTo>
                      <a:pt x="1591305" y="673099"/>
                    </a:lnTo>
                    <a:lnTo>
                      <a:pt x="1610747" y="673099"/>
                    </a:lnTo>
                    <a:lnTo>
                      <a:pt x="1610747" y="660399"/>
                    </a:lnTo>
                    <a:close/>
                  </a:path>
                  <a:path w="3439795" h="1447800">
                    <a:moveTo>
                      <a:pt x="1617228" y="660399"/>
                    </a:moveTo>
                    <a:lnTo>
                      <a:pt x="1610747" y="660399"/>
                    </a:lnTo>
                    <a:lnTo>
                      <a:pt x="1610747" y="673099"/>
                    </a:lnTo>
                    <a:lnTo>
                      <a:pt x="1612907" y="673099"/>
                    </a:lnTo>
                    <a:lnTo>
                      <a:pt x="1617228" y="660399"/>
                    </a:lnTo>
                    <a:close/>
                  </a:path>
                  <a:path w="3439795" h="1447800">
                    <a:moveTo>
                      <a:pt x="1617228" y="660399"/>
                    </a:moveTo>
                    <a:lnTo>
                      <a:pt x="1612907" y="673099"/>
                    </a:lnTo>
                    <a:lnTo>
                      <a:pt x="1615067" y="673099"/>
                    </a:lnTo>
                    <a:lnTo>
                      <a:pt x="1617228" y="670559"/>
                    </a:lnTo>
                    <a:lnTo>
                      <a:pt x="1617228" y="660399"/>
                    </a:lnTo>
                    <a:close/>
                  </a:path>
                  <a:path w="3439795" h="1447800">
                    <a:moveTo>
                      <a:pt x="1617228" y="670559"/>
                    </a:moveTo>
                    <a:lnTo>
                      <a:pt x="1615067" y="673099"/>
                    </a:lnTo>
                    <a:lnTo>
                      <a:pt x="1617228" y="673099"/>
                    </a:lnTo>
                    <a:lnTo>
                      <a:pt x="1617228" y="670559"/>
                    </a:lnTo>
                    <a:close/>
                  </a:path>
                  <a:path w="3439795" h="1447800">
                    <a:moveTo>
                      <a:pt x="1622268" y="664633"/>
                    </a:moveTo>
                    <a:lnTo>
                      <a:pt x="1617228" y="670559"/>
                    </a:lnTo>
                    <a:lnTo>
                      <a:pt x="1617228" y="673099"/>
                    </a:lnTo>
                    <a:lnTo>
                      <a:pt x="1619388" y="673099"/>
                    </a:lnTo>
                    <a:lnTo>
                      <a:pt x="1622268" y="664633"/>
                    </a:lnTo>
                    <a:close/>
                  </a:path>
                  <a:path w="3439795" h="1447800">
                    <a:moveTo>
                      <a:pt x="1628029" y="660399"/>
                    </a:moveTo>
                    <a:lnTo>
                      <a:pt x="1625868" y="660399"/>
                    </a:lnTo>
                    <a:lnTo>
                      <a:pt x="1622268" y="664633"/>
                    </a:lnTo>
                    <a:lnTo>
                      <a:pt x="1619388" y="673099"/>
                    </a:lnTo>
                    <a:lnTo>
                      <a:pt x="1628029" y="660399"/>
                    </a:lnTo>
                    <a:close/>
                  </a:path>
                  <a:path w="3439795" h="1447800">
                    <a:moveTo>
                      <a:pt x="1651791" y="660399"/>
                    </a:moveTo>
                    <a:lnTo>
                      <a:pt x="1640990" y="660399"/>
                    </a:lnTo>
                    <a:lnTo>
                      <a:pt x="1651791" y="673099"/>
                    </a:lnTo>
                    <a:lnTo>
                      <a:pt x="1651791" y="660399"/>
                    </a:lnTo>
                    <a:close/>
                  </a:path>
                  <a:path w="3439795" h="1447800">
                    <a:moveTo>
                      <a:pt x="1690675" y="660399"/>
                    </a:moveTo>
                    <a:lnTo>
                      <a:pt x="1699226" y="673099"/>
                    </a:lnTo>
                    <a:lnTo>
                      <a:pt x="1694965" y="664633"/>
                    </a:lnTo>
                    <a:lnTo>
                      <a:pt x="1690675" y="660399"/>
                    </a:lnTo>
                    <a:close/>
                  </a:path>
                  <a:path w="3439795" h="1447800">
                    <a:moveTo>
                      <a:pt x="1694965" y="664633"/>
                    </a:moveTo>
                    <a:lnTo>
                      <a:pt x="1699226" y="673099"/>
                    </a:lnTo>
                    <a:lnTo>
                      <a:pt x="1703546" y="673099"/>
                    </a:lnTo>
                    <a:lnTo>
                      <a:pt x="1694965" y="664633"/>
                    </a:lnTo>
                    <a:close/>
                  </a:path>
                  <a:path w="3439795" h="1447800">
                    <a:moveTo>
                      <a:pt x="1694113" y="662939"/>
                    </a:moveTo>
                    <a:lnTo>
                      <a:pt x="1694965" y="664633"/>
                    </a:lnTo>
                    <a:lnTo>
                      <a:pt x="1703546" y="673099"/>
                    </a:lnTo>
                    <a:lnTo>
                      <a:pt x="1696405" y="664633"/>
                    </a:lnTo>
                    <a:lnTo>
                      <a:pt x="1694113" y="662939"/>
                    </a:lnTo>
                    <a:close/>
                  </a:path>
                  <a:path w="3439795" h="1447800">
                    <a:moveTo>
                      <a:pt x="1696405" y="664633"/>
                    </a:moveTo>
                    <a:lnTo>
                      <a:pt x="1703546" y="673099"/>
                    </a:lnTo>
                    <a:lnTo>
                      <a:pt x="1707867" y="673099"/>
                    </a:lnTo>
                    <a:lnTo>
                      <a:pt x="1696405" y="664633"/>
                    </a:lnTo>
                    <a:close/>
                  </a:path>
                  <a:path w="3439795" h="1447800">
                    <a:moveTo>
                      <a:pt x="1692835" y="660399"/>
                    </a:moveTo>
                    <a:lnTo>
                      <a:pt x="1696405" y="664633"/>
                    </a:lnTo>
                    <a:lnTo>
                      <a:pt x="1707867" y="673099"/>
                    </a:lnTo>
                    <a:lnTo>
                      <a:pt x="1692835" y="660399"/>
                    </a:lnTo>
                    <a:close/>
                  </a:path>
                  <a:path w="3439795" h="1447800">
                    <a:moveTo>
                      <a:pt x="1692835" y="647699"/>
                    </a:moveTo>
                    <a:lnTo>
                      <a:pt x="1692835" y="660399"/>
                    </a:lnTo>
                    <a:lnTo>
                      <a:pt x="1707867" y="673099"/>
                    </a:lnTo>
                    <a:lnTo>
                      <a:pt x="1710027" y="660399"/>
                    </a:lnTo>
                    <a:lnTo>
                      <a:pt x="1703546" y="660399"/>
                    </a:lnTo>
                    <a:lnTo>
                      <a:pt x="1700272" y="653983"/>
                    </a:lnTo>
                    <a:lnTo>
                      <a:pt x="1692835" y="647699"/>
                    </a:lnTo>
                    <a:close/>
                  </a:path>
                  <a:path w="3439795" h="1447800">
                    <a:moveTo>
                      <a:pt x="1025290" y="649514"/>
                    </a:moveTo>
                    <a:lnTo>
                      <a:pt x="1023438" y="660399"/>
                    </a:lnTo>
                    <a:lnTo>
                      <a:pt x="1016957" y="660399"/>
                    </a:lnTo>
                    <a:lnTo>
                      <a:pt x="1032511" y="671829"/>
                    </a:lnTo>
                    <a:lnTo>
                      <a:pt x="1036399" y="660399"/>
                    </a:lnTo>
                    <a:lnTo>
                      <a:pt x="1025290" y="649514"/>
                    </a:lnTo>
                    <a:close/>
                  </a:path>
                  <a:path w="3439795" h="1447800">
                    <a:moveTo>
                      <a:pt x="1558902" y="660399"/>
                    </a:moveTo>
                    <a:lnTo>
                      <a:pt x="1560753" y="671285"/>
                    </a:lnTo>
                    <a:lnTo>
                      <a:pt x="1561302" y="671688"/>
                    </a:lnTo>
                    <a:lnTo>
                      <a:pt x="1561782" y="668866"/>
                    </a:lnTo>
                    <a:lnTo>
                      <a:pt x="1558902" y="660399"/>
                    </a:lnTo>
                    <a:close/>
                  </a:path>
                  <a:path w="3439795" h="1447800">
                    <a:moveTo>
                      <a:pt x="1558902" y="660399"/>
                    </a:moveTo>
                    <a:lnTo>
                      <a:pt x="1545940" y="660399"/>
                    </a:lnTo>
                    <a:lnTo>
                      <a:pt x="1560753" y="671285"/>
                    </a:lnTo>
                    <a:lnTo>
                      <a:pt x="1558902" y="660399"/>
                    </a:lnTo>
                    <a:close/>
                  </a:path>
                  <a:path w="3439795" h="1447800">
                    <a:moveTo>
                      <a:pt x="1623708" y="660399"/>
                    </a:moveTo>
                    <a:lnTo>
                      <a:pt x="1617228" y="660399"/>
                    </a:lnTo>
                    <a:lnTo>
                      <a:pt x="1617228" y="670559"/>
                    </a:lnTo>
                    <a:lnTo>
                      <a:pt x="1622268" y="664633"/>
                    </a:lnTo>
                    <a:lnTo>
                      <a:pt x="1623708" y="660399"/>
                    </a:lnTo>
                    <a:close/>
                  </a:path>
                  <a:path w="3439795" h="1447800">
                    <a:moveTo>
                      <a:pt x="1636669" y="660399"/>
                    </a:moveTo>
                    <a:lnTo>
                      <a:pt x="1634509" y="660399"/>
                    </a:lnTo>
                    <a:lnTo>
                      <a:pt x="1634509" y="669924"/>
                    </a:lnTo>
                    <a:lnTo>
                      <a:pt x="1636052" y="667657"/>
                    </a:lnTo>
                    <a:lnTo>
                      <a:pt x="1636669" y="660399"/>
                    </a:lnTo>
                    <a:close/>
                  </a:path>
                  <a:path w="3439795" h="1447800">
                    <a:moveTo>
                      <a:pt x="1563222" y="660399"/>
                    </a:moveTo>
                    <a:lnTo>
                      <a:pt x="1558902" y="660399"/>
                    </a:lnTo>
                    <a:lnTo>
                      <a:pt x="1561782" y="668866"/>
                    </a:lnTo>
                    <a:lnTo>
                      <a:pt x="1563222" y="660399"/>
                    </a:lnTo>
                    <a:close/>
                  </a:path>
                  <a:path w="3439795" h="1447800">
                    <a:moveTo>
                      <a:pt x="604536" y="647699"/>
                    </a:moveTo>
                    <a:lnTo>
                      <a:pt x="587254" y="660399"/>
                    </a:lnTo>
                    <a:lnTo>
                      <a:pt x="600216" y="660399"/>
                    </a:lnTo>
                    <a:lnTo>
                      <a:pt x="597515" y="663574"/>
                    </a:lnTo>
                    <a:lnTo>
                      <a:pt x="596821" y="667657"/>
                    </a:lnTo>
                    <a:lnTo>
                      <a:pt x="604227" y="662214"/>
                    </a:lnTo>
                    <a:lnTo>
                      <a:pt x="604536" y="660399"/>
                    </a:lnTo>
                    <a:lnTo>
                      <a:pt x="604536" y="647699"/>
                    </a:lnTo>
                    <a:close/>
                  </a:path>
                  <a:path w="3439795" h="1447800">
                    <a:moveTo>
                      <a:pt x="1640990" y="660399"/>
                    </a:moveTo>
                    <a:lnTo>
                      <a:pt x="1636669" y="660399"/>
                    </a:lnTo>
                    <a:lnTo>
                      <a:pt x="1636052" y="667657"/>
                    </a:lnTo>
                    <a:lnTo>
                      <a:pt x="1640990" y="660399"/>
                    </a:lnTo>
                    <a:close/>
                  </a:path>
                  <a:path w="3439795" h="1447800">
                    <a:moveTo>
                      <a:pt x="878794" y="660399"/>
                    </a:moveTo>
                    <a:lnTo>
                      <a:pt x="874473" y="664028"/>
                    </a:lnTo>
                    <a:lnTo>
                      <a:pt x="876633" y="666749"/>
                    </a:lnTo>
                    <a:lnTo>
                      <a:pt x="878794" y="660399"/>
                    </a:lnTo>
                    <a:close/>
                  </a:path>
                  <a:path w="3439795" h="1447800">
                    <a:moveTo>
                      <a:pt x="1625868" y="660399"/>
                    </a:moveTo>
                    <a:lnTo>
                      <a:pt x="1623708" y="660399"/>
                    </a:lnTo>
                    <a:lnTo>
                      <a:pt x="1622268" y="664633"/>
                    </a:lnTo>
                    <a:lnTo>
                      <a:pt x="1625868" y="660399"/>
                    </a:lnTo>
                    <a:close/>
                  </a:path>
                  <a:path w="3439795" h="1447800">
                    <a:moveTo>
                      <a:pt x="1690675" y="660399"/>
                    </a:moveTo>
                    <a:lnTo>
                      <a:pt x="1694965" y="664633"/>
                    </a:lnTo>
                    <a:lnTo>
                      <a:pt x="1694113" y="662939"/>
                    </a:lnTo>
                    <a:lnTo>
                      <a:pt x="1690675" y="660399"/>
                    </a:lnTo>
                    <a:close/>
                  </a:path>
                  <a:path w="3439795" h="1447800">
                    <a:moveTo>
                      <a:pt x="1692835" y="660399"/>
                    </a:moveTo>
                    <a:lnTo>
                      <a:pt x="1694113" y="662939"/>
                    </a:lnTo>
                    <a:lnTo>
                      <a:pt x="1696405" y="664633"/>
                    </a:lnTo>
                    <a:lnTo>
                      <a:pt x="1692835" y="660399"/>
                    </a:lnTo>
                    <a:close/>
                  </a:path>
                  <a:path w="3439795" h="1447800">
                    <a:moveTo>
                      <a:pt x="878794" y="660399"/>
                    </a:moveTo>
                    <a:lnTo>
                      <a:pt x="871593" y="660399"/>
                    </a:lnTo>
                    <a:lnTo>
                      <a:pt x="874473" y="664028"/>
                    </a:lnTo>
                    <a:lnTo>
                      <a:pt x="878794" y="660399"/>
                    </a:lnTo>
                    <a:close/>
                  </a:path>
                  <a:path w="3439795" h="1447800">
                    <a:moveTo>
                      <a:pt x="600216" y="660399"/>
                    </a:moveTo>
                    <a:lnTo>
                      <a:pt x="598055" y="660399"/>
                    </a:lnTo>
                    <a:lnTo>
                      <a:pt x="597515" y="663574"/>
                    </a:lnTo>
                    <a:lnTo>
                      <a:pt x="600216" y="660399"/>
                    </a:lnTo>
                    <a:close/>
                  </a:path>
                  <a:path w="3439795" h="1447800">
                    <a:moveTo>
                      <a:pt x="1692835" y="660399"/>
                    </a:moveTo>
                    <a:lnTo>
                      <a:pt x="1690675" y="660399"/>
                    </a:lnTo>
                    <a:lnTo>
                      <a:pt x="1694113" y="662939"/>
                    </a:lnTo>
                    <a:lnTo>
                      <a:pt x="1692835" y="660399"/>
                    </a:lnTo>
                    <a:close/>
                  </a:path>
                  <a:path w="3439795" h="1447800">
                    <a:moveTo>
                      <a:pt x="604536" y="647699"/>
                    </a:moveTo>
                    <a:lnTo>
                      <a:pt x="604536" y="660399"/>
                    </a:lnTo>
                    <a:lnTo>
                      <a:pt x="604227" y="662214"/>
                    </a:lnTo>
                    <a:lnTo>
                      <a:pt x="606696" y="660399"/>
                    </a:lnTo>
                    <a:lnTo>
                      <a:pt x="604536" y="647699"/>
                    </a:lnTo>
                    <a:close/>
                  </a:path>
                  <a:path w="3439795" h="1447800">
                    <a:moveTo>
                      <a:pt x="801026" y="660399"/>
                    </a:moveTo>
                    <a:lnTo>
                      <a:pt x="798866" y="660399"/>
                    </a:lnTo>
                    <a:lnTo>
                      <a:pt x="799483" y="662214"/>
                    </a:lnTo>
                    <a:lnTo>
                      <a:pt x="801026" y="660399"/>
                    </a:lnTo>
                    <a:close/>
                  </a:path>
                  <a:path w="3439795" h="1447800">
                    <a:moveTo>
                      <a:pt x="594815" y="615949"/>
                    </a:moveTo>
                    <a:lnTo>
                      <a:pt x="592295" y="618066"/>
                    </a:lnTo>
                    <a:lnTo>
                      <a:pt x="589415" y="622299"/>
                    </a:lnTo>
                    <a:lnTo>
                      <a:pt x="589415" y="634999"/>
                    </a:lnTo>
                    <a:lnTo>
                      <a:pt x="587254" y="634999"/>
                    </a:lnTo>
                    <a:lnTo>
                      <a:pt x="587254" y="660399"/>
                    </a:lnTo>
                    <a:lnTo>
                      <a:pt x="604536" y="647699"/>
                    </a:lnTo>
                    <a:lnTo>
                      <a:pt x="600216" y="647699"/>
                    </a:lnTo>
                    <a:lnTo>
                      <a:pt x="591575" y="634999"/>
                    </a:lnTo>
                    <a:lnTo>
                      <a:pt x="591575" y="622299"/>
                    </a:lnTo>
                    <a:lnTo>
                      <a:pt x="594815" y="615949"/>
                    </a:lnTo>
                    <a:close/>
                  </a:path>
                  <a:path w="3439795" h="1447800">
                    <a:moveTo>
                      <a:pt x="645580" y="647699"/>
                    </a:moveTo>
                    <a:lnTo>
                      <a:pt x="645580" y="660399"/>
                    </a:lnTo>
                    <a:lnTo>
                      <a:pt x="647740" y="660399"/>
                    </a:lnTo>
                    <a:lnTo>
                      <a:pt x="645580" y="647699"/>
                    </a:lnTo>
                    <a:close/>
                  </a:path>
                  <a:path w="3439795" h="1447800">
                    <a:moveTo>
                      <a:pt x="652709" y="636269"/>
                    </a:moveTo>
                    <a:lnTo>
                      <a:pt x="639100" y="647699"/>
                    </a:lnTo>
                    <a:lnTo>
                      <a:pt x="645580" y="647699"/>
                    </a:lnTo>
                    <a:lnTo>
                      <a:pt x="647740" y="660399"/>
                    </a:lnTo>
                    <a:lnTo>
                      <a:pt x="658541" y="647699"/>
                    </a:lnTo>
                    <a:lnTo>
                      <a:pt x="652709" y="636269"/>
                    </a:lnTo>
                    <a:close/>
                  </a:path>
                  <a:path w="3439795" h="1447800">
                    <a:moveTo>
                      <a:pt x="660702" y="647699"/>
                    </a:moveTo>
                    <a:lnTo>
                      <a:pt x="658541" y="647699"/>
                    </a:lnTo>
                    <a:lnTo>
                      <a:pt x="647740" y="660399"/>
                    </a:lnTo>
                    <a:lnTo>
                      <a:pt x="660702" y="647699"/>
                    </a:lnTo>
                    <a:close/>
                  </a:path>
                  <a:path w="3439795" h="1447800">
                    <a:moveTo>
                      <a:pt x="665022" y="647699"/>
                    </a:moveTo>
                    <a:lnTo>
                      <a:pt x="660702" y="647699"/>
                    </a:lnTo>
                    <a:lnTo>
                      <a:pt x="647740" y="660399"/>
                    </a:lnTo>
                    <a:lnTo>
                      <a:pt x="649901" y="660399"/>
                    </a:lnTo>
                    <a:lnTo>
                      <a:pt x="665022" y="647699"/>
                    </a:lnTo>
                    <a:close/>
                  </a:path>
                  <a:path w="3439795" h="1447800">
                    <a:moveTo>
                      <a:pt x="665022" y="647699"/>
                    </a:moveTo>
                    <a:lnTo>
                      <a:pt x="649901" y="660399"/>
                    </a:lnTo>
                    <a:lnTo>
                      <a:pt x="652061" y="660399"/>
                    </a:lnTo>
                    <a:lnTo>
                      <a:pt x="665022" y="647699"/>
                    </a:lnTo>
                    <a:close/>
                  </a:path>
                  <a:path w="3439795" h="1447800">
                    <a:moveTo>
                      <a:pt x="1023438" y="647699"/>
                    </a:moveTo>
                    <a:lnTo>
                      <a:pt x="1021278" y="647699"/>
                    </a:lnTo>
                    <a:lnTo>
                      <a:pt x="1019118" y="660399"/>
                    </a:lnTo>
                    <a:lnTo>
                      <a:pt x="1023438" y="660399"/>
                    </a:lnTo>
                    <a:lnTo>
                      <a:pt x="1025290" y="649514"/>
                    </a:lnTo>
                    <a:lnTo>
                      <a:pt x="1023438" y="647699"/>
                    </a:lnTo>
                    <a:close/>
                  </a:path>
                  <a:path w="3439795" h="1447800">
                    <a:moveTo>
                      <a:pt x="1025328" y="649287"/>
                    </a:moveTo>
                    <a:lnTo>
                      <a:pt x="1025290" y="649514"/>
                    </a:lnTo>
                    <a:lnTo>
                      <a:pt x="1036399" y="660399"/>
                    </a:lnTo>
                    <a:lnTo>
                      <a:pt x="1038560" y="660399"/>
                    </a:lnTo>
                    <a:lnTo>
                      <a:pt x="1025328" y="649287"/>
                    </a:lnTo>
                    <a:close/>
                  </a:path>
                  <a:path w="3439795" h="1447800">
                    <a:moveTo>
                      <a:pt x="1025598" y="647699"/>
                    </a:moveTo>
                    <a:lnTo>
                      <a:pt x="1025328" y="649287"/>
                    </a:lnTo>
                    <a:lnTo>
                      <a:pt x="1038560" y="660399"/>
                    </a:lnTo>
                    <a:lnTo>
                      <a:pt x="1040720" y="660399"/>
                    </a:lnTo>
                    <a:lnTo>
                      <a:pt x="1025598" y="647699"/>
                    </a:lnTo>
                    <a:close/>
                  </a:path>
                  <a:path w="3439795" h="1447800">
                    <a:moveTo>
                      <a:pt x="1027518" y="623711"/>
                    </a:moveTo>
                    <a:lnTo>
                      <a:pt x="1025598" y="634999"/>
                    </a:lnTo>
                    <a:lnTo>
                      <a:pt x="1025598" y="647699"/>
                    </a:lnTo>
                    <a:lnTo>
                      <a:pt x="1040720" y="660399"/>
                    </a:lnTo>
                    <a:lnTo>
                      <a:pt x="1042880" y="647699"/>
                    </a:lnTo>
                    <a:lnTo>
                      <a:pt x="1042880" y="634999"/>
                    </a:lnTo>
                    <a:lnTo>
                      <a:pt x="1038560" y="634999"/>
                    </a:lnTo>
                    <a:lnTo>
                      <a:pt x="1038272" y="631613"/>
                    </a:lnTo>
                    <a:lnTo>
                      <a:pt x="1027518" y="623711"/>
                    </a:lnTo>
                    <a:close/>
                  </a:path>
                  <a:path w="3439795" h="1447800">
                    <a:moveTo>
                      <a:pt x="1183204" y="634999"/>
                    </a:moveTo>
                    <a:lnTo>
                      <a:pt x="1176723" y="634999"/>
                    </a:lnTo>
                    <a:lnTo>
                      <a:pt x="1170243" y="647699"/>
                    </a:lnTo>
                    <a:lnTo>
                      <a:pt x="1176723" y="660399"/>
                    </a:lnTo>
                    <a:lnTo>
                      <a:pt x="1185364" y="647699"/>
                    </a:lnTo>
                    <a:lnTo>
                      <a:pt x="1183204" y="634999"/>
                    </a:lnTo>
                    <a:close/>
                  </a:path>
                  <a:path w="3439795" h="1447800">
                    <a:moveTo>
                      <a:pt x="1187524" y="647699"/>
                    </a:moveTo>
                    <a:lnTo>
                      <a:pt x="1185364" y="647699"/>
                    </a:lnTo>
                    <a:lnTo>
                      <a:pt x="1176723" y="660399"/>
                    </a:lnTo>
                    <a:lnTo>
                      <a:pt x="1185364" y="660399"/>
                    </a:lnTo>
                    <a:lnTo>
                      <a:pt x="1187524" y="647699"/>
                    </a:lnTo>
                    <a:close/>
                  </a:path>
                  <a:path w="3439795" h="1447800">
                    <a:moveTo>
                      <a:pt x="1191845" y="647699"/>
                    </a:moveTo>
                    <a:lnTo>
                      <a:pt x="1187524" y="647699"/>
                    </a:lnTo>
                    <a:lnTo>
                      <a:pt x="1185364" y="660399"/>
                    </a:lnTo>
                    <a:lnTo>
                      <a:pt x="1191845" y="647699"/>
                    </a:lnTo>
                    <a:close/>
                  </a:path>
                  <a:path w="3439795" h="1447800">
                    <a:moveTo>
                      <a:pt x="1200486" y="647699"/>
                    </a:moveTo>
                    <a:lnTo>
                      <a:pt x="1191845" y="647699"/>
                    </a:lnTo>
                    <a:lnTo>
                      <a:pt x="1185364" y="660399"/>
                    </a:lnTo>
                    <a:lnTo>
                      <a:pt x="1191845" y="660399"/>
                    </a:lnTo>
                    <a:lnTo>
                      <a:pt x="1200486" y="647699"/>
                    </a:lnTo>
                    <a:close/>
                  </a:path>
                  <a:path w="3439795" h="1447800">
                    <a:moveTo>
                      <a:pt x="1200486" y="647699"/>
                    </a:moveTo>
                    <a:lnTo>
                      <a:pt x="1191845" y="660399"/>
                    </a:lnTo>
                    <a:lnTo>
                      <a:pt x="1196165" y="660399"/>
                    </a:lnTo>
                    <a:lnTo>
                      <a:pt x="1200486" y="647699"/>
                    </a:lnTo>
                    <a:close/>
                  </a:path>
                  <a:path w="3439795" h="1447800">
                    <a:moveTo>
                      <a:pt x="1200486" y="647699"/>
                    </a:moveTo>
                    <a:lnTo>
                      <a:pt x="1196165" y="660399"/>
                    </a:lnTo>
                    <a:lnTo>
                      <a:pt x="1200486" y="660399"/>
                    </a:lnTo>
                    <a:lnTo>
                      <a:pt x="1200486" y="647699"/>
                    </a:lnTo>
                    <a:close/>
                  </a:path>
                  <a:path w="3439795" h="1447800">
                    <a:moveTo>
                      <a:pt x="1204806" y="647699"/>
                    </a:moveTo>
                    <a:lnTo>
                      <a:pt x="1200486" y="647699"/>
                    </a:lnTo>
                    <a:lnTo>
                      <a:pt x="1200486" y="660399"/>
                    </a:lnTo>
                    <a:lnTo>
                      <a:pt x="1204806" y="647699"/>
                    </a:lnTo>
                    <a:close/>
                  </a:path>
                  <a:path w="3439795" h="1447800">
                    <a:moveTo>
                      <a:pt x="1206966" y="647699"/>
                    </a:moveTo>
                    <a:lnTo>
                      <a:pt x="1204806" y="647699"/>
                    </a:lnTo>
                    <a:lnTo>
                      <a:pt x="1200486" y="660399"/>
                    </a:lnTo>
                    <a:lnTo>
                      <a:pt x="1206966" y="660399"/>
                    </a:lnTo>
                    <a:lnTo>
                      <a:pt x="1206966" y="647699"/>
                    </a:lnTo>
                    <a:close/>
                  </a:path>
                  <a:path w="3439795" h="1447800">
                    <a:moveTo>
                      <a:pt x="1211287" y="647699"/>
                    </a:moveTo>
                    <a:lnTo>
                      <a:pt x="1206966" y="647699"/>
                    </a:lnTo>
                    <a:lnTo>
                      <a:pt x="1206966" y="660399"/>
                    </a:lnTo>
                    <a:lnTo>
                      <a:pt x="1217768" y="660399"/>
                    </a:lnTo>
                    <a:lnTo>
                      <a:pt x="1211287" y="647699"/>
                    </a:lnTo>
                    <a:close/>
                  </a:path>
                  <a:path w="3439795" h="1447800">
                    <a:moveTo>
                      <a:pt x="1215607" y="647699"/>
                    </a:moveTo>
                    <a:lnTo>
                      <a:pt x="1211287" y="647699"/>
                    </a:lnTo>
                    <a:lnTo>
                      <a:pt x="1217768" y="660399"/>
                    </a:lnTo>
                    <a:lnTo>
                      <a:pt x="1215607" y="647699"/>
                    </a:lnTo>
                    <a:close/>
                  </a:path>
                  <a:path w="3439795" h="1447800">
                    <a:moveTo>
                      <a:pt x="1224248" y="647699"/>
                    </a:moveTo>
                    <a:lnTo>
                      <a:pt x="1215607" y="647699"/>
                    </a:lnTo>
                    <a:lnTo>
                      <a:pt x="1217768" y="660399"/>
                    </a:lnTo>
                    <a:lnTo>
                      <a:pt x="1230729" y="660399"/>
                    </a:lnTo>
                    <a:lnTo>
                      <a:pt x="1224248" y="647699"/>
                    </a:lnTo>
                    <a:close/>
                  </a:path>
                  <a:path w="3439795" h="1447800">
                    <a:moveTo>
                      <a:pt x="1262823" y="636360"/>
                    </a:moveTo>
                    <a:lnTo>
                      <a:pt x="1224248" y="647699"/>
                    </a:lnTo>
                    <a:lnTo>
                      <a:pt x="1230729" y="660399"/>
                    </a:lnTo>
                    <a:lnTo>
                      <a:pt x="1271773" y="647699"/>
                    </a:lnTo>
                    <a:lnTo>
                      <a:pt x="1276093" y="647699"/>
                    </a:lnTo>
                    <a:lnTo>
                      <a:pt x="1275595" y="645746"/>
                    </a:lnTo>
                    <a:lnTo>
                      <a:pt x="1262823" y="636360"/>
                    </a:lnTo>
                    <a:close/>
                  </a:path>
                  <a:path w="3439795" h="1447800">
                    <a:moveTo>
                      <a:pt x="1429379" y="634999"/>
                    </a:moveTo>
                    <a:lnTo>
                      <a:pt x="1409937" y="634999"/>
                    </a:lnTo>
                    <a:lnTo>
                      <a:pt x="1403456" y="647699"/>
                    </a:lnTo>
                    <a:lnTo>
                      <a:pt x="1427218" y="660399"/>
                    </a:lnTo>
                    <a:lnTo>
                      <a:pt x="1429379" y="660399"/>
                    </a:lnTo>
                    <a:lnTo>
                      <a:pt x="1429379" y="634999"/>
                    </a:lnTo>
                    <a:close/>
                  </a:path>
                  <a:path w="3439795" h="1447800">
                    <a:moveTo>
                      <a:pt x="1431539" y="634999"/>
                    </a:moveTo>
                    <a:lnTo>
                      <a:pt x="1429379" y="634999"/>
                    </a:lnTo>
                    <a:lnTo>
                      <a:pt x="1429379" y="660399"/>
                    </a:lnTo>
                    <a:lnTo>
                      <a:pt x="1431539" y="634999"/>
                    </a:lnTo>
                    <a:close/>
                  </a:path>
                  <a:path w="3439795" h="1447800">
                    <a:moveTo>
                      <a:pt x="1438020" y="634999"/>
                    </a:moveTo>
                    <a:lnTo>
                      <a:pt x="1431539" y="634999"/>
                    </a:lnTo>
                    <a:lnTo>
                      <a:pt x="1429379" y="660399"/>
                    </a:lnTo>
                    <a:lnTo>
                      <a:pt x="1438020" y="660399"/>
                    </a:lnTo>
                    <a:lnTo>
                      <a:pt x="1438020" y="647699"/>
                    </a:lnTo>
                    <a:lnTo>
                      <a:pt x="1435859" y="647699"/>
                    </a:lnTo>
                    <a:lnTo>
                      <a:pt x="1438020" y="634999"/>
                    </a:lnTo>
                    <a:close/>
                  </a:path>
                  <a:path w="3439795" h="1447800">
                    <a:moveTo>
                      <a:pt x="1438020" y="634999"/>
                    </a:moveTo>
                    <a:lnTo>
                      <a:pt x="1438020" y="660399"/>
                    </a:lnTo>
                    <a:lnTo>
                      <a:pt x="1444500" y="660399"/>
                    </a:lnTo>
                    <a:lnTo>
                      <a:pt x="1453141" y="647699"/>
                    </a:lnTo>
                    <a:lnTo>
                      <a:pt x="1450981" y="647699"/>
                    </a:lnTo>
                    <a:lnTo>
                      <a:pt x="1438020" y="634999"/>
                    </a:lnTo>
                    <a:close/>
                  </a:path>
                  <a:path w="3439795" h="1447800">
                    <a:moveTo>
                      <a:pt x="1453141" y="647699"/>
                    </a:moveTo>
                    <a:lnTo>
                      <a:pt x="1444500" y="660399"/>
                    </a:lnTo>
                    <a:lnTo>
                      <a:pt x="1453141" y="660399"/>
                    </a:lnTo>
                    <a:lnTo>
                      <a:pt x="1453141" y="647699"/>
                    </a:lnTo>
                    <a:close/>
                  </a:path>
                  <a:path w="3439795" h="1447800">
                    <a:moveTo>
                      <a:pt x="1700272" y="653983"/>
                    </a:moveTo>
                    <a:lnTo>
                      <a:pt x="1703546" y="660399"/>
                    </a:lnTo>
                    <a:lnTo>
                      <a:pt x="1705706" y="660399"/>
                    </a:lnTo>
                    <a:lnTo>
                      <a:pt x="1702786" y="656107"/>
                    </a:lnTo>
                    <a:lnTo>
                      <a:pt x="1700272" y="653983"/>
                    </a:lnTo>
                    <a:close/>
                  </a:path>
                  <a:path w="3439795" h="1447800">
                    <a:moveTo>
                      <a:pt x="1702786" y="656107"/>
                    </a:moveTo>
                    <a:lnTo>
                      <a:pt x="1705706" y="660399"/>
                    </a:lnTo>
                    <a:lnTo>
                      <a:pt x="1705706" y="658574"/>
                    </a:lnTo>
                    <a:lnTo>
                      <a:pt x="1702786" y="656107"/>
                    </a:lnTo>
                    <a:close/>
                  </a:path>
                  <a:path w="3439795" h="1447800">
                    <a:moveTo>
                      <a:pt x="1705706" y="658574"/>
                    </a:moveTo>
                    <a:lnTo>
                      <a:pt x="1705706" y="660399"/>
                    </a:lnTo>
                    <a:lnTo>
                      <a:pt x="1706495" y="659241"/>
                    </a:lnTo>
                    <a:lnTo>
                      <a:pt x="1705706" y="658574"/>
                    </a:lnTo>
                    <a:close/>
                  </a:path>
                  <a:path w="3439795" h="1447800">
                    <a:moveTo>
                      <a:pt x="1706495" y="659241"/>
                    </a:moveTo>
                    <a:lnTo>
                      <a:pt x="1705706" y="660399"/>
                    </a:lnTo>
                    <a:lnTo>
                      <a:pt x="1707867" y="660399"/>
                    </a:lnTo>
                    <a:lnTo>
                      <a:pt x="1706495" y="659241"/>
                    </a:lnTo>
                    <a:close/>
                  </a:path>
                  <a:path w="3439795" h="1447800">
                    <a:moveTo>
                      <a:pt x="1707435" y="657859"/>
                    </a:moveTo>
                    <a:lnTo>
                      <a:pt x="1706495" y="659241"/>
                    </a:lnTo>
                    <a:lnTo>
                      <a:pt x="1707867" y="660399"/>
                    </a:lnTo>
                    <a:lnTo>
                      <a:pt x="1710027" y="660399"/>
                    </a:lnTo>
                    <a:lnTo>
                      <a:pt x="1707435" y="657859"/>
                    </a:lnTo>
                    <a:close/>
                  </a:path>
                  <a:path w="3439795" h="1447800">
                    <a:moveTo>
                      <a:pt x="1710027" y="654049"/>
                    </a:moveTo>
                    <a:lnTo>
                      <a:pt x="1707435" y="657859"/>
                    </a:lnTo>
                    <a:lnTo>
                      <a:pt x="1710027" y="660399"/>
                    </a:lnTo>
                    <a:lnTo>
                      <a:pt x="1710027" y="654049"/>
                    </a:lnTo>
                    <a:close/>
                  </a:path>
                  <a:path w="3439795" h="1447800">
                    <a:moveTo>
                      <a:pt x="1714347" y="647699"/>
                    </a:moveTo>
                    <a:lnTo>
                      <a:pt x="1710072" y="653983"/>
                    </a:lnTo>
                    <a:lnTo>
                      <a:pt x="1710027" y="660399"/>
                    </a:lnTo>
                    <a:lnTo>
                      <a:pt x="1718668" y="660399"/>
                    </a:lnTo>
                    <a:lnTo>
                      <a:pt x="1714347" y="647699"/>
                    </a:lnTo>
                    <a:close/>
                  </a:path>
                  <a:path w="3439795" h="1447800">
                    <a:moveTo>
                      <a:pt x="1705706" y="656166"/>
                    </a:moveTo>
                    <a:lnTo>
                      <a:pt x="1705706" y="658574"/>
                    </a:lnTo>
                    <a:lnTo>
                      <a:pt x="1706495" y="659241"/>
                    </a:lnTo>
                    <a:lnTo>
                      <a:pt x="1707435" y="657859"/>
                    </a:lnTo>
                    <a:lnTo>
                      <a:pt x="1705706" y="656166"/>
                    </a:lnTo>
                    <a:close/>
                  </a:path>
                  <a:path w="3439795" h="1447800">
                    <a:moveTo>
                      <a:pt x="1697066" y="647699"/>
                    </a:moveTo>
                    <a:lnTo>
                      <a:pt x="1702786" y="656107"/>
                    </a:lnTo>
                    <a:lnTo>
                      <a:pt x="1705706" y="658574"/>
                    </a:lnTo>
                    <a:lnTo>
                      <a:pt x="1705646" y="656107"/>
                    </a:lnTo>
                    <a:lnTo>
                      <a:pt x="1697066" y="647699"/>
                    </a:lnTo>
                    <a:close/>
                  </a:path>
                  <a:path w="3439795" h="1447800">
                    <a:moveTo>
                      <a:pt x="1705706" y="644071"/>
                    </a:moveTo>
                    <a:lnTo>
                      <a:pt x="1705706" y="656166"/>
                    </a:lnTo>
                    <a:lnTo>
                      <a:pt x="1707435" y="657859"/>
                    </a:lnTo>
                    <a:lnTo>
                      <a:pt x="1710027" y="654049"/>
                    </a:lnTo>
                    <a:lnTo>
                      <a:pt x="1710027" y="647699"/>
                    </a:lnTo>
                    <a:lnTo>
                      <a:pt x="1707867" y="647699"/>
                    </a:lnTo>
                    <a:lnTo>
                      <a:pt x="1707003" y="645159"/>
                    </a:lnTo>
                    <a:lnTo>
                      <a:pt x="1705706" y="644071"/>
                    </a:lnTo>
                    <a:close/>
                  </a:path>
                  <a:path w="3439795" h="1447800">
                    <a:moveTo>
                      <a:pt x="1702970" y="641773"/>
                    </a:moveTo>
                    <a:lnTo>
                      <a:pt x="1698362" y="645159"/>
                    </a:lnTo>
                    <a:lnTo>
                      <a:pt x="1697066" y="647699"/>
                    </a:lnTo>
                    <a:lnTo>
                      <a:pt x="1705706" y="656166"/>
                    </a:lnTo>
                    <a:lnTo>
                      <a:pt x="1705706" y="644071"/>
                    </a:lnTo>
                    <a:lnTo>
                      <a:pt x="1702970" y="641773"/>
                    </a:lnTo>
                    <a:close/>
                  </a:path>
                  <a:path w="3439795" h="1447800">
                    <a:moveTo>
                      <a:pt x="1697066" y="647699"/>
                    </a:moveTo>
                    <a:lnTo>
                      <a:pt x="1700272" y="653983"/>
                    </a:lnTo>
                    <a:lnTo>
                      <a:pt x="1702786" y="656107"/>
                    </a:lnTo>
                    <a:lnTo>
                      <a:pt x="1697066" y="647699"/>
                    </a:lnTo>
                    <a:close/>
                  </a:path>
                  <a:path w="3439795" h="1447800">
                    <a:moveTo>
                      <a:pt x="1712187" y="634999"/>
                    </a:moveTo>
                    <a:lnTo>
                      <a:pt x="1710027" y="647699"/>
                    </a:lnTo>
                    <a:lnTo>
                      <a:pt x="1710027" y="654049"/>
                    </a:lnTo>
                    <a:lnTo>
                      <a:pt x="1714347" y="647699"/>
                    </a:lnTo>
                    <a:lnTo>
                      <a:pt x="1712187" y="647699"/>
                    </a:lnTo>
                    <a:lnTo>
                      <a:pt x="1712187" y="634999"/>
                    </a:lnTo>
                    <a:close/>
                  </a:path>
                  <a:path w="3439795" h="1447800">
                    <a:moveTo>
                      <a:pt x="1697374" y="645885"/>
                    </a:moveTo>
                    <a:lnTo>
                      <a:pt x="1694905" y="647699"/>
                    </a:lnTo>
                    <a:lnTo>
                      <a:pt x="1692835" y="647699"/>
                    </a:lnTo>
                    <a:lnTo>
                      <a:pt x="1700272" y="653983"/>
                    </a:lnTo>
                    <a:lnTo>
                      <a:pt x="1697066" y="647699"/>
                    </a:lnTo>
                    <a:lnTo>
                      <a:pt x="1697374" y="645885"/>
                    </a:lnTo>
                    <a:close/>
                  </a:path>
                  <a:path w="3439795" h="1447800">
                    <a:moveTo>
                      <a:pt x="1023438" y="647699"/>
                    </a:moveTo>
                    <a:lnTo>
                      <a:pt x="1025290" y="649514"/>
                    </a:lnTo>
                    <a:lnTo>
                      <a:pt x="1025328" y="649287"/>
                    </a:lnTo>
                    <a:lnTo>
                      <a:pt x="1023438" y="647699"/>
                    </a:lnTo>
                    <a:close/>
                  </a:path>
                  <a:path w="3439795" h="1447800">
                    <a:moveTo>
                      <a:pt x="1025598" y="647699"/>
                    </a:moveTo>
                    <a:lnTo>
                      <a:pt x="1023438" y="647699"/>
                    </a:lnTo>
                    <a:lnTo>
                      <a:pt x="1025328" y="649287"/>
                    </a:lnTo>
                    <a:lnTo>
                      <a:pt x="1025598" y="647699"/>
                    </a:lnTo>
                    <a:close/>
                  </a:path>
                  <a:path w="3439795" h="1447800">
                    <a:moveTo>
                      <a:pt x="591575" y="622299"/>
                    </a:moveTo>
                    <a:lnTo>
                      <a:pt x="591575" y="634999"/>
                    </a:lnTo>
                    <a:lnTo>
                      <a:pt x="600216" y="647699"/>
                    </a:lnTo>
                    <a:lnTo>
                      <a:pt x="604536" y="639233"/>
                    </a:lnTo>
                    <a:lnTo>
                      <a:pt x="604536" y="634999"/>
                    </a:lnTo>
                    <a:lnTo>
                      <a:pt x="606696" y="634999"/>
                    </a:lnTo>
                    <a:lnTo>
                      <a:pt x="591575" y="622299"/>
                    </a:lnTo>
                    <a:close/>
                  </a:path>
                  <a:path w="3439795" h="1447800">
                    <a:moveTo>
                      <a:pt x="604536" y="639233"/>
                    </a:moveTo>
                    <a:lnTo>
                      <a:pt x="600216" y="647699"/>
                    </a:lnTo>
                    <a:lnTo>
                      <a:pt x="602376" y="647699"/>
                    </a:lnTo>
                    <a:lnTo>
                      <a:pt x="604536" y="641349"/>
                    </a:lnTo>
                    <a:lnTo>
                      <a:pt x="604536" y="639233"/>
                    </a:lnTo>
                    <a:close/>
                  </a:path>
                  <a:path w="3439795" h="1447800">
                    <a:moveTo>
                      <a:pt x="604536" y="641349"/>
                    </a:moveTo>
                    <a:lnTo>
                      <a:pt x="602376" y="647699"/>
                    </a:lnTo>
                    <a:lnTo>
                      <a:pt x="604536" y="647699"/>
                    </a:lnTo>
                    <a:lnTo>
                      <a:pt x="604536" y="641349"/>
                    </a:lnTo>
                    <a:close/>
                  </a:path>
                  <a:path w="3439795" h="1447800">
                    <a:moveTo>
                      <a:pt x="606696" y="634999"/>
                    </a:moveTo>
                    <a:lnTo>
                      <a:pt x="604536" y="641349"/>
                    </a:lnTo>
                    <a:lnTo>
                      <a:pt x="604536" y="647699"/>
                    </a:lnTo>
                    <a:lnTo>
                      <a:pt x="606696" y="634999"/>
                    </a:lnTo>
                    <a:close/>
                  </a:path>
                  <a:path w="3439795" h="1447800">
                    <a:moveTo>
                      <a:pt x="652061" y="622299"/>
                    </a:moveTo>
                    <a:lnTo>
                      <a:pt x="647740" y="622299"/>
                    </a:lnTo>
                    <a:lnTo>
                      <a:pt x="632619" y="634999"/>
                    </a:lnTo>
                    <a:lnTo>
                      <a:pt x="634779" y="634999"/>
                    </a:lnTo>
                    <a:lnTo>
                      <a:pt x="636939" y="647699"/>
                    </a:lnTo>
                    <a:lnTo>
                      <a:pt x="639100" y="647699"/>
                    </a:lnTo>
                    <a:lnTo>
                      <a:pt x="652061" y="634999"/>
                    </a:lnTo>
                    <a:lnTo>
                      <a:pt x="652061" y="622299"/>
                    </a:lnTo>
                    <a:close/>
                  </a:path>
                  <a:path w="3439795" h="1447800">
                    <a:moveTo>
                      <a:pt x="652061" y="634999"/>
                    </a:moveTo>
                    <a:lnTo>
                      <a:pt x="639100" y="647699"/>
                    </a:lnTo>
                    <a:lnTo>
                      <a:pt x="652709" y="636269"/>
                    </a:lnTo>
                    <a:lnTo>
                      <a:pt x="652061" y="634999"/>
                    </a:lnTo>
                    <a:close/>
                  </a:path>
                  <a:path w="3439795" h="1447800">
                    <a:moveTo>
                      <a:pt x="1140864" y="627379"/>
                    </a:moveTo>
                    <a:lnTo>
                      <a:pt x="1135679" y="634999"/>
                    </a:lnTo>
                    <a:lnTo>
                      <a:pt x="1133609" y="634999"/>
                    </a:lnTo>
                    <a:lnTo>
                      <a:pt x="1135679" y="647699"/>
                    </a:lnTo>
                    <a:lnTo>
                      <a:pt x="1140864" y="627379"/>
                    </a:lnTo>
                    <a:close/>
                  </a:path>
                  <a:path w="3439795" h="1447800">
                    <a:moveTo>
                      <a:pt x="1143703" y="623207"/>
                    </a:moveTo>
                    <a:lnTo>
                      <a:pt x="1140864" y="627379"/>
                    </a:lnTo>
                    <a:lnTo>
                      <a:pt x="1135679" y="647699"/>
                    </a:lnTo>
                    <a:lnTo>
                      <a:pt x="1143960" y="623358"/>
                    </a:lnTo>
                    <a:lnTo>
                      <a:pt x="1143703" y="623207"/>
                    </a:lnTo>
                    <a:close/>
                  </a:path>
                  <a:path w="3439795" h="1447800">
                    <a:moveTo>
                      <a:pt x="1143960" y="623358"/>
                    </a:moveTo>
                    <a:lnTo>
                      <a:pt x="1135679" y="647699"/>
                    </a:lnTo>
                    <a:lnTo>
                      <a:pt x="1157281" y="647699"/>
                    </a:lnTo>
                    <a:lnTo>
                      <a:pt x="1163762" y="634999"/>
                    </a:lnTo>
                    <a:lnTo>
                      <a:pt x="1144320" y="634999"/>
                    </a:lnTo>
                    <a:lnTo>
                      <a:pt x="1144320" y="623569"/>
                    </a:lnTo>
                    <a:lnTo>
                      <a:pt x="1143960" y="623358"/>
                    </a:lnTo>
                    <a:close/>
                  </a:path>
                  <a:path w="3439795" h="1447800">
                    <a:moveTo>
                      <a:pt x="1176723" y="634999"/>
                    </a:moveTo>
                    <a:lnTo>
                      <a:pt x="1163762" y="634999"/>
                    </a:lnTo>
                    <a:lnTo>
                      <a:pt x="1157281" y="647699"/>
                    </a:lnTo>
                    <a:lnTo>
                      <a:pt x="1170243" y="647699"/>
                    </a:lnTo>
                    <a:lnTo>
                      <a:pt x="1176723" y="634999"/>
                    </a:lnTo>
                    <a:close/>
                  </a:path>
                  <a:path w="3439795" h="1447800">
                    <a:moveTo>
                      <a:pt x="1275595" y="645746"/>
                    </a:moveTo>
                    <a:lnTo>
                      <a:pt x="1276093" y="647699"/>
                    </a:lnTo>
                    <a:lnTo>
                      <a:pt x="1278254" y="647699"/>
                    </a:lnTo>
                    <a:lnTo>
                      <a:pt x="1275595" y="645746"/>
                    </a:lnTo>
                    <a:close/>
                  </a:path>
                  <a:path w="3439795" h="1447800">
                    <a:moveTo>
                      <a:pt x="1275168" y="644071"/>
                    </a:moveTo>
                    <a:lnTo>
                      <a:pt x="1275595" y="645746"/>
                    </a:lnTo>
                    <a:lnTo>
                      <a:pt x="1278254" y="647699"/>
                    </a:lnTo>
                    <a:lnTo>
                      <a:pt x="1275168" y="644071"/>
                    </a:lnTo>
                    <a:close/>
                  </a:path>
                  <a:path w="3439795" h="1447800">
                    <a:moveTo>
                      <a:pt x="1269613" y="622299"/>
                    </a:moveTo>
                    <a:lnTo>
                      <a:pt x="1275168" y="644071"/>
                    </a:lnTo>
                    <a:lnTo>
                      <a:pt x="1278254" y="647699"/>
                    </a:lnTo>
                    <a:lnTo>
                      <a:pt x="1279694" y="639233"/>
                    </a:lnTo>
                    <a:lnTo>
                      <a:pt x="1276813" y="630766"/>
                    </a:lnTo>
                    <a:lnTo>
                      <a:pt x="1269613" y="622299"/>
                    </a:lnTo>
                    <a:close/>
                  </a:path>
                  <a:path w="3439795" h="1447800">
                    <a:moveTo>
                      <a:pt x="1279694" y="639233"/>
                    </a:moveTo>
                    <a:lnTo>
                      <a:pt x="1278254" y="647699"/>
                    </a:lnTo>
                    <a:lnTo>
                      <a:pt x="1282574" y="647699"/>
                    </a:lnTo>
                    <a:lnTo>
                      <a:pt x="1279694" y="639233"/>
                    </a:lnTo>
                    <a:close/>
                  </a:path>
                  <a:path w="3439795" h="1447800">
                    <a:moveTo>
                      <a:pt x="1282574" y="622299"/>
                    </a:moveTo>
                    <a:lnTo>
                      <a:pt x="1273933" y="622299"/>
                    </a:lnTo>
                    <a:lnTo>
                      <a:pt x="1276813" y="630766"/>
                    </a:lnTo>
                    <a:lnTo>
                      <a:pt x="1280414" y="634999"/>
                    </a:lnTo>
                    <a:lnTo>
                      <a:pt x="1279694" y="639233"/>
                    </a:lnTo>
                    <a:lnTo>
                      <a:pt x="1282574" y="647699"/>
                    </a:lnTo>
                    <a:lnTo>
                      <a:pt x="1289055" y="634999"/>
                    </a:lnTo>
                    <a:lnTo>
                      <a:pt x="1282574" y="622299"/>
                    </a:lnTo>
                    <a:close/>
                  </a:path>
                  <a:path w="3439795" h="1447800">
                    <a:moveTo>
                      <a:pt x="1394815" y="622299"/>
                    </a:moveTo>
                    <a:lnTo>
                      <a:pt x="1381854" y="634999"/>
                    </a:lnTo>
                    <a:lnTo>
                      <a:pt x="1390495" y="647699"/>
                    </a:lnTo>
                    <a:lnTo>
                      <a:pt x="1392655" y="647699"/>
                    </a:lnTo>
                    <a:lnTo>
                      <a:pt x="1395895" y="634999"/>
                    </a:lnTo>
                    <a:lnTo>
                      <a:pt x="1384014" y="634999"/>
                    </a:lnTo>
                    <a:lnTo>
                      <a:pt x="1394815" y="622299"/>
                    </a:lnTo>
                    <a:close/>
                  </a:path>
                  <a:path w="3439795" h="1447800">
                    <a:moveTo>
                      <a:pt x="1397696" y="627944"/>
                    </a:moveTo>
                    <a:lnTo>
                      <a:pt x="1392655" y="647699"/>
                    </a:lnTo>
                    <a:lnTo>
                      <a:pt x="1401296" y="634999"/>
                    </a:lnTo>
                    <a:lnTo>
                      <a:pt x="1397696" y="627944"/>
                    </a:lnTo>
                    <a:close/>
                  </a:path>
                  <a:path w="3439795" h="1447800">
                    <a:moveTo>
                      <a:pt x="1399136" y="622299"/>
                    </a:moveTo>
                    <a:lnTo>
                      <a:pt x="1397696" y="627944"/>
                    </a:lnTo>
                    <a:lnTo>
                      <a:pt x="1401296" y="634999"/>
                    </a:lnTo>
                    <a:lnTo>
                      <a:pt x="1392655" y="647699"/>
                    </a:lnTo>
                    <a:lnTo>
                      <a:pt x="1403456" y="647699"/>
                    </a:lnTo>
                    <a:lnTo>
                      <a:pt x="1409937" y="634999"/>
                    </a:lnTo>
                    <a:lnTo>
                      <a:pt x="1399136" y="622299"/>
                    </a:lnTo>
                    <a:close/>
                  </a:path>
                  <a:path w="3439795" h="1447800">
                    <a:moveTo>
                      <a:pt x="1438020" y="634999"/>
                    </a:moveTo>
                    <a:lnTo>
                      <a:pt x="1435859" y="647699"/>
                    </a:lnTo>
                    <a:lnTo>
                      <a:pt x="1438020" y="647699"/>
                    </a:lnTo>
                    <a:lnTo>
                      <a:pt x="1438020" y="634999"/>
                    </a:lnTo>
                    <a:close/>
                  </a:path>
                  <a:path w="3439795" h="1447800">
                    <a:moveTo>
                      <a:pt x="1438020" y="634999"/>
                    </a:moveTo>
                    <a:lnTo>
                      <a:pt x="1450981" y="647699"/>
                    </a:lnTo>
                    <a:lnTo>
                      <a:pt x="1453141" y="647699"/>
                    </a:lnTo>
                    <a:lnTo>
                      <a:pt x="1438020" y="634999"/>
                    </a:lnTo>
                    <a:close/>
                  </a:path>
                  <a:path w="3439795" h="1447800">
                    <a:moveTo>
                      <a:pt x="1440180" y="634999"/>
                    </a:moveTo>
                    <a:lnTo>
                      <a:pt x="1438020" y="634999"/>
                    </a:lnTo>
                    <a:lnTo>
                      <a:pt x="1453141" y="647699"/>
                    </a:lnTo>
                    <a:lnTo>
                      <a:pt x="1448821" y="641349"/>
                    </a:lnTo>
                    <a:lnTo>
                      <a:pt x="1440180" y="634999"/>
                    </a:lnTo>
                    <a:close/>
                  </a:path>
                  <a:path w="3439795" h="1447800">
                    <a:moveTo>
                      <a:pt x="1448821" y="641349"/>
                    </a:moveTo>
                    <a:lnTo>
                      <a:pt x="1453141" y="647699"/>
                    </a:lnTo>
                    <a:lnTo>
                      <a:pt x="1455301" y="647699"/>
                    </a:lnTo>
                    <a:lnTo>
                      <a:pt x="1454803" y="645746"/>
                    </a:lnTo>
                    <a:lnTo>
                      <a:pt x="1448821" y="641349"/>
                    </a:lnTo>
                    <a:close/>
                  </a:path>
                  <a:path w="3439795" h="1447800">
                    <a:moveTo>
                      <a:pt x="1454803" y="645746"/>
                    </a:moveTo>
                    <a:lnTo>
                      <a:pt x="1455301" y="647699"/>
                    </a:lnTo>
                    <a:lnTo>
                      <a:pt x="1456132" y="646723"/>
                    </a:lnTo>
                    <a:lnTo>
                      <a:pt x="1454803" y="645746"/>
                    </a:lnTo>
                    <a:close/>
                  </a:path>
                  <a:path w="3439795" h="1447800">
                    <a:moveTo>
                      <a:pt x="1456132" y="646723"/>
                    </a:moveTo>
                    <a:lnTo>
                      <a:pt x="1455301" y="647699"/>
                    </a:lnTo>
                    <a:lnTo>
                      <a:pt x="1457462" y="647699"/>
                    </a:lnTo>
                    <a:lnTo>
                      <a:pt x="1456132" y="646723"/>
                    </a:lnTo>
                    <a:close/>
                  </a:path>
                  <a:path w="3439795" h="1447800">
                    <a:moveTo>
                      <a:pt x="1456201" y="646641"/>
                    </a:moveTo>
                    <a:lnTo>
                      <a:pt x="1457462" y="647699"/>
                    </a:lnTo>
                    <a:lnTo>
                      <a:pt x="1456201" y="646641"/>
                    </a:lnTo>
                    <a:close/>
                  </a:path>
                  <a:path w="3439795" h="1447800">
                    <a:moveTo>
                      <a:pt x="1458002" y="644524"/>
                    </a:moveTo>
                    <a:lnTo>
                      <a:pt x="1456201" y="646641"/>
                    </a:lnTo>
                    <a:lnTo>
                      <a:pt x="1457462" y="647699"/>
                    </a:lnTo>
                    <a:lnTo>
                      <a:pt x="1458002" y="644524"/>
                    </a:lnTo>
                    <a:close/>
                  </a:path>
                  <a:path w="3439795" h="1447800">
                    <a:moveTo>
                      <a:pt x="1694905" y="634999"/>
                    </a:moveTo>
                    <a:lnTo>
                      <a:pt x="1694905" y="647699"/>
                    </a:lnTo>
                    <a:lnTo>
                      <a:pt x="1697374" y="645885"/>
                    </a:lnTo>
                    <a:lnTo>
                      <a:pt x="1698686" y="638174"/>
                    </a:lnTo>
                    <a:lnTo>
                      <a:pt x="1694905" y="634999"/>
                    </a:lnTo>
                    <a:close/>
                  </a:path>
                  <a:path w="3439795" h="1447800">
                    <a:moveTo>
                      <a:pt x="1698362" y="645159"/>
                    </a:moveTo>
                    <a:lnTo>
                      <a:pt x="1697374" y="645885"/>
                    </a:lnTo>
                    <a:lnTo>
                      <a:pt x="1697066" y="647699"/>
                    </a:lnTo>
                    <a:lnTo>
                      <a:pt x="1698362" y="645159"/>
                    </a:lnTo>
                    <a:close/>
                  </a:path>
                  <a:path w="3439795" h="1447800">
                    <a:moveTo>
                      <a:pt x="1707003" y="645159"/>
                    </a:moveTo>
                    <a:lnTo>
                      <a:pt x="1707867" y="647699"/>
                    </a:lnTo>
                    <a:lnTo>
                      <a:pt x="1708347" y="646288"/>
                    </a:lnTo>
                    <a:lnTo>
                      <a:pt x="1707003" y="645159"/>
                    </a:lnTo>
                    <a:close/>
                  </a:path>
                  <a:path w="3439795" h="1447800">
                    <a:moveTo>
                      <a:pt x="1708347" y="646288"/>
                    </a:moveTo>
                    <a:lnTo>
                      <a:pt x="1707867" y="647699"/>
                    </a:lnTo>
                    <a:lnTo>
                      <a:pt x="1710027" y="647699"/>
                    </a:lnTo>
                    <a:lnTo>
                      <a:pt x="1708347" y="646288"/>
                    </a:lnTo>
                    <a:close/>
                  </a:path>
                  <a:path w="3439795" h="1447800">
                    <a:moveTo>
                      <a:pt x="1712187" y="634999"/>
                    </a:moveTo>
                    <a:lnTo>
                      <a:pt x="1708347" y="646288"/>
                    </a:lnTo>
                    <a:lnTo>
                      <a:pt x="1710027" y="647699"/>
                    </a:lnTo>
                    <a:lnTo>
                      <a:pt x="1712187" y="634999"/>
                    </a:lnTo>
                    <a:close/>
                  </a:path>
                  <a:path w="3439795" h="1447800">
                    <a:moveTo>
                      <a:pt x="1712187" y="634999"/>
                    </a:moveTo>
                    <a:lnTo>
                      <a:pt x="1712187" y="647699"/>
                    </a:lnTo>
                    <a:lnTo>
                      <a:pt x="1714347" y="647699"/>
                    </a:lnTo>
                    <a:lnTo>
                      <a:pt x="1712187" y="634999"/>
                    </a:lnTo>
                    <a:close/>
                  </a:path>
                  <a:path w="3439795" h="1447800">
                    <a:moveTo>
                      <a:pt x="1856922" y="596899"/>
                    </a:moveTo>
                    <a:lnTo>
                      <a:pt x="1848281" y="622299"/>
                    </a:lnTo>
                    <a:lnTo>
                      <a:pt x="1833159" y="634999"/>
                    </a:lnTo>
                    <a:lnTo>
                      <a:pt x="1846120" y="647699"/>
                    </a:lnTo>
                    <a:lnTo>
                      <a:pt x="1852601" y="622299"/>
                    </a:lnTo>
                    <a:lnTo>
                      <a:pt x="1859082" y="622299"/>
                    </a:lnTo>
                    <a:lnTo>
                      <a:pt x="1865562" y="609599"/>
                    </a:lnTo>
                    <a:lnTo>
                      <a:pt x="1867723" y="609599"/>
                    </a:lnTo>
                    <a:lnTo>
                      <a:pt x="1856922" y="596899"/>
                    </a:lnTo>
                    <a:close/>
                  </a:path>
                  <a:path w="3439795" h="1447800">
                    <a:moveTo>
                      <a:pt x="1859082" y="622299"/>
                    </a:moveTo>
                    <a:lnTo>
                      <a:pt x="1852601" y="622299"/>
                    </a:lnTo>
                    <a:lnTo>
                      <a:pt x="1846120" y="647699"/>
                    </a:lnTo>
                    <a:lnTo>
                      <a:pt x="1854761" y="647699"/>
                    </a:lnTo>
                    <a:lnTo>
                      <a:pt x="1859082" y="622299"/>
                    </a:lnTo>
                    <a:close/>
                  </a:path>
                  <a:path w="3439795" h="1447800">
                    <a:moveTo>
                      <a:pt x="1859082" y="622299"/>
                    </a:moveTo>
                    <a:lnTo>
                      <a:pt x="1854761" y="647699"/>
                    </a:lnTo>
                    <a:lnTo>
                      <a:pt x="1887075" y="647699"/>
                    </a:lnTo>
                    <a:lnTo>
                      <a:pt x="1887075" y="634999"/>
                    </a:lnTo>
                    <a:lnTo>
                      <a:pt x="1869883" y="634999"/>
                    </a:lnTo>
                    <a:lnTo>
                      <a:pt x="1859082" y="622299"/>
                    </a:lnTo>
                    <a:close/>
                  </a:path>
                  <a:path w="3439795" h="1447800">
                    <a:moveTo>
                      <a:pt x="1874723" y="628887"/>
                    </a:moveTo>
                    <a:lnTo>
                      <a:pt x="1874203" y="634999"/>
                    </a:lnTo>
                    <a:lnTo>
                      <a:pt x="1887075" y="634999"/>
                    </a:lnTo>
                    <a:lnTo>
                      <a:pt x="1887075" y="647699"/>
                    </a:lnTo>
                    <a:lnTo>
                      <a:pt x="1889235" y="634999"/>
                    </a:lnTo>
                    <a:lnTo>
                      <a:pt x="1874723" y="628887"/>
                    </a:lnTo>
                    <a:close/>
                  </a:path>
                  <a:path w="3439795" h="1447800">
                    <a:moveTo>
                      <a:pt x="1891395" y="609599"/>
                    </a:moveTo>
                    <a:lnTo>
                      <a:pt x="1876364" y="609599"/>
                    </a:lnTo>
                    <a:lnTo>
                      <a:pt x="1874723" y="628887"/>
                    </a:lnTo>
                    <a:lnTo>
                      <a:pt x="1889235" y="634999"/>
                    </a:lnTo>
                    <a:lnTo>
                      <a:pt x="1887075" y="647699"/>
                    </a:lnTo>
                    <a:lnTo>
                      <a:pt x="1902196" y="647699"/>
                    </a:lnTo>
                    <a:lnTo>
                      <a:pt x="1897876" y="634999"/>
                    </a:lnTo>
                    <a:lnTo>
                      <a:pt x="1891395" y="634999"/>
                    </a:lnTo>
                    <a:lnTo>
                      <a:pt x="1891395" y="609599"/>
                    </a:lnTo>
                    <a:close/>
                  </a:path>
                  <a:path w="3439795" h="1447800">
                    <a:moveTo>
                      <a:pt x="1902196" y="634999"/>
                    </a:moveTo>
                    <a:lnTo>
                      <a:pt x="1897876" y="634999"/>
                    </a:lnTo>
                    <a:lnTo>
                      <a:pt x="1902196" y="647699"/>
                    </a:lnTo>
                    <a:lnTo>
                      <a:pt x="1902196" y="634999"/>
                    </a:lnTo>
                    <a:close/>
                  </a:path>
                  <a:path w="3439795" h="1447800">
                    <a:moveTo>
                      <a:pt x="1906517" y="609599"/>
                    </a:moveTo>
                    <a:lnTo>
                      <a:pt x="1891395" y="609599"/>
                    </a:lnTo>
                    <a:lnTo>
                      <a:pt x="1891395" y="634999"/>
                    </a:lnTo>
                    <a:lnTo>
                      <a:pt x="1902196" y="634999"/>
                    </a:lnTo>
                    <a:lnTo>
                      <a:pt x="1902196" y="647699"/>
                    </a:lnTo>
                    <a:lnTo>
                      <a:pt x="1910837" y="647699"/>
                    </a:lnTo>
                    <a:lnTo>
                      <a:pt x="1906517" y="634999"/>
                    </a:lnTo>
                    <a:lnTo>
                      <a:pt x="1906517" y="622299"/>
                    </a:lnTo>
                    <a:lnTo>
                      <a:pt x="1912997" y="622299"/>
                    </a:lnTo>
                    <a:lnTo>
                      <a:pt x="1906517" y="609599"/>
                    </a:lnTo>
                    <a:close/>
                  </a:path>
                  <a:path w="3439795" h="1447800">
                    <a:moveTo>
                      <a:pt x="1906517" y="634999"/>
                    </a:moveTo>
                    <a:lnTo>
                      <a:pt x="1910837" y="647699"/>
                    </a:lnTo>
                    <a:lnTo>
                      <a:pt x="1912997" y="647699"/>
                    </a:lnTo>
                    <a:lnTo>
                      <a:pt x="1906517" y="634999"/>
                    </a:lnTo>
                    <a:close/>
                  </a:path>
                  <a:path w="3439795" h="1447800">
                    <a:moveTo>
                      <a:pt x="1912997" y="622299"/>
                    </a:moveTo>
                    <a:lnTo>
                      <a:pt x="1908677" y="622299"/>
                    </a:lnTo>
                    <a:lnTo>
                      <a:pt x="1906517" y="634999"/>
                    </a:lnTo>
                    <a:lnTo>
                      <a:pt x="1912997" y="647699"/>
                    </a:lnTo>
                    <a:lnTo>
                      <a:pt x="1925958" y="647699"/>
                    </a:lnTo>
                    <a:lnTo>
                      <a:pt x="1922718" y="634999"/>
                    </a:lnTo>
                    <a:lnTo>
                      <a:pt x="1910837" y="634999"/>
                    </a:lnTo>
                    <a:lnTo>
                      <a:pt x="1912997" y="622299"/>
                    </a:lnTo>
                    <a:close/>
                  </a:path>
                  <a:path w="3439795" h="1447800">
                    <a:moveTo>
                      <a:pt x="1923798" y="622299"/>
                    </a:moveTo>
                    <a:lnTo>
                      <a:pt x="1919478" y="622299"/>
                    </a:lnTo>
                    <a:lnTo>
                      <a:pt x="1925958" y="647699"/>
                    </a:lnTo>
                    <a:lnTo>
                      <a:pt x="1923798" y="622299"/>
                    </a:lnTo>
                    <a:close/>
                  </a:path>
                  <a:path w="3439795" h="1447800">
                    <a:moveTo>
                      <a:pt x="1923798" y="622299"/>
                    </a:moveTo>
                    <a:lnTo>
                      <a:pt x="1925958" y="647699"/>
                    </a:lnTo>
                    <a:lnTo>
                      <a:pt x="1932439" y="647699"/>
                    </a:lnTo>
                    <a:lnTo>
                      <a:pt x="1923798" y="622299"/>
                    </a:lnTo>
                    <a:close/>
                  </a:path>
                  <a:path w="3439795" h="1447800">
                    <a:moveTo>
                      <a:pt x="1925958" y="622299"/>
                    </a:moveTo>
                    <a:lnTo>
                      <a:pt x="1923798" y="622299"/>
                    </a:lnTo>
                    <a:lnTo>
                      <a:pt x="1932439" y="647699"/>
                    </a:lnTo>
                    <a:lnTo>
                      <a:pt x="1934599" y="634999"/>
                    </a:lnTo>
                    <a:lnTo>
                      <a:pt x="1925958" y="622299"/>
                    </a:lnTo>
                    <a:close/>
                  </a:path>
                  <a:path w="3439795" h="1447800">
                    <a:moveTo>
                      <a:pt x="1454712" y="645390"/>
                    </a:moveTo>
                    <a:lnTo>
                      <a:pt x="1454803" y="645746"/>
                    </a:lnTo>
                    <a:lnTo>
                      <a:pt x="1456132" y="646723"/>
                    </a:lnTo>
                    <a:lnTo>
                      <a:pt x="1454712" y="645390"/>
                    </a:lnTo>
                    <a:close/>
                  </a:path>
                  <a:path w="3439795" h="1447800">
                    <a:moveTo>
                      <a:pt x="1448821" y="622299"/>
                    </a:moveTo>
                    <a:lnTo>
                      <a:pt x="1454712" y="645390"/>
                    </a:lnTo>
                    <a:lnTo>
                      <a:pt x="1456201" y="646641"/>
                    </a:lnTo>
                    <a:lnTo>
                      <a:pt x="1458002" y="644524"/>
                    </a:lnTo>
                    <a:lnTo>
                      <a:pt x="1459622" y="634999"/>
                    </a:lnTo>
                    <a:lnTo>
                      <a:pt x="1448821" y="622299"/>
                    </a:lnTo>
                    <a:close/>
                  </a:path>
                  <a:path w="3439795" h="1447800">
                    <a:moveTo>
                      <a:pt x="1712187" y="634999"/>
                    </a:moveTo>
                    <a:lnTo>
                      <a:pt x="1705706" y="639762"/>
                    </a:lnTo>
                    <a:lnTo>
                      <a:pt x="1705706" y="641349"/>
                    </a:lnTo>
                    <a:lnTo>
                      <a:pt x="1707003" y="645159"/>
                    </a:lnTo>
                    <a:lnTo>
                      <a:pt x="1708347" y="646288"/>
                    </a:lnTo>
                    <a:lnTo>
                      <a:pt x="1712187" y="634999"/>
                    </a:lnTo>
                    <a:close/>
                  </a:path>
                  <a:path w="3439795" h="1447800">
                    <a:moveTo>
                      <a:pt x="1698686" y="638174"/>
                    </a:moveTo>
                    <a:lnTo>
                      <a:pt x="1697374" y="645885"/>
                    </a:lnTo>
                    <a:lnTo>
                      <a:pt x="1698362" y="645159"/>
                    </a:lnTo>
                    <a:lnTo>
                      <a:pt x="1700954" y="640079"/>
                    </a:lnTo>
                    <a:lnTo>
                      <a:pt x="1698686" y="638174"/>
                    </a:lnTo>
                    <a:close/>
                  </a:path>
                  <a:path w="3439795" h="1447800">
                    <a:moveTo>
                      <a:pt x="1267452" y="634999"/>
                    </a:moveTo>
                    <a:lnTo>
                      <a:pt x="1262823" y="636360"/>
                    </a:lnTo>
                    <a:lnTo>
                      <a:pt x="1275595" y="645746"/>
                    </a:lnTo>
                    <a:lnTo>
                      <a:pt x="1275168" y="644071"/>
                    </a:lnTo>
                    <a:lnTo>
                      <a:pt x="1267452" y="634999"/>
                    </a:lnTo>
                    <a:close/>
                  </a:path>
                  <a:path w="3439795" h="1447800">
                    <a:moveTo>
                      <a:pt x="1447381" y="639233"/>
                    </a:moveTo>
                    <a:lnTo>
                      <a:pt x="1448821" y="641349"/>
                    </a:lnTo>
                    <a:lnTo>
                      <a:pt x="1454803" y="645746"/>
                    </a:lnTo>
                    <a:lnTo>
                      <a:pt x="1454712" y="645390"/>
                    </a:lnTo>
                    <a:lnTo>
                      <a:pt x="1447381" y="639233"/>
                    </a:lnTo>
                    <a:close/>
                  </a:path>
                  <a:path w="3439795" h="1447800">
                    <a:moveTo>
                      <a:pt x="1452061" y="634999"/>
                    </a:moveTo>
                    <a:lnTo>
                      <a:pt x="1444500" y="634999"/>
                    </a:lnTo>
                    <a:lnTo>
                      <a:pt x="1447381" y="639233"/>
                    </a:lnTo>
                    <a:lnTo>
                      <a:pt x="1454712" y="645390"/>
                    </a:lnTo>
                    <a:lnTo>
                      <a:pt x="1452061" y="634999"/>
                    </a:lnTo>
                    <a:close/>
                  </a:path>
                  <a:path w="3439795" h="1447800">
                    <a:moveTo>
                      <a:pt x="1700954" y="640079"/>
                    </a:moveTo>
                    <a:lnTo>
                      <a:pt x="1698362" y="645159"/>
                    </a:lnTo>
                    <a:lnTo>
                      <a:pt x="1702970" y="641773"/>
                    </a:lnTo>
                    <a:lnTo>
                      <a:pt x="1700954" y="640079"/>
                    </a:lnTo>
                    <a:close/>
                  </a:path>
                  <a:path w="3439795" h="1447800">
                    <a:moveTo>
                      <a:pt x="1705706" y="641349"/>
                    </a:moveTo>
                    <a:lnTo>
                      <a:pt x="1705706" y="644071"/>
                    </a:lnTo>
                    <a:lnTo>
                      <a:pt x="1707003" y="645159"/>
                    </a:lnTo>
                    <a:lnTo>
                      <a:pt x="1705706" y="641349"/>
                    </a:lnTo>
                    <a:close/>
                  </a:path>
                  <a:path w="3439795" h="1447800">
                    <a:moveTo>
                      <a:pt x="1457462" y="622299"/>
                    </a:moveTo>
                    <a:lnTo>
                      <a:pt x="1448821" y="622299"/>
                    </a:lnTo>
                    <a:lnTo>
                      <a:pt x="1459622" y="634999"/>
                    </a:lnTo>
                    <a:lnTo>
                      <a:pt x="1458002" y="644524"/>
                    </a:lnTo>
                    <a:lnTo>
                      <a:pt x="1466102" y="634999"/>
                    </a:lnTo>
                    <a:lnTo>
                      <a:pt x="1468263" y="634999"/>
                    </a:lnTo>
                    <a:lnTo>
                      <a:pt x="1457462" y="622299"/>
                    </a:lnTo>
                    <a:close/>
                  </a:path>
                  <a:path w="3439795" h="1447800">
                    <a:moveTo>
                      <a:pt x="1269613" y="622299"/>
                    </a:moveTo>
                    <a:lnTo>
                      <a:pt x="1265292" y="634999"/>
                    </a:lnTo>
                    <a:lnTo>
                      <a:pt x="1267452" y="634999"/>
                    </a:lnTo>
                    <a:lnTo>
                      <a:pt x="1275168" y="644071"/>
                    </a:lnTo>
                    <a:lnTo>
                      <a:pt x="1269613" y="622299"/>
                    </a:lnTo>
                    <a:close/>
                  </a:path>
                  <a:path w="3439795" h="1447800">
                    <a:moveTo>
                      <a:pt x="1705274" y="640079"/>
                    </a:moveTo>
                    <a:lnTo>
                      <a:pt x="1702970" y="641773"/>
                    </a:lnTo>
                    <a:lnTo>
                      <a:pt x="1705706" y="644071"/>
                    </a:lnTo>
                    <a:lnTo>
                      <a:pt x="1705706" y="641349"/>
                    </a:lnTo>
                    <a:lnTo>
                      <a:pt x="1705274" y="640079"/>
                    </a:lnTo>
                    <a:close/>
                  </a:path>
                  <a:path w="3439795" h="1447800">
                    <a:moveTo>
                      <a:pt x="1703546" y="634999"/>
                    </a:moveTo>
                    <a:lnTo>
                      <a:pt x="1700954" y="640079"/>
                    </a:lnTo>
                    <a:lnTo>
                      <a:pt x="1702970" y="641773"/>
                    </a:lnTo>
                    <a:lnTo>
                      <a:pt x="1705274" y="640079"/>
                    </a:lnTo>
                    <a:lnTo>
                      <a:pt x="1703546" y="634999"/>
                    </a:lnTo>
                    <a:close/>
                  </a:path>
                  <a:path w="3439795" h="1447800">
                    <a:moveTo>
                      <a:pt x="1442340" y="634999"/>
                    </a:moveTo>
                    <a:lnTo>
                      <a:pt x="1440180" y="634999"/>
                    </a:lnTo>
                    <a:lnTo>
                      <a:pt x="1448821" y="641349"/>
                    </a:lnTo>
                    <a:lnTo>
                      <a:pt x="1447381" y="639233"/>
                    </a:lnTo>
                    <a:lnTo>
                      <a:pt x="1442340" y="634999"/>
                    </a:lnTo>
                    <a:close/>
                  </a:path>
                  <a:path w="3439795" h="1447800">
                    <a:moveTo>
                      <a:pt x="1705706" y="639762"/>
                    </a:moveTo>
                    <a:lnTo>
                      <a:pt x="1705274" y="640079"/>
                    </a:lnTo>
                    <a:lnTo>
                      <a:pt x="1705706" y="641349"/>
                    </a:lnTo>
                    <a:lnTo>
                      <a:pt x="1705706" y="639762"/>
                    </a:lnTo>
                    <a:close/>
                  </a:path>
                  <a:path w="3439795" h="1447800">
                    <a:moveTo>
                      <a:pt x="1699226" y="622299"/>
                    </a:moveTo>
                    <a:lnTo>
                      <a:pt x="1697066" y="634999"/>
                    </a:lnTo>
                    <a:lnTo>
                      <a:pt x="1699226" y="634999"/>
                    </a:lnTo>
                    <a:lnTo>
                      <a:pt x="1698686" y="638174"/>
                    </a:lnTo>
                    <a:lnTo>
                      <a:pt x="1700954" y="640079"/>
                    </a:lnTo>
                    <a:lnTo>
                      <a:pt x="1703546" y="634999"/>
                    </a:lnTo>
                    <a:lnTo>
                      <a:pt x="1699226" y="622299"/>
                    </a:lnTo>
                    <a:close/>
                  </a:path>
                  <a:path w="3439795" h="1447800">
                    <a:moveTo>
                      <a:pt x="1699226" y="622299"/>
                    </a:moveTo>
                    <a:lnTo>
                      <a:pt x="1705274" y="640079"/>
                    </a:lnTo>
                    <a:lnTo>
                      <a:pt x="1705706" y="639762"/>
                    </a:lnTo>
                    <a:lnTo>
                      <a:pt x="1705706" y="634999"/>
                    </a:lnTo>
                    <a:lnTo>
                      <a:pt x="1712187" y="634999"/>
                    </a:lnTo>
                    <a:lnTo>
                      <a:pt x="1699226" y="622299"/>
                    </a:lnTo>
                    <a:close/>
                  </a:path>
                  <a:path w="3439795" h="1447800">
                    <a:moveTo>
                      <a:pt x="1712187" y="634999"/>
                    </a:moveTo>
                    <a:lnTo>
                      <a:pt x="1705706" y="634999"/>
                    </a:lnTo>
                    <a:lnTo>
                      <a:pt x="1705706" y="639762"/>
                    </a:lnTo>
                    <a:lnTo>
                      <a:pt x="1712187" y="634999"/>
                    </a:lnTo>
                    <a:close/>
                  </a:path>
                  <a:path w="3439795" h="1447800">
                    <a:moveTo>
                      <a:pt x="606696" y="634999"/>
                    </a:moveTo>
                    <a:lnTo>
                      <a:pt x="604536" y="634999"/>
                    </a:lnTo>
                    <a:lnTo>
                      <a:pt x="604536" y="639233"/>
                    </a:lnTo>
                    <a:lnTo>
                      <a:pt x="606696" y="634999"/>
                    </a:lnTo>
                    <a:close/>
                  </a:path>
                  <a:path w="3439795" h="1447800">
                    <a:moveTo>
                      <a:pt x="1276813" y="630766"/>
                    </a:moveTo>
                    <a:lnTo>
                      <a:pt x="1279694" y="639233"/>
                    </a:lnTo>
                    <a:lnTo>
                      <a:pt x="1280414" y="634999"/>
                    </a:lnTo>
                    <a:lnTo>
                      <a:pt x="1276813" y="630766"/>
                    </a:lnTo>
                    <a:close/>
                  </a:path>
                  <a:path w="3439795" h="1447800">
                    <a:moveTo>
                      <a:pt x="1448821" y="622299"/>
                    </a:moveTo>
                    <a:lnTo>
                      <a:pt x="1442340" y="634999"/>
                    </a:lnTo>
                    <a:lnTo>
                      <a:pt x="1447381" y="639233"/>
                    </a:lnTo>
                    <a:lnTo>
                      <a:pt x="1444500" y="634999"/>
                    </a:lnTo>
                    <a:lnTo>
                      <a:pt x="1452061" y="634999"/>
                    </a:lnTo>
                    <a:lnTo>
                      <a:pt x="1448821" y="622299"/>
                    </a:lnTo>
                    <a:close/>
                  </a:path>
                  <a:path w="3439795" h="1447800">
                    <a:moveTo>
                      <a:pt x="1699226" y="634999"/>
                    </a:moveTo>
                    <a:lnTo>
                      <a:pt x="1694905" y="634999"/>
                    </a:lnTo>
                    <a:lnTo>
                      <a:pt x="1698686" y="638174"/>
                    </a:lnTo>
                    <a:lnTo>
                      <a:pt x="1699226" y="634999"/>
                    </a:lnTo>
                    <a:close/>
                  </a:path>
                  <a:path w="3439795" h="1447800">
                    <a:moveTo>
                      <a:pt x="1267452" y="634999"/>
                    </a:moveTo>
                    <a:lnTo>
                      <a:pt x="1260972" y="634999"/>
                    </a:lnTo>
                    <a:lnTo>
                      <a:pt x="1262823" y="636360"/>
                    </a:lnTo>
                    <a:lnTo>
                      <a:pt x="1267452" y="634999"/>
                    </a:lnTo>
                    <a:close/>
                  </a:path>
                  <a:path w="3439795" h="1447800">
                    <a:moveTo>
                      <a:pt x="654221" y="634999"/>
                    </a:moveTo>
                    <a:lnTo>
                      <a:pt x="652061" y="634999"/>
                    </a:lnTo>
                    <a:lnTo>
                      <a:pt x="652709" y="636269"/>
                    </a:lnTo>
                    <a:lnTo>
                      <a:pt x="654221" y="634999"/>
                    </a:lnTo>
                    <a:close/>
                  </a:path>
                  <a:path w="3439795" h="1447800">
                    <a:moveTo>
                      <a:pt x="405886" y="609599"/>
                    </a:moveTo>
                    <a:lnTo>
                      <a:pt x="403726" y="622299"/>
                    </a:lnTo>
                    <a:lnTo>
                      <a:pt x="418847" y="634999"/>
                    </a:lnTo>
                    <a:lnTo>
                      <a:pt x="418847" y="622299"/>
                    </a:lnTo>
                    <a:lnTo>
                      <a:pt x="405886" y="622299"/>
                    </a:lnTo>
                    <a:lnTo>
                      <a:pt x="405886" y="609599"/>
                    </a:lnTo>
                    <a:close/>
                  </a:path>
                  <a:path w="3439795" h="1447800">
                    <a:moveTo>
                      <a:pt x="416255" y="617219"/>
                    </a:moveTo>
                    <a:lnTo>
                      <a:pt x="418847" y="622299"/>
                    </a:lnTo>
                    <a:lnTo>
                      <a:pt x="418847" y="634999"/>
                    </a:lnTo>
                    <a:lnTo>
                      <a:pt x="423168" y="622299"/>
                    </a:lnTo>
                    <a:lnTo>
                      <a:pt x="421008" y="622299"/>
                    </a:lnTo>
                    <a:lnTo>
                      <a:pt x="421597" y="621145"/>
                    </a:lnTo>
                    <a:lnTo>
                      <a:pt x="416255" y="617219"/>
                    </a:lnTo>
                    <a:close/>
                  </a:path>
                  <a:path w="3439795" h="1447800">
                    <a:moveTo>
                      <a:pt x="479334" y="609599"/>
                    </a:moveTo>
                    <a:lnTo>
                      <a:pt x="470693" y="609599"/>
                    </a:lnTo>
                    <a:lnTo>
                      <a:pt x="459892" y="622299"/>
                    </a:lnTo>
                    <a:lnTo>
                      <a:pt x="464212" y="622299"/>
                    </a:lnTo>
                    <a:lnTo>
                      <a:pt x="468532" y="634999"/>
                    </a:lnTo>
                    <a:lnTo>
                      <a:pt x="479334" y="609599"/>
                    </a:lnTo>
                    <a:close/>
                  </a:path>
                  <a:path w="3439795" h="1447800">
                    <a:moveTo>
                      <a:pt x="479334" y="609599"/>
                    </a:moveTo>
                    <a:lnTo>
                      <a:pt x="468532" y="634999"/>
                    </a:lnTo>
                    <a:lnTo>
                      <a:pt x="483654" y="622299"/>
                    </a:lnTo>
                    <a:lnTo>
                      <a:pt x="479334" y="609599"/>
                    </a:lnTo>
                    <a:close/>
                  </a:path>
                  <a:path w="3439795" h="1447800">
                    <a:moveTo>
                      <a:pt x="483654" y="618066"/>
                    </a:moveTo>
                    <a:lnTo>
                      <a:pt x="483654" y="622299"/>
                    </a:lnTo>
                    <a:lnTo>
                      <a:pt x="468532" y="634999"/>
                    </a:lnTo>
                    <a:lnTo>
                      <a:pt x="470693" y="634999"/>
                    </a:lnTo>
                    <a:lnTo>
                      <a:pt x="485814" y="622299"/>
                    </a:lnTo>
                    <a:lnTo>
                      <a:pt x="483654" y="618066"/>
                    </a:lnTo>
                    <a:close/>
                  </a:path>
                  <a:path w="3439795" h="1447800">
                    <a:moveTo>
                      <a:pt x="485814" y="622299"/>
                    </a:moveTo>
                    <a:lnTo>
                      <a:pt x="470693" y="634999"/>
                    </a:lnTo>
                    <a:lnTo>
                      <a:pt x="472853" y="634999"/>
                    </a:lnTo>
                    <a:lnTo>
                      <a:pt x="485814" y="622299"/>
                    </a:lnTo>
                    <a:close/>
                  </a:path>
                  <a:path w="3439795" h="1447800">
                    <a:moveTo>
                      <a:pt x="485814" y="622299"/>
                    </a:moveTo>
                    <a:lnTo>
                      <a:pt x="472853" y="634999"/>
                    </a:lnTo>
                    <a:lnTo>
                      <a:pt x="477173" y="634999"/>
                    </a:lnTo>
                    <a:lnTo>
                      <a:pt x="485814" y="622299"/>
                    </a:lnTo>
                    <a:close/>
                  </a:path>
                  <a:path w="3439795" h="1447800">
                    <a:moveTo>
                      <a:pt x="487974" y="622299"/>
                    </a:moveTo>
                    <a:lnTo>
                      <a:pt x="485814" y="622299"/>
                    </a:lnTo>
                    <a:lnTo>
                      <a:pt x="477173" y="634999"/>
                    </a:lnTo>
                    <a:lnTo>
                      <a:pt x="487974" y="622299"/>
                    </a:lnTo>
                    <a:close/>
                  </a:path>
                  <a:path w="3439795" h="1447800">
                    <a:moveTo>
                      <a:pt x="598055" y="615949"/>
                    </a:moveTo>
                    <a:lnTo>
                      <a:pt x="591575" y="622299"/>
                    </a:lnTo>
                    <a:lnTo>
                      <a:pt x="606696" y="634999"/>
                    </a:lnTo>
                    <a:lnTo>
                      <a:pt x="608857" y="634999"/>
                    </a:lnTo>
                    <a:lnTo>
                      <a:pt x="608857" y="622299"/>
                    </a:lnTo>
                    <a:lnTo>
                      <a:pt x="598055" y="622299"/>
                    </a:lnTo>
                    <a:lnTo>
                      <a:pt x="598055" y="615949"/>
                    </a:lnTo>
                    <a:close/>
                  </a:path>
                  <a:path w="3439795" h="1447800">
                    <a:moveTo>
                      <a:pt x="630459" y="622299"/>
                    </a:moveTo>
                    <a:lnTo>
                      <a:pt x="630459" y="634999"/>
                    </a:lnTo>
                    <a:lnTo>
                      <a:pt x="632619" y="634999"/>
                    </a:lnTo>
                    <a:lnTo>
                      <a:pt x="630459" y="622299"/>
                    </a:lnTo>
                    <a:close/>
                  </a:path>
                  <a:path w="3439795" h="1447800">
                    <a:moveTo>
                      <a:pt x="643420" y="609599"/>
                    </a:moveTo>
                    <a:lnTo>
                      <a:pt x="626138" y="622299"/>
                    </a:lnTo>
                    <a:lnTo>
                      <a:pt x="630459" y="622299"/>
                    </a:lnTo>
                    <a:lnTo>
                      <a:pt x="632619" y="634999"/>
                    </a:lnTo>
                    <a:lnTo>
                      <a:pt x="645580" y="622299"/>
                    </a:lnTo>
                    <a:lnTo>
                      <a:pt x="643420" y="609599"/>
                    </a:lnTo>
                    <a:close/>
                  </a:path>
                  <a:path w="3439795" h="1447800">
                    <a:moveTo>
                      <a:pt x="647740" y="622299"/>
                    </a:moveTo>
                    <a:lnTo>
                      <a:pt x="645580" y="622299"/>
                    </a:lnTo>
                    <a:lnTo>
                      <a:pt x="632619" y="634999"/>
                    </a:lnTo>
                    <a:lnTo>
                      <a:pt x="647740" y="622299"/>
                    </a:lnTo>
                    <a:close/>
                  </a:path>
                  <a:path w="3439795" h="1447800">
                    <a:moveTo>
                      <a:pt x="1038272" y="631613"/>
                    </a:moveTo>
                    <a:lnTo>
                      <a:pt x="1038560" y="634999"/>
                    </a:lnTo>
                    <a:lnTo>
                      <a:pt x="1041309" y="633845"/>
                    </a:lnTo>
                    <a:lnTo>
                      <a:pt x="1038272" y="631613"/>
                    </a:lnTo>
                    <a:close/>
                  </a:path>
                  <a:path w="3439795" h="1447800">
                    <a:moveTo>
                      <a:pt x="1041309" y="633845"/>
                    </a:moveTo>
                    <a:lnTo>
                      <a:pt x="1038560" y="634999"/>
                    </a:lnTo>
                    <a:lnTo>
                      <a:pt x="1042880" y="634999"/>
                    </a:lnTo>
                    <a:lnTo>
                      <a:pt x="1041309" y="633845"/>
                    </a:lnTo>
                    <a:close/>
                  </a:path>
                  <a:path w="3439795" h="1447800">
                    <a:moveTo>
                      <a:pt x="1041440" y="633790"/>
                    </a:moveTo>
                    <a:lnTo>
                      <a:pt x="1041309" y="633845"/>
                    </a:lnTo>
                    <a:lnTo>
                      <a:pt x="1042880" y="634999"/>
                    </a:lnTo>
                    <a:lnTo>
                      <a:pt x="1041440" y="633790"/>
                    </a:lnTo>
                    <a:close/>
                  </a:path>
                  <a:path w="3439795" h="1447800">
                    <a:moveTo>
                      <a:pt x="1043212" y="633046"/>
                    </a:moveTo>
                    <a:lnTo>
                      <a:pt x="1041440" y="633790"/>
                    </a:lnTo>
                    <a:lnTo>
                      <a:pt x="1042880" y="634999"/>
                    </a:lnTo>
                    <a:lnTo>
                      <a:pt x="1043212" y="633046"/>
                    </a:lnTo>
                    <a:close/>
                  </a:path>
                  <a:path w="3439795" h="1447800">
                    <a:moveTo>
                      <a:pt x="1093045" y="633588"/>
                    </a:moveTo>
                    <a:lnTo>
                      <a:pt x="1092565" y="634999"/>
                    </a:lnTo>
                    <a:lnTo>
                      <a:pt x="1094725" y="634999"/>
                    </a:lnTo>
                    <a:lnTo>
                      <a:pt x="1093045" y="633588"/>
                    </a:lnTo>
                    <a:close/>
                  </a:path>
                  <a:path w="3439795" h="1447800">
                    <a:moveTo>
                      <a:pt x="1101206" y="609599"/>
                    </a:moveTo>
                    <a:lnTo>
                      <a:pt x="1093045" y="633588"/>
                    </a:lnTo>
                    <a:lnTo>
                      <a:pt x="1094725" y="634999"/>
                    </a:lnTo>
                    <a:lnTo>
                      <a:pt x="1101206" y="609599"/>
                    </a:lnTo>
                    <a:close/>
                  </a:path>
                  <a:path w="3439795" h="1447800">
                    <a:moveTo>
                      <a:pt x="1101206" y="609599"/>
                    </a:moveTo>
                    <a:lnTo>
                      <a:pt x="1094725" y="634999"/>
                    </a:lnTo>
                    <a:lnTo>
                      <a:pt x="1112007" y="634999"/>
                    </a:lnTo>
                    <a:lnTo>
                      <a:pt x="1112007" y="622299"/>
                    </a:lnTo>
                    <a:lnTo>
                      <a:pt x="1114167" y="622299"/>
                    </a:lnTo>
                    <a:lnTo>
                      <a:pt x="1101206" y="609599"/>
                    </a:lnTo>
                    <a:close/>
                  </a:path>
                  <a:path w="3439795" h="1447800">
                    <a:moveTo>
                      <a:pt x="1114167" y="622299"/>
                    </a:moveTo>
                    <a:lnTo>
                      <a:pt x="1112007" y="622299"/>
                    </a:lnTo>
                    <a:lnTo>
                      <a:pt x="1112007" y="634999"/>
                    </a:lnTo>
                    <a:lnTo>
                      <a:pt x="1114167" y="622299"/>
                    </a:lnTo>
                    <a:close/>
                  </a:path>
                  <a:path w="3439795" h="1447800">
                    <a:moveTo>
                      <a:pt x="1122808" y="622299"/>
                    </a:moveTo>
                    <a:lnTo>
                      <a:pt x="1114167" y="622299"/>
                    </a:lnTo>
                    <a:lnTo>
                      <a:pt x="1112007" y="634999"/>
                    </a:lnTo>
                    <a:lnTo>
                      <a:pt x="1122808" y="634999"/>
                    </a:lnTo>
                    <a:lnTo>
                      <a:pt x="1122808" y="622299"/>
                    </a:lnTo>
                    <a:close/>
                  </a:path>
                  <a:path w="3439795" h="1447800">
                    <a:moveTo>
                      <a:pt x="1142160" y="622299"/>
                    </a:moveTo>
                    <a:lnTo>
                      <a:pt x="1122808" y="622299"/>
                    </a:lnTo>
                    <a:lnTo>
                      <a:pt x="1122808" y="634999"/>
                    </a:lnTo>
                    <a:lnTo>
                      <a:pt x="1127128" y="634999"/>
                    </a:lnTo>
                    <a:lnTo>
                      <a:pt x="1138590" y="626533"/>
                    </a:lnTo>
                    <a:lnTo>
                      <a:pt x="1142160" y="622299"/>
                    </a:lnTo>
                    <a:close/>
                  </a:path>
                  <a:path w="3439795" h="1447800">
                    <a:moveTo>
                      <a:pt x="1138590" y="626533"/>
                    </a:moveTo>
                    <a:lnTo>
                      <a:pt x="1127128" y="634999"/>
                    </a:lnTo>
                    <a:lnTo>
                      <a:pt x="1131449" y="634999"/>
                    </a:lnTo>
                    <a:lnTo>
                      <a:pt x="1138590" y="626533"/>
                    </a:lnTo>
                    <a:close/>
                  </a:path>
                  <a:path w="3439795" h="1447800">
                    <a:moveTo>
                      <a:pt x="1141658" y="624266"/>
                    </a:moveTo>
                    <a:lnTo>
                      <a:pt x="1138590" y="626533"/>
                    </a:lnTo>
                    <a:lnTo>
                      <a:pt x="1131449" y="634999"/>
                    </a:lnTo>
                    <a:lnTo>
                      <a:pt x="1135679" y="634999"/>
                    </a:lnTo>
                    <a:lnTo>
                      <a:pt x="1140864" y="627379"/>
                    </a:lnTo>
                    <a:lnTo>
                      <a:pt x="1141658" y="624266"/>
                    </a:lnTo>
                    <a:close/>
                  </a:path>
                  <a:path w="3439795" h="1447800">
                    <a:moveTo>
                      <a:pt x="1144320" y="623569"/>
                    </a:moveTo>
                    <a:lnTo>
                      <a:pt x="1144320" y="634999"/>
                    </a:lnTo>
                    <a:lnTo>
                      <a:pt x="1163762" y="634999"/>
                    </a:lnTo>
                    <a:lnTo>
                      <a:pt x="1144320" y="623569"/>
                    </a:lnTo>
                    <a:close/>
                  </a:path>
                  <a:path w="3439795" h="1447800">
                    <a:moveTo>
                      <a:pt x="1295535" y="622299"/>
                    </a:moveTo>
                    <a:lnTo>
                      <a:pt x="1282574" y="622299"/>
                    </a:lnTo>
                    <a:lnTo>
                      <a:pt x="1289055" y="634999"/>
                    </a:lnTo>
                    <a:lnTo>
                      <a:pt x="1299856" y="634999"/>
                    </a:lnTo>
                    <a:lnTo>
                      <a:pt x="1295535" y="622299"/>
                    </a:lnTo>
                    <a:close/>
                  </a:path>
                  <a:path w="3439795" h="1447800">
                    <a:moveTo>
                      <a:pt x="1295535" y="622299"/>
                    </a:moveTo>
                    <a:lnTo>
                      <a:pt x="1299856" y="634999"/>
                    </a:lnTo>
                    <a:lnTo>
                      <a:pt x="1302016" y="634999"/>
                    </a:lnTo>
                    <a:lnTo>
                      <a:pt x="1295535" y="622299"/>
                    </a:lnTo>
                    <a:close/>
                  </a:path>
                  <a:path w="3439795" h="1447800">
                    <a:moveTo>
                      <a:pt x="1306876" y="611187"/>
                    </a:moveTo>
                    <a:lnTo>
                      <a:pt x="1295535" y="622299"/>
                    </a:lnTo>
                    <a:lnTo>
                      <a:pt x="1302016" y="634999"/>
                    </a:lnTo>
                    <a:lnTo>
                      <a:pt x="1314977" y="634999"/>
                    </a:lnTo>
                    <a:lnTo>
                      <a:pt x="1306876" y="611187"/>
                    </a:lnTo>
                    <a:close/>
                  </a:path>
                  <a:path w="3439795" h="1447800">
                    <a:moveTo>
                      <a:pt x="1308497" y="609599"/>
                    </a:moveTo>
                    <a:lnTo>
                      <a:pt x="1306876" y="611187"/>
                    </a:lnTo>
                    <a:lnTo>
                      <a:pt x="1314977" y="634999"/>
                    </a:lnTo>
                    <a:lnTo>
                      <a:pt x="1308497" y="609599"/>
                    </a:lnTo>
                    <a:close/>
                  </a:path>
                  <a:path w="3439795" h="1447800">
                    <a:moveTo>
                      <a:pt x="1319298" y="609599"/>
                    </a:moveTo>
                    <a:lnTo>
                      <a:pt x="1308497" y="609599"/>
                    </a:lnTo>
                    <a:lnTo>
                      <a:pt x="1314977" y="634999"/>
                    </a:lnTo>
                    <a:lnTo>
                      <a:pt x="1325688" y="622299"/>
                    </a:lnTo>
                    <a:lnTo>
                      <a:pt x="1327849" y="622299"/>
                    </a:lnTo>
                    <a:lnTo>
                      <a:pt x="1319298" y="609599"/>
                    </a:lnTo>
                    <a:close/>
                  </a:path>
                  <a:path w="3439795" h="1447800">
                    <a:moveTo>
                      <a:pt x="1371053" y="609599"/>
                    </a:moveTo>
                    <a:lnTo>
                      <a:pt x="1362412" y="622299"/>
                    </a:lnTo>
                    <a:lnTo>
                      <a:pt x="1373213" y="634999"/>
                    </a:lnTo>
                    <a:lnTo>
                      <a:pt x="1377534" y="634999"/>
                    </a:lnTo>
                    <a:lnTo>
                      <a:pt x="1377534" y="622299"/>
                    </a:lnTo>
                    <a:lnTo>
                      <a:pt x="1381854" y="622299"/>
                    </a:lnTo>
                    <a:lnTo>
                      <a:pt x="1371053" y="609599"/>
                    </a:lnTo>
                    <a:close/>
                  </a:path>
                  <a:path w="3439795" h="1447800">
                    <a:moveTo>
                      <a:pt x="1381854" y="622299"/>
                    </a:moveTo>
                    <a:lnTo>
                      <a:pt x="1377534" y="622299"/>
                    </a:lnTo>
                    <a:lnTo>
                      <a:pt x="1377534" y="634999"/>
                    </a:lnTo>
                    <a:lnTo>
                      <a:pt x="1381854" y="622299"/>
                    </a:lnTo>
                    <a:close/>
                  </a:path>
                  <a:path w="3439795" h="1447800">
                    <a:moveTo>
                      <a:pt x="1384014" y="622299"/>
                    </a:moveTo>
                    <a:lnTo>
                      <a:pt x="1381854" y="622299"/>
                    </a:lnTo>
                    <a:lnTo>
                      <a:pt x="1377534" y="634999"/>
                    </a:lnTo>
                    <a:lnTo>
                      <a:pt x="1384014" y="622299"/>
                    </a:lnTo>
                    <a:close/>
                  </a:path>
                  <a:path w="3439795" h="1447800">
                    <a:moveTo>
                      <a:pt x="1384014" y="622299"/>
                    </a:moveTo>
                    <a:lnTo>
                      <a:pt x="1377534" y="634999"/>
                    </a:lnTo>
                    <a:lnTo>
                      <a:pt x="1381854" y="634999"/>
                    </a:lnTo>
                    <a:lnTo>
                      <a:pt x="1384014" y="622299"/>
                    </a:lnTo>
                    <a:close/>
                  </a:path>
                  <a:path w="3439795" h="1447800">
                    <a:moveTo>
                      <a:pt x="1394815" y="622299"/>
                    </a:moveTo>
                    <a:lnTo>
                      <a:pt x="1384014" y="622299"/>
                    </a:lnTo>
                    <a:lnTo>
                      <a:pt x="1381854" y="634999"/>
                    </a:lnTo>
                    <a:lnTo>
                      <a:pt x="1394815" y="622299"/>
                    </a:lnTo>
                    <a:close/>
                  </a:path>
                  <a:path w="3439795" h="1447800">
                    <a:moveTo>
                      <a:pt x="1394815" y="622299"/>
                    </a:moveTo>
                    <a:lnTo>
                      <a:pt x="1384014" y="634999"/>
                    </a:lnTo>
                    <a:lnTo>
                      <a:pt x="1395895" y="634999"/>
                    </a:lnTo>
                    <a:lnTo>
                      <a:pt x="1397696" y="627944"/>
                    </a:lnTo>
                    <a:lnTo>
                      <a:pt x="1394815" y="622299"/>
                    </a:lnTo>
                    <a:close/>
                  </a:path>
                  <a:path w="3439795" h="1447800">
                    <a:moveTo>
                      <a:pt x="1448821" y="622299"/>
                    </a:moveTo>
                    <a:lnTo>
                      <a:pt x="1444500" y="622299"/>
                    </a:lnTo>
                    <a:lnTo>
                      <a:pt x="1442340" y="634999"/>
                    </a:lnTo>
                    <a:lnTo>
                      <a:pt x="1448821" y="622299"/>
                    </a:lnTo>
                    <a:close/>
                  </a:path>
                  <a:path w="3439795" h="1447800">
                    <a:moveTo>
                      <a:pt x="1466102" y="609599"/>
                    </a:moveTo>
                    <a:lnTo>
                      <a:pt x="1463942" y="609599"/>
                    </a:lnTo>
                    <a:lnTo>
                      <a:pt x="1457462" y="622299"/>
                    </a:lnTo>
                    <a:lnTo>
                      <a:pt x="1468263" y="634999"/>
                    </a:lnTo>
                    <a:lnTo>
                      <a:pt x="1459622" y="622299"/>
                    </a:lnTo>
                    <a:lnTo>
                      <a:pt x="1469343" y="622299"/>
                    </a:lnTo>
                    <a:lnTo>
                      <a:pt x="1466102" y="609599"/>
                    </a:lnTo>
                    <a:close/>
                  </a:path>
                  <a:path w="3439795" h="1447800">
                    <a:moveTo>
                      <a:pt x="1469343" y="622299"/>
                    </a:moveTo>
                    <a:lnTo>
                      <a:pt x="1459622" y="622299"/>
                    </a:lnTo>
                    <a:lnTo>
                      <a:pt x="1468263" y="634999"/>
                    </a:lnTo>
                    <a:lnTo>
                      <a:pt x="1471405" y="630381"/>
                    </a:lnTo>
                    <a:lnTo>
                      <a:pt x="1469343" y="622299"/>
                    </a:lnTo>
                    <a:close/>
                  </a:path>
                  <a:path w="3439795" h="1447800">
                    <a:moveTo>
                      <a:pt x="1474743" y="625474"/>
                    </a:moveTo>
                    <a:lnTo>
                      <a:pt x="1471405" y="630381"/>
                    </a:lnTo>
                    <a:lnTo>
                      <a:pt x="1472583" y="634999"/>
                    </a:lnTo>
                    <a:lnTo>
                      <a:pt x="1474743" y="630766"/>
                    </a:lnTo>
                    <a:lnTo>
                      <a:pt x="1474743" y="625474"/>
                    </a:lnTo>
                    <a:close/>
                  </a:path>
                  <a:path w="3439795" h="1447800">
                    <a:moveTo>
                      <a:pt x="1475607" y="612139"/>
                    </a:moveTo>
                    <a:lnTo>
                      <a:pt x="1479064" y="622299"/>
                    </a:lnTo>
                    <a:lnTo>
                      <a:pt x="1474743" y="630766"/>
                    </a:lnTo>
                    <a:lnTo>
                      <a:pt x="1474743" y="634999"/>
                    </a:lnTo>
                    <a:lnTo>
                      <a:pt x="1481224" y="634999"/>
                    </a:lnTo>
                    <a:lnTo>
                      <a:pt x="1487705" y="622299"/>
                    </a:lnTo>
                    <a:lnTo>
                      <a:pt x="1475607" y="612139"/>
                    </a:lnTo>
                    <a:close/>
                  </a:path>
                  <a:path w="3439795" h="1447800">
                    <a:moveTo>
                      <a:pt x="1487705" y="622299"/>
                    </a:moveTo>
                    <a:lnTo>
                      <a:pt x="1481224" y="634999"/>
                    </a:lnTo>
                    <a:lnTo>
                      <a:pt x="1485544" y="634999"/>
                    </a:lnTo>
                    <a:lnTo>
                      <a:pt x="1487705" y="622299"/>
                    </a:lnTo>
                    <a:close/>
                  </a:path>
                  <a:path w="3439795" h="1447800">
                    <a:moveTo>
                      <a:pt x="1705706" y="622299"/>
                    </a:moveTo>
                    <a:lnTo>
                      <a:pt x="1699226" y="622299"/>
                    </a:lnTo>
                    <a:lnTo>
                      <a:pt x="1712187" y="634999"/>
                    </a:lnTo>
                    <a:lnTo>
                      <a:pt x="1705706" y="622299"/>
                    </a:lnTo>
                    <a:close/>
                  </a:path>
                  <a:path w="3439795" h="1447800">
                    <a:moveTo>
                      <a:pt x="1707867" y="622299"/>
                    </a:moveTo>
                    <a:lnTo>
                      <a:pt x="1705706" y="622299"/>
                    </a:lnTo>
                    <a:lnTo>
                      <a:pt x="1712187" y="634999"/>
                    </a:lnTo>
                    <a:lnTo>
                      <a:pt x="1707867" y="622299"/>
                    </a:lnTo>
                    <a:close/>
                  </a:path>
                  <a:path w="3439795" h="1447800">
                    <a:moveTo>
                      <a:pt x="1710027" y="622299"/>
                    </a:moveTo>
                    <a:lnTo>
                      <a:pt x="1707867" y="622299"/>
                    </a:lnTo>
                    <a:lnTo>
                      <a:pt x="1712187" y="634999"/>
                    </a:lnTo>
                    <a:lnTo>
                      <a:pt x="1718668" y="634999"/>
                    </a:lnTo>
                    <a:lnTo>
                      <a:pt x="1710027" y="622299"/>
                    </a:lnTo>
                    <a:close/>
                  </a:path>
                  <a:path w="3439795" h="1447800">
                    <a:moveTo>
                      <a:pt x="1710027" y="622299"/>
                    </a:moveTo>
                    <a:lnTo>
                      <a:pt x="1718668" y="634999"/>
                    </a:lnTo>
                    <a:lnTo>
                      <a:pt x="1715427" y="628649"/>
                    </a:lnTo>
                    <a:lnTo>
                      <a:pt x="1710027" y="622299"/>
                    </a:lnTo>
                    <a:close/>
                  </a:path>
                  <a:path w="3439795" h="1447800">
                    <a:moveTo>
                      <a:pt x="1715427" y="628649"/>
                    </a:moveTo>
                    <a:lnTo>
                      <a:pt x="1718668" y="634999"/>
                    </a:lnTo>
                    <a:lnTo>
                      <a:pt x="1720828" y="634999"/>
                    </a:lnTo>
                    <a:lnTo>
                      <a:pt x="1715427" y="628649"/>
                    </a:lnTo>
                    <a:close/>
                  </a:path>
                  <a:path w="3439795" h="1447800">
                    <a:moveTo>
                      <a:pt x="1712187" y="622299"/>
                    </a:moveTo>
                    <a:lnTo>
                      <a:pt x="1715443" y="628668"/>
                    </a:lnTo>
                    <a:lnTo>
                      <a:pt x="1720828" y="634999"/>
                    </a:lnTo>
                    <a:lnTo>
                      <a:pt x="1712187" y="622299"/>
                    </a:lnTo>
                    <a:close/>
                  </a:path>
                  <a:path w="3439795" h="1447800">
                    <a:moveTo>
                      <a:pt x="1712187" y="622299"/>
                    </a:moveTo>
                    <a:lnTo>
                      <a:pt x="1720828" y="634999"/>
                    </a:lnTo>
                    <a:lnTo>
                      <a:pt x="1725148" y="634999"/>
                    </a:lnTo>
                    <a:lnTo>
                      <a:pt x="1712187" y="622299"/>
                    </a:lnTo>
                    <a:close/>
                  </a:path>
                  <a:path w="3439795" h="1447800">
                    <a:moveTo>
                      <a:pt x="1720828" y="622299"/>
                    </a:moveTo>
                    <a:lnTo>
                      <a:pt x="1712187" y="622299"/>
                    </a:lnTo>
                    <a:lnTo>
                      <a:pt x="1725148" y="634999"/>
                    </a:lnTo>
                    <a:lnTo>
                      <a:pt x="1720828" y="622299"/>
                    </a:lnTo>
                    <a:close/>
                  </a:path>
                  <a:path w="3439795" h="1447800">
                    <a:moveTo>
                      <a:pt x="1725148" y="609599"/>
                    </a:moveTo>
                    <a:lnTo>
                      <a:pt x="1720828" y="622299"/>
                    </a:lnTo>
                    <a:lnTo>
                      <a:pt x="1725148" y="634999"/>
                    </a:lnTo>
                    <a:lnTo>
                      <a:pt x="1725148" y="622299"/>
                    </a:lnTo>
                    <a:lnTo>
                      <a:pt x="1730549" y="622299"/>
                    </a:lnTo>
                    <a:lnTo>
                      <a:pt x="1725148" y="609599"/>
                    </a:lnTo>
                    <a:close/>
                  </a:path>
                  <a:path w="3439795" h="1447800">
                    <a:moveTo>
                      <a:pt x="1730549" y="622299"/>
                    </a:moveTo>
                    <a:lnTo>
                      <a:pt x="1725148" y="622299"/>
                    </a:lnTo>
                    <a:lnTo>
                      <a:pt x="1725148" y="634999"/>
                    </a:lnTo>
                    <a:lnTo>
                      <a:pt x="1735949" y="634999"/>
                    </a:lnTo>
                    <a:lnTo>
                      <a:pt x="1730549" y="622299"/>
                    </a:lnTo>
                    <a:close/>
                  </a:path>
                  <a:path w="3439795" h="1447800">
                    <a:moveTo>
                      <a:pt x="1735949" y="609599"/>
                    </a:moveTo>
                    <a:lnTo>
                      <a:pt x="1725148" y="609599"/>
                    </a:lnTo>
                    <a:lnTo>
                      <a:pt x="1735949" y="634999"/>
                    </a:lnTo>
                    <a:lnTo>
                      <a:pt x="1746751" y="622299"/>
                    </a:lnTo>
                    <a:lnTo>
                      <a:pt x="1735949" y="609599"/>
                    </a:lnTo>
                    <a:close/>
                  </a:path>
                  <a:path w="3439795" h="1447800">
                    <a:moveTo>
                      <a:pt x="1835319" y="609599"/>
                    </a:moveTo>
                    <a:lnTo>
                      <a:pt x="1826679" y="622299"/>
                    </a:lnTo>
                    <a:lnTo>
                      <a:pt x="1828839" y="634999"/>
                    </a:lnTo>
                    <a:lnTo>
                      <a:pt x="1843960" y="622299"/>
                    </a:lnTo>
                    <a:lnTo>
                      <a:pt x="1830999" y="622299"/>
                    </a:lnTo>
                    <a:lnTo>
                      <a:pt x="1835319" y="609599"/>
                    </a:lnTo>
                    <a:close/>
                  </a:path>
                  <a:path w="3439795" h="1447800">
                    <a:moveTo>
                      <a:pt x="1843960" y="622299"/>
                    </a:moveTo>
                    <a:lnTo>
                      <a:pt x="1828839" y="634999"/>
                    </a:lnTo>
                    <a:lnTo>
                      <a:pt x="1840360" y="626533"/>
                    </a:lnTo>
                    <a:lnTo>
                      <a:pt x="1843960" y="622299"/>
                    </a:lnTo>
                    <a:close/>
                  </a:path>
                  <a:path w="3439795" h="1447800">
                    <a:moveTo>
                      <a:pt x="1840360" y="626533"/>
                    </a:moveTo>
                    <a:lnTo>
                      <a:pt x="1828839" y="634999"/>
                    </a:lnTo>
                    <a:lnTo>
                      <a:pt x="1833159" y="634999"/>
                    </a:lnTo>
                    <a:lnTo>
                      <a:pt x="1840360" y="626533"/>
                    </a:lnTo>
                    <a:close/>
                  </a:path>
                  <a:path w="3439795" h="1447800">
                    <a:moveTo>
                      <a:pt x="1856922" y="596899"/>
                    </a:moveTo>
                    <a:lnTo>
                      <a:pt x="1846120" y="622299"/>
                    </a:lnTo>
                    <a:lnTo>
                      <a:pt x="1840360" y="626533"/>
                    </a:lnTo>
                    <a:lnTo>
                      <a:pt x="1833159" y="634999"/>
                    </a:lnTo>
                    <a:lnTo>
                      <a:pt x="1848281" y="622299"/>
                    </a:lnTo>
                    <a:lnTo>
                      <a:pt x="1856922" y="596899"/>
                    </a:lnTo>
                    <a:close/>
                  </a:path>
                  <a:path w="3439795" h="1447800">
                    <a:moveTo>
                      <a:pt x="1859082" y="622299"/>
                    </a:moveTo>
                    <a:lnTo>
                      <a:pt x="1869883" y="634999"/>
                    </a:lnTo>
                    <a:lnTo>
                      <a:pt x="1874203" y="634999"/>
                    </a:lnTo>
                    <a:lnTo>
                      <a:pt x="1874158" y="628649"/>
                    </a:lnTo>
                    <a:lnTo>
                      <a:pt x="1859082" y="622299"/>
                    </a:lnTo>
                    <a:close/>
                  </a:path>
                  <a:path w="3439795" h="1447800">
                    <a:moveTo>
                      <a:pt x="1874203" y="628668"/>
                    </a:moveTo>
                    <a:lnTo>
                      <a:pt x="1874203" y="634999"/>
                    </a:lnTo>
                    <a:lnTo>
                      <a:pt x="1874723" y="628887"/>
                    </a:lnTo>
                    <a:lnTo>
                      <a:pt x="1874203" y="628668"/>
                    </a:lnTo>
                    <a:close/>
                  </a:path>
                  <a:path w="3439795" h="1447800">
                    <a:moveTo>
                      <a:pt x="1908677" y="622299"/>
                    </a:moveTo>
                    <a:lnTo>
                      <a:pt x="1906517" y="622299"/>
                    </a:lnTo>
                    <a:lnTo>
                      <a:pt x="1906517" y="634999"/>
                    </a:lnTo>
                    <a:lnTo>
                      <a:pt x="1908677" y="622299"/>
                    </a:lnTo>
                    <a:close/>
                  </a:path>
                  <a:path w="3439795" h="1447800">
                    <a:moveTo>
                      <a:pt x="1917318" y="609599"/>
                    </a:moveTo>
                    <a:lnTo>
                      <a:pt x="1908677" y="609599"/>
                    </a:lnTo>
                    <a:lnTo>
                      <a:pt x="1912997" y="622299"/>
                    </a:lnTo>
                    <a:lnTo>
                      <a:pt x="1910837" y="634999"/>
                    </a:lnTo>
                    <a:lnTo>
                      <a:pt x="1922718" y="634999"/>
                    </a:lnTo>
                    <a:lnTo>
                      <a:pt x="1919478" y="622299"/>
                    </a:lnTo>
                    <a:lnTo>
                      <a:pt x="1928119" y="622299"/>
                    </a:lnTo>
                    <a:lnTo>
                      <a:pt x="1917318" y="609599"/>
                    </a:lnTo>
                    <a:close/>
                  </a:path>
                  <a:path w="3439795" h="1447800">
                    <a:moveTo>
                      <a:pt x="1928119" y="622299"/>
                    </a:moveTo>
                    <a:lnTo>
                      <a:pt x="1925958" y="622299"/>
                    </a:lnTo>
                    <a:lnTo>
                      <a:pt x="1934599" y="634999"/>
                    </a:lnTo>
                    <a:lnTo>
                      <a:pt x="1928119" y="622299"/>
                    </a:lnTo>
                    <a:close/>
                  </a:path>
                  <a:path w="3439795" h="1447800">
                    <a:moveTo>
                      <a:pt x="1925762" y="600363"/>
                    </a:moveTo>
                    <a:lnTo>
                      <a:pt x="1919478" y="609599"/>
                    </a:lnTo>
                    <a:lnTo>
                      <a:pt x="1928119" y="622299"/>
                    </a:lnTo>
                    <a:lnTo>
                      <a:pt x="1934599" y="634999"/>
                    </a:lnTo>
                    <a:lnTo>
                      <a:pt x="1945400" y="634999"/>
                    </a:lnTo>
                    <a:lnTo>
                      <a:pt x="1930279" y="622299"/>
                    </a:lnTo>
                    <a:lnTo>
                      <a:pt x="1934599" y="615949"/>
                    </a:lnTo>
                    <a:lnTo>
                      <a:pt x="1934599" y="609599"/>
                    </a:lnTo>
                    <a:lnTo>
                      <a:pt x="1936760" y="609599"/>
                    </a:lnTo>
                    <a:lnTo>
                      <a:pt x="1925762" y="600363"/>
                    </a:lnTo>
                    <a:close/>
                  </a:path>
                  <a:path w="3439795" h="1447800">
                    <a:moveTo>
                      <a:pt x="1934599" y="615949"/>
                    </a:moveTo>
                    <a:lnTo>
                      <a:pt x="1930279" y="622299"/>
                    </a:lnTo>
                    <a:lnTo>
                      <a:pt x="1945400" y="634999"/>
                    </a:lnTo>
                    <a:lnTo>
                      <a:pt x="1932439" y="622299"/>
                    </a:lnTo>
                    <a:lnTo>
                      <a:pt x="1934599" y="622299"/>
                    </a:lnTo>
                    <a:lnTo>
                      <a:pt x="1934599" y="615949"/>
                    </a:lnTo>
                    <a:close/>
                  </a:path>
                  <a:path w="3439795" h="1447800">
                    <a:moveTo>
                      <a:pt x="1938920" y="609599"/>
                    </a:moveTo>
                    <a:lnTo>
                      <a:pt x="1951881" y="622299"/>
                    </a:lnTo>
                    <a:lnTo>
                      <a:pt x="1932439" y="622299"/>
                    </a:lnTo>
                    <a:lnTo>
                      <a:pt x="1945400" y="634999"/>
                    </a:lnTo>
                    <a:lnTo>
                      <a:pt x="1954041" y="622299"/>
                    </a:lnTo>
                    <a:lnTo>
                      <a:pt x="1938920" y="609599"/>
                    </a:lnTo>
                    <a:close/>
                  </a:path>
                  <a:path w="3439795" h="1447800">
                    <a:moveTo>
                      <a:pt x="1038227" y="631092"/>
                    </a:moveTo>
                    <a:lnTo>
                      <a:pt x="1038272" y="631613"/>
                    </a:lnTo>
                    <a:lnTo>
                      <a:pt x="1041309" y="633845"/>
                    </a:lnTo>
                    <a:lnTo>
                      <a:pt x="1041440" y="633790"/>
                    </a:lnTo>
                    <a:lnTo>
                      <a:pt x="1038227" y="631092"/>
                    </a:lnTo>
                    <a:close/>
                  </a:path>
                  <a:path w="3439795" h="1447800">
                    <a:moveTo>
                      <a:pt x="1036399" y="609599"/>
                    </a:moveTo>
                    <a:lnTo>
                      <a:pt x="1038227" y="631092"/>
                    </a:lnTo>
                    <a:lnTo>
                      <a:pt x="1041440" y="633790"/>
                    </a:lnTo>
                    <a:lnTo>
                      <a:pt x="1043212" y="633046"/>
                    </a:lnTo>
                    <a:lnTo>
                      <a:pt x="1045040" y="622299"/>
                    </a:lnTo>
                    <a:lnTo>
                      <a:pt x="1036399" y="609599"/>
                    </a:lnTo>
                    <a:close/>
                  </a:path>
                  <a:path w="3439795" h="1447800">
                    <a:moveTo>
                      <a:pt x="1083924" y="609599"/>
                    </a:moveTo>
                    <a:lnTo>
                      <a:pt x="1079604" y="622299"/>
                    </a:lnTo>
                    <a:lnTo>
                      <a:pt x="1093045" y="633588"/>
                    </a:lnTo>
                    <a:lnTo>
                      <a:pt x="1096885" y="622299"/>
                    </a:lnTo>
                    <a:lnTo>
                      <a:pt x="1081764" y="622299"/>
                    </a:lnTo>
                    <a:lnTo>
                      <a:pt x="1083924" y="609599"/>
                    </a:lnTo>
                    <a:close/>
                  </a:path>
                  <a:path w="3439795" h="1447800">
                    <a:moveTo>
                      <a:pt x="1068803" y="609599"/>
                    </a:moveTo>
                    <a:lnTo>
                      <a:pt x="1036399" y="609599"/>
                    </a:lnTo>
                    <a:lnTo>
                      <a:pt x="1045040" y="622299"/>
                    </a:lnTo>
                    <a:lnTo>
                      <a:pt x="1043212" y="633046"/>
                    </a:lnTo>
                    <a:lnTo>
                      <a:pt x="1068803" y="622299"/>
                    </a:lnTo>
                    <a:lnTo>
                      <a:pt x="1068803" y="609599"/>
                    </a:lnTo>
                    <a:close/>
                  </a:path>
                  <a:path w="3439795" h="1447800">
                    <a:moveTo>
                      <a:pt x="1027758" y="622299"/>
                    </a:moveTo>
                    <a:lnTo>
                      <a:pt x="1027518" y="623711"/>
                    </a:lnTo>
                    <a:lnTo>
                      <a:pt x="1038272" y="631613"/>
                    </a:lnTo>
                    <a:lnTo>
                      <a:pt x="1038227" y="631092"/>
                    </a:lnTo>
                    <a:lnTo>
                      <a:pt x="1027758" y="622299"/>
                    </a:lnTo>
                    <a:close/>
                  </a:path>
                  <a:path w="3439795" h="1447800">
                    <a:moveTo>
                      <a:pt x="1036399" y="609599"/>
                    </a:moveTo>
                    <a:lnTo>
                      <a:pt x="1027758" y="622299"/>
                    </a:lnTo>
                    <a:lnTo>
                      <a:pt x="1038227" y="631092"/>
                    </a:lnTo>
                    <a:lnTo>
                      <a:pt x="1036399" y="609599"/>
                    </a:lnTo>
                    <a:close/>
                  </a:path>
                  <a:path w="3439795" h="1447800">
                    <a:moveTo>
                      <a:pt x="1273933" y="622299"/>
                    </a:moveTo>
                    <a:lnTo>
                      <a:pt x="1269613" y="622299"/>
                    </a:lnTo>
                    <a:lnTo>
                      <a:pt x="1276813" y="630766"/>
                    </a:lnTo>
                    <a:lnTo>
                      <a:pt x="1273933" y="622299"/>
                    </a:lnTo>
                    <a:close/>
                  </a:path>
                  <a:path w="3439795" h="1447800">
                    <a:moveTo>
                      <a:pt x="1474743" y="611414"/>
                    </a:moveTo>
                    <a:lnTo>
                      <a:pt x="1474743" y="619759"/>
                    </a:lnTo>
                    <a:lnTo>
                      <a:pt x="1476903" y="622299"/>
                    </a:lnTo>
                    <a:lnTo>
                      <a:pt x="1474743" y="625474"/>
                    </a:lnTo>
                    <a:lnTo>
                      <a:pt x="1474743" y="630766"/>
                    </a:lnTo>
                    <a:lnTo>
                      <a:pt x="1479064" y="622299"/>
                    </a:lnTo>
                    <a:lnTo>
                      <a:pt x="1475607" y="612139"/>
                    </a:lnTo>
                    <a:lnTo>
                      <a:pt x="1474743" y="611414"/>
                    </a:lnTo>
                    <a:close/>
                  </a:path>
                  <a:path w="3439795" h="1447800">
                    <a:moveTo>
                      <a:pt x="1466102" y="609599"/>
                    </a:moveTo>
                    <a:lnTo>
                      <a:pt x="1471405" y="630381"/>
                    </a:lnTo>
                    <a:lnTo>
                      <a:pt x="1474743" y="625474"/>
                    </a:lnTo>
                    <a:lnTo>
                      <a:pt x="1474743" y="619759"/>
                    </a:lnTo>
                    <a:lnTo>
                      <a:pt x="1466102" y="609599"/>
                    </a:lnTo>
                    <a:close/>
                  </a:path>
                  <a:path w="3439795" h="1447800">
                    <a:moveTo>
                      <a:pt x="1876364" y="609599"/>
                    </a:moveTo>
                    <a:lnTo>
                      <a:pt x="1874203" y="609599"/>
                    </a:lnTo>
                    <a:lnTo>
                      <a:pt x="1874203" y="628668"/>
                    </a:lnTo>
                    <a:lnTo>
                      <a:pt x="1874723" y="628887"/>
                    </a:lnTo>
                    <a:lnTo>
                      <a:pt x="1876364" y="609599"/>
                    </a:lnTo>
                    <a:close/>
                  </a:path>
                  <a:path w="3439795" h="1447800">
                    <a:moveTo>
                      <a:pt x="1874203" y="609599"/>
                    </a:moveTo>
                    <a:lnTo>
                      <a:pt x="1867723" y="609599"/>
                    </a:lnTo>
                    <a:lnTo>
                      <a:pt x="1859082" y="622299"/>
                    </a:lnTo>
                    <a:lnTo>
                      <a:pt x="1874203" y="628668"/>
                    </a:lnTo>
                    <a:lnTo>
                      <a:pt x="1874203" y="609599"/>
                    </a:lnTo>
                    <a:close/>
                  </a:path>
                  <a:path w="3439795" h="1447800">
                    <a:moveTo>
                      <a:pt x="1712187" y="622299"/>
                    </a:moveTo>
                    <a:lnTo>
                      <a:pt x="1710027" y="622299"/>
                    </a:lnTo>
                    <a:lnTo>
                      <a:pt x="1715427" y="628649"/>
                    </a:lnTo>
                    <a:lnTo>
                      <a:pt x="1712187" y="622299"/>
                    </a:lnTo>
                    <a:close/>
                  </a:path>
                  <a:path w="3439795" h="1447800">
                    <a:moveTo>
                      <a:pt x="1143363" y="623007"/>
                    </a:moveTo>
                    <a:lnTo>
                      <a:pt x="1141658" y="624266"/>
                    </a:lnTo>
                    <a:lnTo>
                      <a:pt x="1140864" y="627379"/>
                    </a:lnTo>
                    <a:lnTo>
                      <a:pt x="1143703" y="623207"/>
                    </a:lnTo>
                    <a:lnTo>
                      <a:pt x="1143363" y="623007"/>
                    </a:lnTo>
                    <a:close/>
                  </a:path>
                  <a:path w="3439795" h="1447800">
                    <a:moveTo>
                      <a:pt x="1142160" y="622299"/>
                    </a:moveTo>
                    <a:lnTo>
                      <a:pt x="1138590" y="626533"/>
                    </a:lnTo>
                    <a:lnTo>
                      <a:pt x="1141658" y="624266"/>
                    </a:lnTo>
                    <a:lnTo>
                      <a:pt x="1142160" y="622299"/>
                    </a:lnTo>
                    <a:close/>
                  </a:path>
                  <a:path w="3439795" h="1447800">
                    <a:moveTo>
                      <a:pt x="1845040" y="619124"/>
                    </a:moveTo>
                    <a:lnTo>
                      <a:pt x="1843960" y="622299"/>
                    </a:lnTo>
                    <a:lnTo>
                      <a:pt x="1840360" y="626533"/>
                    </a:lnTo>
                    <a:lnTo>
                      <a:pt x="1846120" y="622299"/>
                    </a:lnTo>
                    <a:lnTo>
                      <a:pt x="1845040" y="619124"/>
                    </a:lnTo>
                    <a:close/>
                  </a:path>
                  <a:path w="3439795" h="1447800">
                    <a:moveTo>
                      <a:pt x="1474743" y="619759"/>
                    </a:moveTo>
                    <a:lnTo>
                      <a:pt x="1474743" y="625474"/>
                    </a:lnTo>
                    <a:lnTo>
                      <a:pt x="1476903" y="622299"/>
                    </a:lnTo>
                    <a:lnTo>
                      <a:pt x="1474743" y="619759"/>
                    </a:lnTo>
                    <a:close/>
                  </a:path>
                  <a:path w="3439795" h="1447800">
                    <a:moveTo>
                      <a:pt x="1142160" y="622299"/>
                    </a:moveTo>
                    <a:lnTo>
                      <a:pt x="1141658" y="624266"/>
                    </a:lnTo>
                    <a:lnTo>
                      <a:pt x="1143363" y="623007"/>
                    </a:lnTo>
                    <a:lnTo>
                      <a:pt x="1142160" y="622299"/>
                    </a:lnTo>
                    <a:close/>
                  </a:path>
                  <a:path w="3439795" h="1447800">
                    <a:moveTo>
                      <a:pt x="1027758" y="622299"/>
                    </a:moveTo>
                    <a:lnTo>
                      <a:pt x="1025598" y="622299"/>
                    </a:lnTo>
                    <a:lnTo>
                      <a:pt x="1027518" y="623711"/>
                    </a:lnTo>
                    <a:lnTo>
                      <a:pt x="1027758" y="622299"/>
                    </a:lnTo>
                    <a:close/>
                  </a:path>
                  <a:path w="3439795" h="1447800">
                    <a:moveTo>
                      <a:pt x="1144320" y="622299"/>
                    </a:moveTo>
                    <a:lnTo>
                      <a:pt x="1143960" y="623358"/>
                    </a:lnTo>
                    <a:lnTo>
                      <a:pt x="1144320" y="623569"/>
                    </a:lnTo>
                    <a:lnTo>
                      <a:pt x="1144320" y="622299"/>
                    </a:lnTo>
                    <a:close/>
                  </a:path>
                  <a:path w="3439795" h="1447800">
                    <a:moveTo>
                      <a:pt x="1144320" y="622299"/>
                    </a:moveTo>
                    <a:lnTo>
                      <a:pt x="1143703" y="623207"/>
                    </a:lnTo>
                    <a:lnTo>
                      <a:pt x="1143960" y="623358"/>
                    </a:lnTo>
                    <a:lnTo>
                      <a:pt x="1144320" y="622299"/>
                    </a:lnTo>
                    <a:close/>
                  </a:path>
                  <a:path w="3439795" h="1447800">
                    <a:moveTo>
                      <a:pt x="1144320" y="622299"/>
                    </a:moveTo>
                    <a:lnTo>
                      <a:pt x="1143363" y="623007"/>
                    </a:lnTo>
                    <a:lnTo>
                      <a:pt x="1143703" y="623207"/>
                    </a:lnTo>
                    <a:lnTo>
                      <a:pt x="1144320" y="622299"/>
                    </a:lnTo>
                    <a:close/>
                  </a:path>
                  <a:path w="3439795" h="1447800">
                    <a:moveTo>
                      <a:pt x="1144320" y="622299"/>
                    </a:moveTo>
                    <a:lnTo>
                      <a:pt x="1142160" y="622299"/>
                    </a:lnTo>
                    <a:lnTo>
                      <a:pt x="1143363" y="623007"/>
                    </a:lnTo>
                    <a:lnTo>
                      <a:pt x="1144320" y="622299"/>
                    </a:lnTo>
                    <a:close/>
                  </a:path>
                  <a:path w="3439795" h="1447800">
                    <a:moveTo>
                      <a:pt x="405886" y="609599"/>
                    </a:moveTo>
                    <a:lnTo>
                      <a:pt x="405886" y="622299"/>
                    </a:lnTo>
                    <a:lnTo>
                      <a:pt x="418847" y="622299"/>
                    </a:lnTo>
                    <a:lnTo>
                      <a:pt x="416255" y="617219"/>
                    </a:lnTo>
                    <a:lnTo>
                      <a:pt x="405886" y="609599"/>
                    </a:lnTo>
                    <a:close/>
                  </a:path>
                  <a:path w="3439795" h="1447800">
                    <a:moveTo>
                      <a:pt x="421597" y="621145"/>
                    </a:moveTo>
                    <a:lnTo>
                      <a:pt x="421008" y="622299"/>
                    </a:lnTo>
                    <a:lnTo>
                      <a:pt x="423168" y="622299"/>
                    </a:lnTo>
                    <a:lnTo>
                      <a:pt x="421597" y="621145"/>
                    </a:lnTo>
                    <a:close/>
                  </a:path>
                  <a:path w="3439795" h="1447800">
                    <a:moveTo>
                      <a:pt x="423168" y="618066"/>
                    </a:moveTo>
                    <a:lnTo>
                      <a:pt x="421597" y="621145"/>
                    </a:lnTo>
                    <a:lnTo>
                      <a:pt x="423168" y="622299"/>
                    </a:lnTo>
                    <a:lnTo>
                      <a:pt x="423168" y="618066"/>
                    </a:lnTo>
                    <a:close/>
                  </a:path>
                  <a:path w="3439795" h="1447800">
                    <a:moveTo>
                      <a:pt x="427488" y="609599"/>
                    </a:moveTo>
                    <a:lnTo>
                      <a:pt x="423168" y="618066"/>
                    </a:lnTo>
                    <a:lnTo>
                      <a:pt x="423168" y="622299"/>
                    </a:lnTo>
                    <a:lnTo>
                      <a:pt x="427488" y="622299"/>
                    </a:lnTo>
                    <a:lnTo>
                      <a:pt x="427488" y="609599"/>
                    </a:lnTo>
                    <a:close/>
                  </a:path>
                  <a:path w="3439795" h="1447800">
                    <a:moveTo>
                      <a:pt x="466372" y="596899"/>
                    </a:moveTo>
                    <a:lnTo>
                      <a:pt x="453411" y="609599"/>
                    </a:lnTo>
                    <a:lnTo>
                      <a:pt x="457731" y="622299"/>
                    </a:lnTo>
                    <a:lnTo>
                      <a:pt x="459892" y="622299"/>
                    </a:lnTo>
                    <a:lnTo>
                      <a:pt x="468532" y="609599"/>
                    </a:lnTo>
                    <a:lnTo>
                      <a:pt x="468532" y="603249"/>
                    </a:lnTo>
                    <a:lnTo>
                      <a:pt x="466372" y="596899"/>
                    </a:lnTo>
                    <a:close/>
                  </a:path>
                  <a:path w="3439795" h="1447800">
                    <a:moveTo>
                      <a:pt x="468532" y="603249"/>
                    </a:moveTo>
                    <a:lnTo>
                      <a:pt x="468532" y="609599"/>
                    </a:lnTo>
                    <a:lnTo>
                      <a:pt x="459892" y="622299"/>
                    </a:lnTo>
                    <a:lnTo>
                      <a:pt x="470693" y="609599"/>
                    </a:lnTo>
                    <a:lnTo>
                      <a:pt x="468532" y="603249"/>
                    </a:lnTo>
                    <a:close/>
                  </a:path>
                  <a:path w="3439795" h="1447800">
                    <a:moveTo>
                      <a:pt x="479334" y="609599"/>
                    </a:moveTo>
                    <a:lnTo>
                      <a:pt x="483654" y="622299"/>
                    </a:lnTo>
                    <a:lnTo>
                      <a:pt x="483654" y="618066"/>
                    </a:lnTo>
                    <a:lnTo>
                      <a:pt x="479334" y="609599"/>
                    </a:lnTo>
                    <a:close/>
                  </a:path>
                  <a:path w="3439795" h="1447800">
                    <a:moveTo>
                      <a:pt x="594695" y="599722"/>
                    </a:moveTo>
                    <a:lnTo>
                      <a:pt x="582934" y="609599"/>
                    </a:lnTo>
                    <a:lnTo>
                      <a:pt x="587254" y="622299"/>
                    </a:lnTo>
                    <a:lnTo>
                      <a:pt x="592295" y="618066"/>
                    </a:lnTo>
                    <a:lnTo>
                      <a:pt x="598055" y="609599"/>
                    </a:lnTo>
                    <a:lnTo>
                      <a:pt x="594695" y="599722"/>
                    </a:lnTo>
                    <a:close/>
                  </a:path>
                  <a:path w="3439795" h="1447800">
                    <a:moveTo>
                      <a:pt x="592295" y="618066"/>
                    </a:moveTo>
                    <a:lnTo>
                      <a:pt x="587254" y="622299"/>
                    </a:lnTo>
                    <a:lnTo>
                      <a:pt x="589415" y="622299"/>
                    </a:lnTo>
                    <a:lnTo>
                      <a:pt x="592295" y="618066"/>
                    </a:lnTo>
                    <a:close/>
                  </a:path>
                  <a:path w="3439795" h="1447800">
                    <a:moveTo>
                      <a:pt x="598055" y="613228"/>
                    </a:moveTo>
                    <a:lnTo>
                      <a:pt x="594815" y="615949"/>
                    </a:lnTo>
                    <a:lnTo>
                      <a:pt x="591575" y="622299"/>
                    </a:lnTo>
                    <a:lnTo>
                      <a:pt x="598055" y="615949"/>
                    </a:lnTo>
                    <a:lnTo>
                      <a:pt x="598055" y="613228"/>
                    </a:lnTo>
                    <a:close/>
                  </a:path>
                  <a:path w="3439795" h="1447800">
                    <a:moveTo>
                      <a:pt x="601001" y="613063"/>
                    </a:moveTo>
                    <a:lnTo>
                      <a:pt x="598055" y="615949"/>
                    </a:lnTo>
                    <a:lnTo>
                      <a:pt x="598055" y="622299"/>
                    </a:lnTo>
                    <a:lnTo>
                      <a:pt x="608857" y="622299"/>
                    </a:lnTo>
                    <a:lnTo>
                      <a:pt x="601001" y="613063"/>
                    </a:lnTo>
                    <a:close/>
                  </a:path>
                  <a:path w="3439795" h="1447800">
                    <a:moveTo>
                      <a:pt x="608857" y="609599"/>
                    </a:moveTo>
                    <a:lnTo>
                      <a:pt x="604536" y="609599"/>
                    </a:lnTo>
                    <a:lnTo>
                      <a:pt x="601001" y="613063"/>
                    </a:lnTo>
                    <a:lnTo>
                      <a:pt x="608857" y="622299"/>
                    </a:lnTo>
                    <a:lnTo>
                      <a:pt x="608857" y="609599"/>
                    </a:lnTo>
                    <a:close/>
                  </a:path>
                  <a:path w="3439795" h="1447800">
                    <a:moveTo>
                      <a:pt x="640050" y="597915"/>
                    </a:moveTo>
                    <a:lnTo>
                      <a:pt x="626138" y="609599"/>
                    </a:lnTo>
                    <a:lnTo>
                      <a:pt x="626138" y="622299"/>
                    </a:lnTo>
                    <a:lnTo>
                      <a:pt x="643420" y="609599"/>
                    </a:lnTo>
                    <a:lnTo>
                      <a:pt x="641740" y="599722"/>
                    </a:lnTo>
                    <a:lnTo>
                      <a:pt x="640050" y="597915"/>
                    </a:lnTo>
                    <a:close/>
                  </a:path>
                  <a:path w="3439795" h="1447800">
                    <a:moveTo>
                      <a:pt x="1036399" y="609599"/>
                    </a:moveTo>
                    <a:lnTo>
                      <a:pt x="1029919" y="609599"/>
                    </a:lnTo>
                    <a:lnTo>
                      <a:pt x="1027758" y="622299"/>
                    </a:lnTo>
                    <a:lnTo>
                      <a:pt x="1036399" y="609599"/>
                    </a:lnTo>
                    <a:close/>
                  </a:path>
                  <a:path w="3439795" h="1447800">
                    <a:moveTo>
                      <a:pt x="1083924" y="609599"/>
                    </a:moveTo>
                    <a:lnTo>
                      <a:pt x="1068803" y="609599"/>
                    </a:lnTo>
                    <a:lnTo>
                      <a:pt x="1068803" y="622299"/>
                    </a:lnTo>
                    <a:lnTo>
                      <a:pt x="1079604" y="622299"/>
                    </a:lnTo>
                    <a:lnTo>
                      <a:pt x="1083924" y="609599"/>
                    </a:lnTo>
                    <a:close/>
                  </a:path>
                  <a:path w="3439795" h="1447800">
                    <a:moveTo>
                      <a:pt x="1101206" y="609599"/>
                    </a:moveTo>
                    <a:lnTo>
                      <a:pt x="1083924" y="609599"/>
                    </a:lnTo>
                    <a:lnTo>
                      <a:pt x="1081764" y="622299"/>
                    </a:lnTo>
                    <a:lnTo>
                      <a:pt x="1096885" y="622299"/>
                    </a:lnTo>
                    <a:lnTo>
                      <a:pt x="1101206" y="609599"/>
                    </a:lnTo>
                    <a:close/>
                  </a:path>
                  <a:path w="3439795" h="1447800">
                    <a:moveTo>
                      <a:pt x="1327849" y="609599"/>
                    </a:moveTo>
                    <a:lnTo>
                      <a:pt x="1319298" y="609599"/>
                    </a:lnTo>
                    <a:lnTo>
                      <a:pt x="1327849" y="622299"/>
                    </a:lnTo>
                    <a:lnTo>
                      <a:pt x="1327849" y="609599"/>
                    </a:lnTo>
                    <a:close/>
                  </a:path>
                  <a:path w="3439795" h="1447800">
                    <a:moveTo>
                      <a:pt x="1327849" y="609599"/>
                    </a:moveTo>
                    <a:lnTo>
                      <a:pt x="1327849" y="622299"/>
                    </a:lnTo>
                    <a:lnTo>
                      <a:pt x="1334329" y="622299"/>
                    </a:lnTo>
                    <a:lnTo>
                      <a:pt x="1327849" y="609599"/>
                    </a:lnTo>
                    <a:close/>
                  </a:path>
                  <a:path w="3439795" h="1447800">
                    <a:moveTo>
                      <a:pt x="1342970" y="609599"/>
                    </a:moveTo>
                    <a:lnTo>
                      <a:pt x="1327849" y="609599"/>
                    </a:lnTo>
                    <a:lnTo>
                      <a:pt x="1334329" y="622299"/>
                    </a:lnTo>
                    <a:lnTo>
                      <a:pt x="1342970" y="622299"/>
                    </a:lnTo>
                    <a:lnTo>
                      <a:pt x="1342970" y="609599"/>
                    </a:lnTo>
                    <a:close/>
                  </a:path>
                  <a:path w="3439795" h="1447800">
                    <a:moveTo>
                      <a:pt x="1364572" y="609599"/>
                    </a:moveTo>
                    <a:lnTo>
                      <a:pt x="1342970" y="609599"/>
                    </a:lnTo>
                    <a:lnTo>
                      <a:pt x="1342970" y="622299"/>
                    </a:lnTo>
                    <a:lnTo>
                      <a:pt x="1353771" y="622299"/>
                    </a:lnTo>
                    <a:lnTo>
                      <a:pt x="1364572" y="609599"/>
                    </a:lnTo>
                    <a:close/>
                  </a:path>
                  <a:path w="3439795" h="1447800">
                    <a:moveTo>
                      <a:pt x="1364572" y="609599"/>
                    </a:moveTo>
                    <a:lnTo>
                      <a:pt x="1353771" y="622299"/>
                    </a:lnTo>
                    <a:lnTo>
                      <a:pt x="1360252" y="622299"/>
                    </a:lnTo>
                    <a:lnTo>
                      <a:pt x="1364572" y="609599"/>
                    </a:lnTo>
                    <a:close/>
                  </a:path>
                  <a:path w="3439795" h="1447800">
                    <a:moveTo>
                      <a:pt x="1371053" y="609599"/>
                    </a:moveTo>
                    <a:lnTo>
                      <a:pt x="1364572" y="609599"/>
                    </a:lnTo>
                    <a:lnTo>
                      <a:pt x="1360252" y="622299"/>
                    </a:lnTo>
                    <a:lnTo>
                      <a:pt x="1362412" y="622299"/>
                    </a:lnTo>
                    <a:lnTo>
                      <a:pt x="1371053" y="609599"/>
                    </a:lnTo>
                    <a:close/>
                  </a:path>
                  <a:path w="3439795" h="1447800">
                    <a:moveTo>
                      <a:pt x="1474743" y="609599"/>
                    </a:moveTo>
                    <a:lnTo>
                      <a:pt x="1475607" y="612139"/>
                    </a:lnTo>
                    <a:lnTo>
                      <a:pt x="1487705" y="622299"/>
                    </a:lnTo>
                    <a:lnTo>
                      <a:pt x="1486084" y="619124"/>
                    </a:lnTo>
                    <a:lnTo>
                      <a:pt x="1474743" y="609599"/>
                    </a:lnTo>
                    <a:close/>
                  </a:path>
                  <a:path w="3439795" h="1447800">
                    <a:moveTo>
                      <a:pt x="1486084" y="619124"/>
                    </a:moveTo>
                    <a:lnTo>
                      <a:pt x="1487705" y="622299"/>
                    </a:lnTo>
                    <a:lnTo>
                      <a:pt x="1489865" y="622299"/>
                    </a:lnTo>
                    <a:lnTo>
                      <a:pt x="1486084" y="619124"/>
                    </a:lnTo>
                    <a:close/>
                  </a:path>
                  <a:path w="3439795" h="1447800">
                    <a:moveTo>
                      <a:pt x="1481224" y="596899"/>
                    </a:moveTo>
                    <a:lnTo>
                      <a:pt x="1476903" y="609599"/>
                    </a:lnTo>
                    <a:lnTo>
                      <a:pt x="1481224" y="609599"/>
                    </a:lnTo>
                    <a:lnTo>
                      <a:pt x="1486084" y="619124"/>
                    </a:lnTo>
                    <a:lnTo>
                      <a:pt x="1489865" y="622299"/>
                    </a:lnTo>
                    <a:lnTo>
                      <a:pt x="1481224" y="596899"/>
                    </a:lnTo>
                    <a:close/>
                  </a:path>
                  <a:path w="3439795" h="1447800">
                    <a:moveTo>
                      <a:pt x="1486779" y="602342"/>
                    </a:moveTo>
                    <a:lnTo>
                      <a:pt x="1485544" y="609599"/>
                    </a:lnTo>
                    <a:lnTo>
                      <a:pt x="1489865" y="622299"/>
                    </a:lnTo>
                    <a:lnTo>
                      <a:pt x="1489865" y="605366"/>
                    </a:lnTo>
                    <a:lnTo>
                      <a:pt x="1486779" y="602342"/>
                    </a:lnTo>
                    <a:close/>
                  </a:path>
                  <a:path w="3439795" h="1447800">
                    <a:moveTo>
                      <a:pt x="1489865" y="605366"/>
                    </a:moveTo>
                    <a:lnTo>
                      <a:pt x="1489865" y="622299"/>
                    </a:lnTo>
                    <a:lnTo>
                      <a:pt x="1494185" y="609599"/>
                    </a:lnTo>
                    <a:lnTo>
                      <a:pt x="1489865" y="605366"/>
                    </a:lnTo>
                    <a:close/>
                  </a:path>
                  <a:path w="3439795" h="1447800">
                    <a:moveTo>
                      <a:pt x="1496345" y="584199"/>
                    </a:moveTo>
                    <a:lnTo>
                      <a:pt x="1489865" y="596899"/>
                    </a:lnTo>
                    <a:lnTo>
                      <a:pt x="1494185" y="609599"/>
                    </a:lnTo>
                    <a:lnTo>
                      <a:pt x="1489865" y="622299"/>
                    </a:lnTo>
                    <a:lnTo>
                      <a:pt x="1494185" y="622299"/>
                    </a:lnTo>
                    <a:lnTo>
                      <a:pt x="1502826" y="609599"/>
                    </a:lnTo>
                    <a:lnTo>
                      <a:pt x="1496345" y="609599"/>
                    </a:lnTo>
                    <a:lnTo>
                      <a:pt x="1496345" y="600074"/>
                    </a:lnTo>
                    <a:lnTo>
                      <a:pt x="1494185" y="596899"/>
                    </a:lnTo>
                    <a:lnTo>
                      <a:pt x="1496345" y="596899"/>
                    </a:lnTo>
                    <a:lnTo>
                      <a:pt x="1496345" y="584199"/>
                    </a:lnTo>
                    <a:close/>
                  </a:path>
                  <a:path w="3439795" h="1447800">
                    <a:moveTo>
                      <a:pt x="1502826" y="609599"/>
                    </a:moveTo>
                    <a:lnTo>
                      <a:pt x="1494185" y="622299"/>
                    </a:lnTo>
                    <a:lnTo>
                      <a:pt x="1500666" y="622299"/>
                    </a:lnTo>
                    <a:lnTo>
                      <a:pt x="1502826" y="609599"/>
                    </a:lnTo>
                    <a:close/>
                  </a:path>
                  <a:path w="3439795" h="1447800">
                    <a:moveTo>
                      <a:pt x="1636669" y="596899"/>
                    </a:moveTo>
                    <a:lnTo>
                      <a:pt x="1632349" y="596899"/>
                    </a:lnTo>
                    <a:lnTo>
                      <a:pt x="1623708" y="609599"/>
                    </a:lnTo>
                    <a:lnTo>
                      <a:pt x="1632349" y="622299"/>
                    </a:lnTo>
                    <a:lnTo>
                      <a:pt x="1636669" y="622299"/>
                    </a:lnTo>
                    <a:lnTo>
                      <a:pt x="1636669" y="596899"/>
                    </a:lnTo>
                    <a:close/>
                  </a:path>
                  <a:path w="3439795" h="1447800">
                    <a:moveTo>
                      <a:pt x="1638830" y="596899"/>
                    </a:moveTo>
                    <a:lnTo>
                      <a:pt x="1636669" y="596899"/>
                    </a:lnTo>
                    <a:lnTo>
                      <a:pt x="1636669" y="622299"/>
                    </a:lnTo>
                    <a:lnTo>
                      <a:pt x="1638830" y="596899"/>
                    </a:lnTo>
                    <a:close/>
                  </a:path>
                  <a:path w="3439795" h="1447800">
                    <a:moveTo>
                      <a:pt x="1660432" y="596899"/>
                    </a:moveTo>
                    <a:lnTo>
                      <a:pt x="1638830" y="596899"/>
                    </a:lnTo>
                    <a:lnTo>
                      <a:pt x="1636669" y="622299"/>
                    </a:lnTo>
                    <a:lnTo>
                      <a:pt x="1660432" y="622299"/>
                    </a:lnTo>
                    <a:lnTo>
                      <a:pt x="1658272" y="609599"/>
                    </a:lnTo>
                    <a:lnTo>
                      <a:pt x="1656111" y="609599"/>
                    </a:lnTo>
                    <a:lnTo>
                      <a:pt x="1660432" y="605971"/>
                    </a:lnTo>
                    <a:lnTo>
                      <a:pt x="1660432" y="596899"/>
                    </a:lnTo>
                    <a:close/>
                  </a:path>
                  <a:path w="3439795" h="1447800">
                    <a:moveTo>
                      <a:pt x="1658272" y="609599"/>
                    </a:moveTo>
                    <a:lnTo>
                      <a:pt x="1660432" y="622299"/>
                    </a:lnTo>
                    <a:lnTo>
                      <a:pt x="1660432" y="613833"/>
                    </a:lnTo>
                    <a:lnTo>
                      <a:pt x="1658272" y="609599"/>
                    </a:lnTo>
                    <a:close/>
                  </a:path>
                  <a:path w="3439795" h="1447800">
                    <a:moveTo>
                      <a:pt x="1660432" y="613833"/>
                    </a:moveTo>
                    <a:lnTo>
                      <a:pt x="1660432" y="622299"/>
                    </a:lnTo>
                    <a:lnTo>
                      <a:pt x="1664752" y="622299"/>
                    </a:lnTo>
                    <a:lnTo>
                      <a:pt x="1660432" y="613833"/>
                    </a:lnTo>
                    <a:close/>
                  </a:path>
                  <a:path w="3439795" h="1447800">
                    <a:moveTo>
                      <a:pt x="1664752" y="602342"/>
                    </a:moveTo>
                    <a:lnTo>
                      <a:pt x="1660432" y="605971"/>
                    </a:lnTo>
                    <a:lnTo>
                      <a:pt x="1660432" y="613833"/>
                    </a:lnTo>
                    <a:lnTo>
                      <a:pt x="1664752" y="622299"/>
                    </a:lnTo>
                    <a:lnTo>
                      <a:pt x="1664752" y="602342"/>
                    </a:lnTo>
                    <a:close/>
                  </a:path>
                  <a:path w="3439795" h="1447800">
                    <a:moveTo>
                      <a:pt x="1671233" y="596899"/>
                    </a:moveTo>
                    <a:lnTo>
                      <a:pt x="1664752" y="602342"/>
                    </a:lnTo>
                    <a:lnTo>
                      <a:pt x="1664752" y="622299"/>
                    </a:lnTo>
                    <a:lnTo>
                      <a:pt x="1671233" y="596899"/>
                    </a:lnTo>
                    <a:close/>
                  </a:path>
                  <a:path w="3439795" h="1447800">
                    <a:moveTo>
                      <a:pt x="1671233" y="596899"/>
                    </a:moveTo>
                    <a:lnTo>
                      <a:pt x="1664752" y="622299"/>
                    </a:lnTo>
                    <a:lnTo>
                      <a:pt x="1671233" y="612774"/>
                    </a:lnTo>
                    <a:lnTo>
                      <a:pt x="1671233" y="596899"/>
                    </a:lnTo>
                    <a:close/>
                  </a:path>
                  <a:path w="3439795" h="1447800">
                    <a:moveTo>
                      <a:pt x="1671233" y="612774"/>
                    </a:moveTo>
                    <a:lnTo>
                      <a:pt x="1664752" y="622299"/>
                    </a:lnTo>
                    <a:lnTo>
                      <a:pt x="1671233" y="622299"/>
                    </a:lnTo>
                    <a:lnTo>
                      <a:pt x="1671233" y="612774"/>
                    </a:lnTo>
                    <a:close/>
                  </a:path>
                  <a:path w="3439795" h="1447800">
                    <a:moveTo>
                      <a:pt x="1673393" y="596899"/>
                    </a:moveTo>
                    <a:lnTo>
                      <a:pt x="1671233" y="596899"/>
                    </a:lnTo>
                    <a:lnTo>
                      <a:pt x="1673393" y="609599"/>
                    </a:lnTo>
                    <a:lnTo>
                      <a:pt x="1671233" y="612774"/>
                    </a:lnTo>
                    <a:lnTo>
                      <a:pt x="1671233" y="622299"/>
                    </a:lnTo>
                    <a:lnTo>
                      <a:pt x="1679874" y="622299"/>
                    </a:lnTo>
                    <a:lnTo>
                      <a:pt x="1673393" y="596899"/>
                    </a:lnTo>
                    <a:close/>
                  </a:path>
                  <a:path w="3439795" h="1447800">
                    <a:moveTo>
                      <a:pt x="1675553" y="596899"/>
                    </a:moveTo>
                    <a:lnTo>
                      <a:pt x="1673393" y="596899"/>
                    </a:lnTo>
                    <a:lnTo>
                      <a:pt x="1679874" y="622299"/>
                    </a:lnTo>
                    <a:lnTo>
                      <a:pt x="1675553" y="596899"/>
                    </a:lnTo>
                    <a:close/>
                  </a:path>
                  <a:path w="3439795" h="1447800">
                    <a:moveTo>
                      <a:pt x="1684194" y="596899"/>
                    </a:moveTo>
                    <a:lnTo>
                      <a:pt x="1675553" y="596899"/>
                    </a:lnTo>
                    <a:lnTo>
                      <a:pt x="1679874" y="622299"/>
                    </a:lnTo>
                    <a:lnTo>
                      <a:pt x="1684194" y="622299"/>
                    </a:lnTo>
                    <a:lnTo>
                      <a:pt x="1684194" y="596899"/>
                    </a:lnTo>
                    <a:close/>
                  </a:path>
                  <a:path w="3439795" h="1447800">
                    <a:moveTo>
                      <a:pt x="1684194" y="596899"/>
                    </a:moveTo>
                    <a:lnTo>
                      <a:pt x="1684194" y="622299"/>
                    </a:lnTo>
                    <a:lnTo>
                      <a:pt x="1686354" y="622299"/>
                    </a:lnTo>
                    <a:lnTo>
                      <a:pt x="1684194" y="596899"/>
                    </a:lnTo>
                    <a:close/>
                  </a:path>
                  <a:path w="3439795" h="1447800">
                    <a:moveTo>
                      <a:pt x="1686354" y="596899"/>
                    </a:moveTo>
                    <a:lnTo>
                      <a:pt x="1684194" y="596899"/>
                    </a:lnTo>
                    <a:lnTo>
                      <a:pt x="1686354" y="622299"/>
                    </a:lnTo>
                    <a:lnTo>
                      <a:pt x="1686354" y="596899"/>
                    </a:lnTo>
                    <a:close/>
                  </a:path>
                  <a:path w="3439795" h="1447800">
                    <a:moveTo>
                      <a:pt x="1692835" y="596899"/>
                    </a:moveTo>
                    <a:lnTo>
                      <a:pt x="1686354" y="596899"/>
                    </a:lnTo>
                    <a:lnTo>
                      <a:pt x="1686354" y="622299"/>
                    </a:lnTo>
                    <a:lnTo>
                      <a:pt x="1694905" y="622299"/>
                    </a:lnTo>
                    <a:lnTo>
                      <a:pt x="1699226" y="609599"/>
                    </a:lnTo>
                    <a:lnTo>
                      <a:pt x="1692835" y="596899"/>
                    </a:lnTo>
                    <a:close/>
                  </a:path>
                  <a:path w="3439795" h="1447800">
                    <a:moveTo>
                      <a:pt x="1699226" y="609599"/>
                    </a:moveTo>
                    <a:lnTo>
                      <a:pt x="1694905" y="622299"/>
                    </a:lnTo>
                    <a:lnTo>
                      <a:pt x="1697066" y="622299"/>
                    </a:lnTo>
                    <a:lnTo>
                      <a:pt x="1699226" y="609599"/>
                    </a:lnTo>
                    <a:close/>
                  </a:path>
                  <a:path w="3439795" h="1447800">
                    <a:moveTo>
                      <a:pt x="1744590" y="596899"/>
                    </a:moveTo>
                    <a:lnTo>
                      <a:pt x="1735949" y="609599"/>
                    </a:lnTo>
                    <a:lnTo>
                      <a:pt x="1746751" y="622299"/>
                    </a:lnTo>
                    <a:lnTo>
                      <a:pt x="1749893" y="617681"/>
                    </a:lnTo>
                    <a:lnTo>
                      <a:pt x="1744590" y="596899"/>
                    </a:lnTo>
                    <a:close/>
                  </a:path>
                  <a:path w="3439795" h="1447800">
                    <a:moveTo>
                      <a:pt x="1753231" y="612774"/>
                    </a:moveTo>
                    <a:lnTo>
                      <a:pt x="1749991" y="617537"/>
                    </a:lnTo>
                    <a:lnTo>
                      <a:pt x="1749991" y="618066"/>
                    </a:lnTo>
                    <a:lnTo>
                      <a:pt x="1751071" y="622299"/>
                    </a:lnTo>
                    <a:lnTo>
                      <a:pt x="1753231" y="622299"/>
                    </a:lnTo>
                    <a:lnTo>
                      <a:pt x="1753231" y="612774"/>
                    </a:lnTo>
                    <a:close/>
                  </a:path>
                  <a:path w="3439795" h="1447800">
                    <a:moveTo>
                      <a:pt x="1754606" y="610754"/>
                    </a:moveTo>
                    <a:lnTo>
                      <a:pt x="1753231" y="612774"/>
                    </a:lnTo>
                    <a:lnTo>
                      <a:pt x="1753231" y="622299"/>
                    </a:lnTo>
                    <a:lnTo>
                      <a:pt x="1757552" y="622299"/>
                    </a:lnTo>
                    <a:lnTo>
                      <a:pt x="1754606" y="610754"/>
                    </a:lnTo>
                    <a:close/>
                  </a:path>
                  <a:path w="3439795" h="1447800">
                    <a:moveTo>
                      <a:pt x="1755391" y="596899"/>
                    </a:moveTo>
                    <a:lnTo>
                      <a:pt x="1753231" y="596899"/>
                    </a:lnTo>
                    <a:lnTo>
                      <a:pt x="1753231" y="605366"/>
                    </a:lnTo>
                    <a:lnTo>
                      <a:pt x="1753848" y="607785"/>
                    </a:lnTo>
                    <a:lnTo>
                      <a:pt x="1755391" y="609599"/>
                    </a:lnTo>
                    <a:lnTo>
                      <a:pt x="1754606" y="610754"/>
                    </a:lnTo>
                    <a:lnTo>
                      <a:pt x="1757552" y="622299"/>
                    </a:lnTo>
                    <a:lnTo>
                      <a:pt x="1757552" y="599016"/>
                    </a:lnTo>
                    <a:lnTo>
                      <a:pt x="1755391" y="596899"/>
                    </a:lnTo>
                    <a:close/>
                  </a:path>
                  <a:path w="3439795" h="1447800">
                    <a:moveTo>
                      <a:pt x="1757552" y="599016"/>
                    </a:moveTo>
                    <a:lnTo>
                      <a:pt x="1757552" y="622299"/>
                    </a:lnTo>
                    <a:lnTo>
                      <a:pt x="1764032" y="609599"/>
                    </a:lnTo>
                    <a:lnTo>
                      <a:pt x="1766192" y="609599"/>
                    </a:lnTo>
                    <a:lnTo>
                      <a:pt x="1765112" y="606424"/>
                    </a:lnTo>
                    <a:lnTo>
                      <a:pt x="1757552" y="599016"/>
                    </a:lnTo>
                    <a:close/>
                  </a:path>
                  <a:path w="3439795" h="1447800">
                    <a:moveTo>
                      <a:pt x="1764032" y="609599"/>
                    </a:moveTo>
                    <a:lnTo>
                      <a:pt x="1757552" y="622299"/>
                    </a:lnTo>
                    <a:lnTo>
                      <a:pt x="1761872" y="622299"/>
                    </a:lnTo>
                    <a:lnTo>
                      <a:pt x="1764032" y="609599"/>
                    </a:lnTo>
                    <a:close/>
                  </a:path>
                  <a:path w="3439795" h="1447800">
                    <a:moveTo>
                      <a:pt x="1802916" y="609599"/>
                    </a:moveTo>
                    <a:lnTo>
                      <a:pt x="1805076" y="622299"/>
                    </a:lnTo>
                    <a:lnTo>
                      <a:pt x="1805076" y="615949"/>
                    </a:lnTo>
                    <a:lnTo>
                      <a:pt x="1802916" y="609599"/>
                    </a:lnTo>
                    <a:close/>
                  </a:path>
                  <a:path w="3439795" h="1447800">
                    <a:moveTo>
                      <a:pt x="1805076" y="615949"/>
                    </a:moveTo>
                    <a:lnTo>
                      <a:pt x="1805076" y="622299"/>
                    </a:lnTo>
                    <a:lnTo>
                      <a:pt x="1806805" y="621029"/>
                    </a:lnTo>
                    <a:lnTo>
                      <a:pt x="1805076" y="615949"/>
                    </a:lnTo>
                    <a:close/>
                  </a:path>
                  <a:path w="3439795" h="1447800">
                    <a:moveTo>
                      <a:pt x="1806805" y="621029"/>
                    </a:moveTo>
                    <a:lnTo>
                      <a:pt x="1805076" y="622299"/>
                    </a:lnTo>
                    <a:lnTo>
                      <a:pt x="1807237" y="622299"/>
                    </a:lnTo>
                    <a:lnTo>
                      <a:pt x="1806805" y="621029"/>
                    </a:lnTo>
                    <a:close/>
                  </a:path>
                  <a:path w="3439795" h="1447800">
                    <a:moveTo>
                      <a:pt x="1809790" y="618836"/>
                    </a:moveTo>
                    <a:lnTo>
                      <a:pt x="1806805" y="621029"/>
                    </a:lnTo>
                    <a:lnTo>
                      <a:pt x="1807237" y="622299"/>
                    </a:lnTo>
                    <a:lnTo>
                      <a:pt x="1811557" y="622299"/>
                    </a:lnTo>
                    <a:lnTo>
                      <a:pt x="1809790" y="618836"/>
                    </a:lnTo>
                    <a:close/>
                  </a:path>
                  <a:path w="3439795" h="1447800">
                    <a:moveTo>
                      <a:pt x="1811557" y="617537"/>
                    </a:moveTo>
                    <a:lnTo>
                      <a:pt x="1809790" y="618836"/>
                    </a:lnTo>
                    <a:lnTo>
                      <a:pt x="1811557" y="622299"/>
                    </a:lnTo>
                    <a:lnTo>
                      <a:pt x="1811557" y="617537"/>
                    </a:lnTo>
                    <a:close/>
                  </a:path>
                  <a:path w="3439795" h="1447800">
                    <a:moveTo>
                      <a:pt x="1828839" y="609599"/>
                    </a:moveTo>
                    <a:lnTo>
                      <a:pt x="1822358" y="609599"/>
                    </a:lnTo>
                    <a:lnTo>
                      <a:pt x="1811557" y="617537"/>
                    </a:lnTo>
                    <a:lnTo>
                      <a:pt x="1811557" y="622299"/>
                    </a:lnTo>
                    <a:lnTo>
                      <a:pt x="1824518" y="622299"/>
                    </a:lnTo>
                    <a:lnTo>
                      <a:pt x="1828839" y="609599"/>
                    </a:lnTo>
                    <a:close/>
                  </a:path>
                  <a:path w="3439795" h="1447800">
                    <a:moveTo>
                      <a:pt x="1835319" y="609599"/>
                    </a:moveTo>
                    <a:lnTo>
                      <a:pt x="1828839" y="609599"/>
                    </a:lnTo>
                    <a:lnTo>
                      <a:pt x="1824518" y="622299"/>
                    </a:lnTo>
                    <a:lnTo>
                      <a:pt x="1826679" y="622299"/>
                    </a:lnTo>
                    <a:lnTo>
                      <a:pt x="1835319" y="609599"/>
                    </a:lnTo>
                    <a:close/>
                  </a:path>
                  <a:path w="3439795" h="1447800">
                    <a:moveTo>
                      <a:pt x="1839640" y="609599"/>
                    </a:moveTo>
                    <a:lnTo>
                      <a:pt x="1835319" y="609599"/>
                    </a:lnTo>
                    <a:lnTo>
                      <a:pt x="1830999" y="622299"/>
                    </a:lnTo>
                    <a:lnTo>
                      <a:pt x="1843960" y="622299"/>
                    </a:lnTo>
                    <a:lnTo>
                      <a:pt x="1839640" y="609599"/>
                    </a:lnTo>
                    <a:close/>
                  </a:path>
                  <a:path w="3439795" h="1447800">
                    <a:moveTo>
                      <a:pt x="1841800" y="609599"/>
                    </a:moveTo>
                    <a:lnTo>
                      <a:pt x="1839640" y="609599"/>
                    </a:lnTo>
                    <a:lnTo>
                      <a:pt x="1843960" y="622299"/>
                    </a:lnTo>
                    <a:lnTo>
                      <a:pt x="1841800" y="609599"/>
                    </a:lnTo>
                    <a:close/>
                  </a:path>
                  <a:path w="3439795" h="1447800">
                    <a:moveTo>
                      <a:pt x="1841800" y="609599"/>
                    </a:moveTo>
                    <a:lnTo>
                      <a:pt x="1843960" y="622299"/>
                    </a:lnTo>
                    <a:lnTo>
                      <a:pt x="1844886" y="618671"/>
                    </a:lnTo>
                    <a:lnTo>
                      <a:pt x="1841800" y="609599"/>
                    </a:lnTo>
                    <a:close/>
                  </a:path>
                  <a:path w="3439795" h="1447800">
                    <a:moveTo>
                      <a:pt x="1844886" y="618671"/>
                    </a:moveTo>
                    <a:lnTo>
                      <a:pt x="1843960" y="622299"/>
                    </a:lnTo>
                    <a:lnTo>
                      <a:pt x="1845040" y="619124"/>
                    </a:lnTo>
                    <a:lnTo>
                      <a:pt x="1844886" y="618671"/>
                    </a:lnTo>
                    <a:close/>
                  </a:path>
                  <a:path w="3439795" h="1447800">
                    <a:moveTo>
                      <a:pt x="1856922" y="596899"/>
                    </a:moveTo>
                    <a:lnTo>
                      <a:pt x="1852601" y="596899"/>
                    </a:lnTo>
                    <a:lnTo>
                      <a:pt x="1845040" y="619124"/>
                    </a:lnTo>
                    <a:lnTo>
                      <a:pt x="1846120" y="622299"/>
                    </a:lnTo>
                    <a:lnTo>
                      <a:pt x="1856922" y="596899"/>
                    </a:lnTo>
                    <a:close/>
                  </a:path>
                  <a:path w="3439795" h="1447800">
                    <a:moveTo>
                      <a:pt x="1867723" y="609599"/>
                    </a:moveTo>
                    <a:lnTo>
                      <a:pt x="1865562" y="609599"/>
                    </a:lnTo>
                    <a:lnTo>
                      <a:pt x="1859082" y="622299"/>
                    </a:lnTo>
                    <a:lnTo>
                      <a:pt x="1867723" y="609599"/>
                    </a:lnTo>
                    <a:close/>
                  </a:path>
                  <a:path w="3439795" h="1447800">
                    <a:moveTo>
                      <a:pt x="1908677" y="609599"/>
                    </a:moveTo>
                    <a:lnTo>
                      <a:pt x="1906517" y="609599"/>
                    </a:lnTo>
                    <a:lnTo>
                      <a:pt x="1912997" y="622299"/>
                    </a:lnTo>
                    <a:lnTo>
                      <a:pt x="1908677" y="609599"/>
                    </a:lnTo>
                    <a:close/>
                  </a:path>
                  <a:path w="3439795" h="1447800">
                    <a:moveTo>
                      <a:pt x="1921638" y="596899"/>
                    </a:moveTo>
                    <a:lnTo>
                      <a:pt x="1917318" y="609599"/>
                    </a:lnTo>
                    <a:lnTo>
                      <a:pt x="1928119" y="622299"/>
                    </a:lnTo>
                    <a:lnTo>
                      <a:pt x="1919478" y="609599"/>
                    </a:lnTo>
                    <a:lnTo>
                      <a:pt x="1925762" y="600363"/>
                    </a:lnTo>
                    <a:lnTo>
                      <a:pt x="1921638" y="596899"/>
                    </a:lnTo>
                    <a:close/>
                  </a:path>
                  <a:path w="3439795" h="1447800">
                    <a:moveTo>
                      <a:pt x="1936039" y="613833"/>
                    </a:moveTo>
                    <a:lnTo>
                      <a:pt x="1934599" y="615949"/>
                    </a:lnTo>
                    <a:lnTo>
                      <a:pt x="1934599" y="622299"/>
                    </a:lnTo>
                    <a:lnTo>
                      <a:pt x="1936039" y="613833"/>
                    </a:lnTo>
                    <a:close/>
                  </a:path>
                  <a:path w="3439795" h="1447800">
                    <a:moveTo>
                      <a:pt x="1938920" y="609599"/>
                    </a:moveTo>
                    <a:lnTo>
                      <a:pt x="1936039" y="613833"/>
                    </a:lnTo>
                    <a:lnTo>
                      <a:pt x="1934599" y="622299"/>
                    </a:lnTo>
                    <a:lnTo>
                      <a:pt x="1951881" y="622299"/>
                    </a:lnTo>
                    <a:lnTo>
                      <a:pt x="1938920" y="609599"/>
                    </a:lnTo>
                    <a:close/>
                  </a:path>
                  <a:path w="3439795" h="1447800">
                    <a:moveTo>
                      <a:pt x="1945400" y="596899"/>
                    </a:moveTo>
                    <a:lnTo>
                      <a:pt x="1938920" y="609599"/>
                    </a:lnTo>
                    <a:lnTo>
                      <a:pt x="1954041" y="622299"/>
                    </a:lnTo>
                    <a:lnTo>
                      <a:pt x="1956202" y="622299"/>
                    </a:lnTo>
                    <a:lnTo>
                      <a:pt x="1945400" y="609599"/>
                    </a:lnTo>
                    <a:lnTo>
                      <a:pt x="1946841" y="601133"/>
                    </a:lnTo>
                    <a:lnTo>
                      <a:pt x="1946751" y="600074"/>
                    </a:lnTo>
                    <a:lnTo>
                      <a:pt x="1945400" y="596899"/>
                    </a:lnTo>
                    <a:close/>
                  </a:path>
                  <a:path w="3439795" h="1447800">
                    <a:moveTo>
                      <a:pt x="1946943" y="600528"/>
                    </a:moveTo>
                    <a:lnTo>
                      <a:pt x="1945400" y="609599"/>
                    </a:lnTo>
                    <a:lnTo>
                      <a:pt x="1956202" y="622299"/>
                    </a:lnTo>
                    <a:lnTo>
                      <a:pt x="1946943" y="600528"/>
                    </a:lnTo>
                    <a:close/>
                  </a:path>
                  <a:path w="3439795" h="1447800">
                    <a:moveTo>
                      <a:pt x="1947291" y="598487"/>
                    </a:moveTo>
                    <a:lnTo>
                      <a:pt x="1946943" y="600528"/>
                    </a:lnTo>
                    <a:lnTo>
                      <a:pt x="1956202" y="622299"/>
                    </a:lnTo>
                    <a:lnTo>
                      <a:pt x="1958362" y="622299"/>
                    </a:lnTo>
                    <a:lnTo>
                      <a:pt x="1960522" y="609599"/>
                    </a:lnTo>
                    <a:lnTo>
                      <a:pt x="1947291" y="598487"/>
                    </a:lnTo>
                    <a:close/>
                  </a:path>
                  <a:path w="3439795" h="1447800">
                    <a:moveTo>
                      <a:pt x="423168" y="609599"/>
                    </a:moveTo>
                    <a:lnTo>
                      <a:pt x="412367" y="609599"/>
                    </a:lnTo>
                    <a:lnTo>
                      <a:pt x="416255" y="617219"/>
                    </a:lnTo>
                    <a:lnTo>
                      <a:pt x="421597" y="621145"/>
                    </a:lnTo>
                    <a:lnTo>
                      <a:pt x="423168" y="618066"/>
                    </a:lnTo>
                    <a:lnTo>
                      <a:pt x="423168" y="609599"/>
                    </a:lnTo>
                    <a:close/>
                  </a:path>
                  <a:path w="3439795" h="1447800">
                    <a:moveTo>
                      <a:pt x="1805076" y="609599"/>
                    </a:moveTo>
                    <a:lnTo>
                      <a:pt x="1805076" y="615949"/>
                    </a:lnTo>
                    <a:lnTo>
                      <a:pt x="1806805" y="621029"/>
                    </a:lnTo>
                    <a:lnTo>
                      <a:pt x="1809790" y="618836"/>
                    </a:lnTo>
                    <a:lnTo>
                      <a:pt x="1805076" y="609599"/>
                    </a:lnTo>
                    <a:close/>
                  </a:path>
                  <a:path w="3439795" h="1447800">
                    <a:moveTo>
                      <a:pt x="1472583" y="609599"/>
                    </a:moveTo>
                    <a:lnTo>
                      <a:pt x="1466102" y="609599"/>
                    </a:lnTo>
                    <a:lnTo>
                      <a:pt x="1474743" y="619759"/>
                    </a:lnTo>
                    <a:lnTo>
                      <a:pt x="1474743" y="611414"/>
                    </a:lnTo>
                    <a:lnTo>
                      <a:pt x="1472583" y="609599"/>
                    </a:lnTo>
                    <a:close/>
                  </a:path>
                  <a:path w="3439795" h="1447800">
                    <a:moveTo>
                      <a:pt x="1481224" y="609599"/>
                    </a:moveTo>
                    <a:lnTo>
                      <a:pt x="1474743" y="609599"/>
                    </a:lnTo>
                    <a:lnTo>
                      <a:pt x="1486084" y="619124"/>
                    </a:lnTo>
                    <a:lnTo>
                      <a:pt x="1481224" y="609599"/>
                    </a:lnTo>
                    <a:close/>
                  </a:path>
                  <a:path w="3439795" h="1447800">
                    <a:moveTo>
                      <a:pt x="1852601" y="596899"/>
                    </a:moveTo>
                    <a:lnTo>
                      <a:pt x="1850441" y="596899"/>
                    </a:lnTo>
                    <a:lnTo>
                      <a:pt x="1845040" y="618066"/>
                    </a:lnTo>
                    <a:lnTo>
                      <a:pt x="1844942" y="618836"/>
                    </a:lnTo>
                    <a:lnTo>
                      <a:pt x="1845040" y="619124"/>
                    </a:lnTo>
                    <a:lnTo>
                      <a:pt x="1852601" y="596899"/>
                    </a:lnTo>
                    <a:close/>
                  </a:path>
                  <a:path w="3439795" h="1447800">
                    <a:moveTo>
                      <a:pt x="1811557" y="609599"/>
                    </a:moveTo>
                    <a:lnTo>
                      <a:pt x="1805076" y="609599"/>
                    </a:lnTo>
                    <a:lnTo>
                      <a:pt x="1809790" y="618836"/>
                    </a:lnTo>
                    <a:lnTo>
                      <a:pt x="1811557" y="617537"/>
                    </a:lnTo>
                    <a:lnTo>
                      <a:pt x="1811557" y="609599"/>
                    </a:lnTo>
                    <a:close/>
                  </a:path>
                  <a:path w="3439795" h="1447800">
                    <a:moveTo>
                      <a:pt x="1850441" y="596899"/>
                    </a:moveTo>
                    <a:lnTo>
                      <a:pt x="1837480" y="609599"/>
                    </a:lnTo>
                    <a:lnTo>
                      <a:pt x="1841800" y="609599"/>
                    </a:lnTo>
                    <a:lnTo>
                      <a:pt x="1844886" y="618671"/>
                    </a:lnTo>
                    <a:lnTo>
                      <a:pt x="1850441" y="596899"/>
                    </a:lnTo>
                    <a:close/>
                  </a:path>
                  <a:path w="3439795" h="1447800">
                    <a:moveTo>
                      <a:pt x="414527" y="582083"/>
                    </a:moveTo>
                    <a:lnTo>
                      <a:pt x="414527" y="584199"/>
                    </a:lnTo>
                    <a:lnTo>
                      <a:pt x="407806" y="589844"/>
                    </a:lnTo>
                    <a:lnTo>
                      <a:pt x="410207" y="596899"/>
                    </a:lnTo>
                    <a:lnTo>
                      <a:pt x="410207" y="609599"/>
                    </a:lnTo>
                    <a:lnTo>
                      <a:pt x="423168" y="609599"/>
                    </a:lnTo>
                    <a:lnTo>
                      <a:pt x="423168" y="618066"/>
                    </a:lnTo>
                    <a:lnTo>
                      <a:pt x="427488" y="609599"/>
                    </a:lnTo>
                    <a:lnTo>
                      <a:pt x="427488" y="596899"/>
                    </a:lnTo>
                    <a:lnTo>
                      <a:pt x="423168" y="584199"/>
                    </a:lnTo>
                    <a:lnTo>
                      <a:pt x="416687" y="584199"/>
                    </a:lnTo>
                    <a:lnTo>
                      <a:pt x="414527" y="582083"/>
                    </a:lnTo>
                    <a:close/>
                  </a:path>
                  <a:path w="3439795" h="1447800">
                    <a:moveTo>
                      <a:pt x="483654" y="609599"/>
                    </a:moveTo>
                    <a:lnTo>
                      <a:pt x="479334" y="609599"/>
                    </a:lnTo>
                    <a:lnTo>
                      <a:pt x="483654" y="618066"/>
                    </a:lnTo>
                    <a:lnTo>
                      <a:pt x="483654" y="609599"/>
                    </a:lnTo>
                    <a:close/>
                  </a:path>
                  <a:path w="3439795" h="1447800">
                    <a:moveTo>
                      <a:pt x="598055" y="609599"/>
                    </a:moveTo>
                    <a:lnTo>
                      <a:pt x="592295" y="618066"/>
                    </a:lnTo>
                    <a:lnTo>
                      <a:pt x="594815" y="615949"/>
                    </a:lnTo>
                    <a:lnTo>
                      <a:pt x="598055" y="609599"/>
                    </a:lnTo>
                    <a:close/>
                  </a:path>
                  <a:path w="3439795" h="1447800">
                    <a:moveTo>
                      <a:pt x="1744590" y="596899"/>
                    </a:moveTo>
                    <a:lnTo>
                      <a:pt x="1749893" y="617681"/>
                    </a:lnTo>
                    <a:lnTo>
                      <a:pt x="1753231" y="612774"/>
                    </a:lnTo>
                    <a:lnTo>
                      <a:pt x="1753231" y="607059"/>
                    </a:lnTo>
                    <a:lnTo>
                      <a:pt x="1744590" y="596899"/>
                    </a:lnTo>
                    <a:close/>
                  </a:path>
                  <a:path w="3439795" h="1447800">
                    <a:moveTo>
                      <a:pt x="1811557" y="596899"/>
                    </a:moveTo>
                    <a:lnTo>
                      <a:pt x="1811557" y="617537"/>
                    </a:lnTo>
                    <a:lnTo>
                      <a:pt x="1822358" y="609599"/>
                    </a:lnTo>
                    <a:lnTo>
                      <a:pt x="1820198" y="609599"/>
                    </a:lnTo>
                    <a:lnTo>
                      <a:pt x="1811557" y="596899"/>
                    </a:lnTo>
                    <a:close/>
                  </a:path>
                  <a:path w="3439795" h="1447800">
                    <a:moveTo>
                      <a:pt x="412367" y="609599"/>
                    </a:moveTo>
                    <a:lnTo>
                      <a:pt x="405886" y="609599"/>
                    </a:lnTo>
                    <a:lnTo>
                      <a:pt x="416255" y="617219"/>
                    </a:lnTo>
                    <a:lnTo>
                      <a:pt x="412367" y="609599"/>
                    </a:lnTo>
                    <a:close/>
                  </a:path>
                  <a:path w="3439795" h="1447800">
                    <a:moveTo>
                      <a:pt x="598055" y="609599"/>
                    </a:moveTo>
                    <a:lnTo>
                      <a:pt x="594815" y="615949"/>
                    </a:lnTo>
                    <a:lnTo>
                      <a:pt x="598055" y="613228"/>
                    </a:lnTo>
                    <a:lnTo>
                      <a:pt x="598055" y="609599"/>
                    </a:lnTo>
                    <a:close/>
                  </a:path>
                  <a:path w="3439795" h="1447800">
                    <a:moveTo>
                      <a:pt x="599856" y="611716"/>
                    </a:moveTo>
                    <a:lnTo>
                      <a:pt x="598055" y="613228"/>
                    </a:lnTo>
                    <a:lnTo>
                      <a:pt x="598055" y="615949"/>
                    </a:lnTo>
                    <a:lnTo>
                      <a:pt x="601001" y="613063"/>
                    </a:lnTo>
                    <a:lnTo>
                      <a:pt x="599856" y="611716"/>
                    </a:lnTo>
                    <a:close/>
                  </a:path>
                  <a:path w="3439795" h="1447800">
                    <a:moveTo>
                      <a:pt x="1811557" y="596899"/>
                    </a:moveTo>
                    <a:lnTo>
                      <a:pt x="1802916" y="609599"/>
                    </a:lnTo>
                    <a:lnTo>
                      <a:pt x="1805076" y="615949"/>
                    </a:lnTo>
                    <a:lnTo>
                      <a:pt x="1805076" y="609599"/>
                    </a:lnTo>
                    <a:lnTo>
                      <a:pt x="1811557" y="609599"/>
                    </a:lnTo>
                    <a:lnTo>
                      <a:pt x="1811557" y="596899"/>
                    </a:lnTo>
                    <a:close/>
                  </a:path>
                  <a:path w="3439795" h="1447800">
                    <a:moveTo>
                      <a:pt x="1660432" y="605971"/>
                    </a:moveTo>
                    <a:lnTo>
                      <a:pt x="1656111" y="609599"/>
                    </a:lnTo>
                    <a:lnTo>
                      <a:pt x="1658272" y="609599"/>
                    </a:lnTo>
                    <a:lnTo>
                      <a:pt x="1660432" y="613833"/>
                    </a:lnTo>
                    <a:lnTo>
                      <a:pt x="1660432" y="605971"/>
                    </a:lnTo>
                    <a:close/>
                  </a:path>
                  <a:path w="3439795" h="1447800">
                    <a:moveTo>
                      <a:pt x="598055" y="609599"/>
                    </a:moveTo>
                    <a:lnTo>
                      <a:pt x="598055" y="613228"/>
                    </a:lnTo>
                    <a:lnTo>
                      <a:pt x="599856" y="611716"/>
                    </a:lnTo>
                    <a:lnTo>
                      <a:pt x="598055" y="609599"/>
                    </a:lnTo>
                    <a:close/>
                  </a:path>
                  <a:path w="3439795" h="1447800">
                    <a:moveTo>
                      <a:pt x="604536" y="609599"/>
                    </a:moveTo>
                    <a:lnTo>
                      <a:pt x="602376" y="609599"/>
                    </a:lnTo>
                    <a:lnTo>
                      <a:pt x="599856" y="611716"/>
                    </a:lnTo>
                    <a:lnTo>
                      <a:pt x="601001" y="613063"/>
                    </a:lnTo>
                    <a:lnTo>
                      <a:pt x="604536" y="609599"/>
                    </a:lnTo>
                    <a:close/>
                  </a:path>
                  <a:path w="3439795" h="1447800">
                    <a:moveTo>
                      <a:pt x="1671233" y="596899"/>
                    </a:moveTo>
                    <a:lnTo>
                      <a:pt x="1671233" y="612774"/>
                    </a:lnTo>
                    <a:lnTo>
                      <a:pt x="1673393" y="609599"/>
                    </a:lnTo>
                    <a:lnTo>
                      <a:pt x="1671233" y="596899"/>
                    </a:lnTo>
                    <a:close/>
                  </a:path>
                  <a:path w="3439795" h="1447800">
                    <a:moveTo>
                      <a:pt x="1753231" y="607059"/>
                    </a:moveTo>
                    <a:lnTo>
                      <a:pt x="1753231" y="612774"/>
                    </a:lnTo>
                    <a:lnTo>
                      <a:pt x="1754606" y="610754"/>
                    </a:lnTo>
                    <a:lnTo>
                      <a:pt x="1753848" y="607785"/>
                    </a:lnTo>
                    <a:lnTo>
                      <a:pt x="1753231" y="607059"/>
                    </a:lnTo>
                    <a:close/>
                  </a:path>
                  <a:path w="3439795" h="1447800">
                    <a:moveTo>
                      <a:pt x="1474743" y="609599"/>
                    </a:moveTo>
                    <a:lnTo>
                      <a:pt x="1474743" y="611414"/>
                    </a:lnTo>
                    <a:lnTo>
                      <a:pt x="1475607" y="612139"/>
                    </a:lnTo>
                    <a:lnTo>
                      <a:pt x="1474743" y="609599"/>
                    </a:lnTo>
                    <a:close/>
                  </a:path>
                  <a:path w="3439795" h="1447800">
                    <a:moveTo>
                      <a:pt x="598055" y="596899"/>
                    </a:moveTo>
                    <a:lnTo>
                      <a:pt x="594695" y="599722"/>
                    </a:lnTo>
                    <a:lnTo>
                      <a:pt x="598055" y="609599"/>
                    </a:lnTo>
                    <a:lnTo>
                      <a:pt x="599856" y="611716"/>
                    </a:lnTo>
                    <a:lnTo>
                      <a:pt x="602376" y="609599"/>
                    </a:lnTo>
                    <a:lnTo>
                      <a:pt x="598055" y="596899"/>
                    </a:lnTo>
                    <a:close/>
                  </a:path>
                  <a:path w="3439795" h="1447800">
                    <a:moveTo>
                      <a:pt x="1474743" y="609599"/>
                    </a:moveTo>
                    <a:lnTo>
                      <a:pt x="1472583" y="609599"/>
                    </a:lnTo>
                    <a:lnTo>
                      <a:pt x="1474743" y="611414"/>
                    </a:lnTo>
                    <a:lnTo>
                      <a:pt x="1474743" y="609599"/>
                    </a:lnTo>
                    <a:close/>
                  </a:path>
                  <a:path w="3439795" h="1447800">
                    <a:moveTo>
                      <a:pt x="1308497" y="609599"/>
                    </a:moveTo>
                    <a:lnTo>
                      <a:pt x="1306336" y="609599"/>
                    </a:lnTo>
                    <a:lnTo>
                      <a:pt x="1306876" y="611187"/>
                    </a:lnTo>
                    <a:lnTo>
                      <a:pt x="1308497" y="609599"/>
                    </a:lnTo>
                    <a:close/>
                  </a:path>
                  <a:path w="3439795" h="1447800">
                    <a:moveTo>
                      <a:pt x="1753848" y="607785"/>
                    </a:moveTo>
                    <a:lnTo>
                      <a:pt x="1754606" y="610754"/>
                    </a:lnTo>
                    <a:lnTo>
                      <a:pt x="1755391" y="609599"/>
                    </a:lnTo>
                    <a:lnTo>
                      <a:pt x="1753848" y="607785"/>
                    </a:lnTo>
                    <a:close/>
                  </a:path>
                  <a:path w="3439795" h="1447800">
                    <a:moveTo>
                      <a:pt x="464212" y="558799"/>
                    </a:moveTo>
                    <a:lnTo>
                      <a:pt x="450981" y="569912"/>
                    </a:lnTo>
                    <a:lnTo>
                      <a:pt x="451251" y="571499"/>
                    </a:lnTo>
                    <a:lnTo>
                      <a:pt x="451251" y="609599"/>
                    </a:lnTo>
                    <a:lnTo>
                      <a:pt x="453411" y="609599"/>
                    </a:lnTo>
                    <a:lnTo>
                      <a:pt x="466372" y="596899"/>
                    </a:lnTo>
                    <a:lnTo>
                      <a:pt x="468532" y="596899"/>
                    </a:lnTo>
                    <a:lnTo>
                      <a:pt x="468532" y="571499"/>
                    </a:lnTo>
                    <a:lnTo>
                      <a:pt x="464212" y="558799"/>
                    </a:lnTo>
                    <a:close/>
                  </a:path>
                  <a:path w="3439795" h="1447800">
                    <a:moveTo>
                      <a:pt x="593735" y="596899"/>
                    </a:moveTo>
                    <a:lnTo>
                      <a:pt x="576453" y="596899"/>
                    </a:lnTo>
                    <a:lnTo>
                      <a:pt x="578613" y="609599"/>
                    </a:lnTo>
                    <a:lnTo>
                      <a:pt x="593735" y="596899"/>
                    </a:lnTo>
                    <a:close/>
                  </a:path>
                  <a:path w="3439795" h="1447800">
                    <a:moveTo>
                      <a:pt x="593735" y="596899"/>
                    </a:moveTo>
                    <a:lnTo>
                      <a:pt x="578613" y="609599"/>
                    </a:lnTo>
                    <a:lnTo>
                      <a:pt x="582934" y="609599"/>
                    </a:lnTo>
                    <a:lnTo>
                      <a:pt x="594695" y="599722"/>
                    </a:lnTo>
                    <a:lnTo>
                      <a:pt x="593735" y="596899"/>
                    </a:lnTo>
                    <a:close/>
                  </a:path>
                  <a:path w="3439795" h="1447800">
                    <a:moveTo>
                      <a:pt x="623258" y="608188"/>
                    </a:moveTo>
                    <a:lnTo>
                      <a:pt x="621818" y="609599"/>
                    </a:lnTo>
                    <a:lnTo>
                      <a:pt x="623978" y="609599"/>
                    </a:lnTo>
                    <a:lnTo>
                      <a:pt x="623258" y="608188"/>
                    </a:lnTo>
                    <a:close/>
                  </a:path>
                  <a:path w="3439795" h="1447800">
                    <a:moveTo>
                      <a:pt x="634779" y="596899"/>
                    </a:moveTo>
                    <a:lnTo>
                      <a:pt x="623258" y="608188"/>
                    </a:lnTo>
                    <a:lnTo>
                      <a:pt x="623978" y="609599"/>
                    </a:lnTo>
                    <a:lnTo>
                      <a:pt x="634779" y="596899"/>
                    </a:lnTo>
                    <a:close/>
                  </a:path>
                  <a:path w="3439795" h="1447800">
                    <a:moveTo>
                      <a:pt x="639100" y="596899"/>
                    </a:moveTo>
                    <a:lnTo>
                      <a:pt x="634779" y="596899"/>
                    </a:lnTo>
                    <a:lnTo>
                      <a:pt x="623978" y="609599"/>
                    </a:lnTo>
                    <a:lnTo>
                      <a:pt x="632619" y="603249"/>
                    </a:lnTo>
                    <a:lnTo>
                      <a:pt x="639100" y="596899"/>
                    </a:lnTo>
                    <a:close/>
                  </a:path>
                  <a:path w="3439795" h="1447800">
                    <a:moveTo>
                      <a:pt x="632619" y="603249"/>
                    </a:moveTo>
                    <a:lnTo>
                      <a:pt x="623978" y="609599"/>
                    </a:lnTo>
                    <a:lnTo>
                      <a:pt x="626138" y="609599"/>
                    </a:lnTo>
                    <a:lnTo>
                      <a:pt x="632619" y="603249"/>
                    </a:lnTo>
                    <a:close/>
                  </a:path>
                  <a:path w="3439795" h="1447800">
                    <a:moveTo>
                      <a:pt x="639980" y="597840"/>
                    </a:moveTo>
                    <a:lnTo>
                      <a:pt x="632619" y="603249"/>
                    </a:lnTo>
                    <a:lnTo>
                      <a:pt x="626138" y="609599"/>
                    </a:lnTo>
                    <a:lnTo>
                      <a:pt x="640050" y="597915"/>
                    </a:lnTo>
                    <a:close/>
                  </a:path>
                  <a:path w="3439795" h="1447800">
                    <a:moveTo>
                      <a:pt x="1481224" y="596899"/>
                    </a:moveTo>
                    <a:lnTo>
                      <a:pt x="1485544" y="609599"/>
                    </a:lnTo>
                    <a:lnTo>
                      <a:pt x="1486779" y="602342"/>
                    </a:lnTo>
                    <a:lnTo>
                      <a:pt x="1481224" y="596899"/>
                    </a:lnTo>
                    <a:close/>
                  </a:path>
                  <a:path w="3439795" h="1447800">
                    <a:moveTo>
                      <a:pt x="1489865" y="596899"/>
                    </a:moveTo>
                    <a:lnTo>
                      <a:pt x="1489865" y="605366"/>
                    </a:lnTo>
                    <a:lnTo>
                      <a:pt x="1494185" y="609599"/>
                    </a:lnTo>
                    <a:lnTo>
                      <a:pt x="1489865" y="596899"/>
                    </a:lnTo>
                    <a:close/>
                  </a:path>
                  <a:path w="3439795" h="1447800">
                    <a:moveTo>
                      <a:pt x="1496345" y="600074"/>
                    </a:moveTo>
                    <a:lnTo>
                      <a:pt x="1496345" y="609599"/>
                    </a:lnTo>
                    <a:lnTo>
                      <a:pt x="1498506" y="609599"/>
                    </a:lnTo>
                    <a:lnTo>
                      <a:pt x="1500666" y="606424"/>
                    </a:lnTo>
                    <a:lnTo>
                      <a:pt x="1496345" y="600074"/>
                    </a:lnTo>
                    <a:close/>
                  </a:path>
                  <a:path w="3439795" h="1447800">
                    <a:moveTo>
                      <a:pt x="1500666" y="606424"/>
                    </a:moveTo>
                    <a:lnTo>
                      <a:pt x="1498506" y="609599"/>
                    </a:lnTo>
                    <a:lnTo>
                      <a:pt x="1502826" y="609599"/>
                    </a:lnTo>
                    <a:lnTo>
                      <a:pt x="1500666" y="606424"/>
                    </a:lnTo>
                    <a:close/>
                  </a:path>
                  <a:path w="3439795" h="1447800">
                    <a:moveTo>
                      <a:pt x="1501648" y="604981"/>
                    </a:moveTo>
                    <a:lnTo>
                      <a:pt x="1500666" y="606424"/>
                    </a:lnTo>
                    <a:lnTo>
                      <a:pt x="1502826" y="609599"/>
                    </a:lnTo>
                    <a:lnTo>
                      <a:pt x="1501648" y="604981"/>
                    </a:lnTo>
                    <a:close/>
                  </a:path>
                  <a:path w="3439795" h="1447800">
                    <a:moveTo>
                      <a:pt x="1505418" y="599439"/>
                    </a:moveTo>
                    <a:lnTo>
                      <a:pt x="1501648" y="604981"/>
                    </a:lnTo>
                    <a:lnTo>
                      <a:pt x="1502826" y="609599"/>
                    </a:lnTo>
                    <a:lnTo>
                      <a:pt x="1505706" y="601133"/>
                    </a:lnTo>
                    <a:lnTo>
                      <a:pt x="1505418" y="599439"/>
                    </a:lnTo>
                    <a:close/>
                  </a:path>
                  <a:path w="3439795" h="1447800">
                    <a:moveTo>
                      <a:pt x="1505706" y="601133"/>
                    </a:moveTo>
                    <a:lnTo>
                      <a:pt x="1502826" y="609599"/>
                    </a:lnTo>
                    <a:lnTo>
                      <a:pt x="1504986" y="609599"/>
                    </a:lnTo>
                    <a:lnTo>
                      <a:pt x="1506066" y="603249"/>
                    </a:lnTo>
                    <a:lnTo>
                      <a:pt x="1505706" y="601133"/>
                    </a:lnTo>
                    <a:close/>
                  </a:path>
                  <a:path w="3439795" h="1447800">
                    <a:moveTo>
                      <a:pt x="1506066" y="603249"/>
                    </a:moveTo>
                    <a:lnTo>
                      <a:pt x="1504986" y="609599"/>
                    </a:lnTo>
                    <a:lnTo>
                      <a:pt x="1507147" y="609599"/>
                    </a:lnTo>
                    <a:lnTo>
                      <a:pt x="1506066" y="603249"/>
                    </a:lnTo>
                    <a:close/>
                  </a:path>
                  <a:path w="3439795" h="1447800">
                    <a:moveTo>
                      <a:pt x="1507147" y="596899"/>
                    </a:moveTo>
                    <a:lnTo>
                      <a:pt x="1506066" y="603249"/>
                    </a:lnTo>
                    <a:lnTo>
                      <a:pt x="1507147" y="609599"/>
                    </a:lnTo>
                    <a:lnTo>
                      <a:pt x="1507147" y="596899"/>
                    </a:lnTo>
                    <a:close/>
                  </a:path>
                  <a:path w="3439795" h="1447800">
                    <a:moveTo>
                      <a:pt x="1503137" y="586025"/>
                    </a:moveTo>
                    <a:lnTo>
                      <a:pt x="1504266" y="592666"/>
                    </a:lnTo>
                    <a:lnTo>
                      <a:pt x="1507147" y="596899"/>
                    </a:lnTo>
                    <a:lnTo>
                      <a:pt x="1507147" y="609599"/>
                    </a:lnTo>
                    <a:lnTo>
                      <a:pt x="1511377" y="596899"/>
                    </a:lnTo>
                    <a:lnTo>
                      <a:pt x="1517858" y="596899"/>
                    </a:lnTo>
                    <a:lnTo>
                      <a:pt x="1503137" y="586025"/>
                    </a:lnTo>
                    <a:close/>
                  </a:path>
                  <a:path w="3439795" h="1447800">
                    <a:moveTo>
                      <a:pt x="1615067" y="584199"/>
                    </a:moveTo>
                    <a:lnTo>
                      <a:pt x="1608587" y="584199"/>
                    </a:lnTo>
                    <a:lnTo>
                      <a:pt x="1599946" y="596899"/>
                    </a:lnTo>
                    <a:lnTo>
                      <a:pt x="1606426" y="596899"/>
                    </a:lnTo>
                    <a:lnTo>
                      <a:pt x="1608587" y="609599"/>
                    </a:lnTo>
                    <a:lnTo>
                      <a:pt x="1615067" y="584199"/>
                    </a:lnTo>
                    <a:close/>
                  </a:path>
                  <a:path w="3439795" h="1447800">
                    <a:moveTo>
                      <a:pt x="1615067" y="584199"/>
                    </a:moveTo>
                    <a:lnTo>
                      <a:pt x="1608587" y="609599"/>
                    </a:lnTo>
                    <a:lnTo>
                      <a:pt x="1616507" y="586316"/>
                    </a:lnTo>
                    <a:lnTo>
                      <a:pt x="1615067" y="584199"/>
                    </a:lnTo>
                    <a:close/>
                  </a:path>
                  <a:path w="3439795" h="1447800">
                    <a:moveTo>
                      <a:pt x="1616507" y="586316"/>
                    </a:moveTo>
                    <a:lnTo>
                      <a:pt x="1608587" y="609599"/>
                    </a:lnTo>
                    <a:lnTo>
                      <a:pt x="1612907" y="609599"/>
                    </a:lnTo>
                    <a:lnTo>
                      <a:pt x="1625868" y="596899"/>
                    </a:lnTo>
                    <a:lnTo>
                      <a:pt x="1623708" y="596899"/>
                    </a:lnTo>
                    <a:lnTo>
                      <a:pt x="1616507" y="586316"/>
                    </a:lnTo>
                    <a:close/>
                  </a:path>
                  <a:path w="3439795" h="1447800">
                    <a:moveTo>
                      <a:pt x="1625868" y="596899"/>
                    </a:moveTo>
                    <a:lnTo>
                      <a:pt x="1612907" y="609599"/>
                    </a:lnTo>
                    <a:lnTo>
                      <a:pt x="1617228" y="609599"/>
                    </a:lnTo>
                    <a:lnTo>
                      <a:pt x="1625868" y="596899"/>
                    </a:lnTo>
                    <a:close/>
                  </a:path>
                  <a:path w="3439795" h="1447800">
                    <a:moveTo>
                      <a:pt x="1628029" y="596899"/>
                    </a:moveTo>
                    <a:lnTo>
                      <a:pt x="1625868" y="596899"/>
                    </a:lnTo>
                    <a:lnTo>
                      <a:pt x="1617228" y="609599"/>
                    </a:lnTo>
                    <a:lnTo>
                      <a:pt x="1619388" y="609599"/>
                    </a:lnTo>
                    <a:lnTo>
                      <a:pt x="1628029" y="596899"/>
                    </a:lnTo>
                    <a:close/>
                  </a:path>
                  <a:path w="3439795" h="1447800">
                    <a:moveTo>
                      <a:pt x="1630189" y="596899"/>
                    </a:moveTo>
                    <a:lnTo>
                      <a:pt x="1628029" y="596899"/>
                    </a:lnTo>
                    <a:lnTo>
                      <a:pt x="1619388" y="609599"/>
                    </a:lnTo>
                    <a:lnTo>
                      <a:pt x="1630189" y="596899"/>
                    </a:lnTo>
                    <a:close/>
                  </a:path>
                  <a:path w="3439795" h="1447800">
                    <a:moveTo>
                      <a:pt x="1630189" y="596899"/>
                    </a:moveTo>
                    <a:lnTo>
                      <a:pt x="1619388" y="609599"/>
                    </a:lnTo>
                    <a:lnTo>
                      <a:pt x="1623708" y="609599"/>
                    </a:lnTo>
                    <a:lnTo>
                      <a:pt x="1630189" y="596899"/>
                    </a:lnTo>
                    <a:close/>
                  </a:path>
                  <a:path w="3439795" h="1447800">
                    <a:moveTo>
                      <a:pt x="1632349" y="596899"/>
                    </a:moveTo>
                    <a:lnTo>
                      <a:pt x="1630189" y="596899"/>
                    </a:lnTo>
                    <a:lnTo>
                      <a:pt x="1623708" y="609599"/>
                    </a:lnTo>
                    <a:lnTo>
                      <a:pt x="1632349" y="596899"/>
                    </a:lnTo>
                    <a:close/>
                  </a:path>
                  <a:path w="3439795" h="1447800">
                    <a:moveTo>
                      <a:pt x="1694905" y="596899"/>
                    </a:moveTo>
                    <a:lnTo>
                      <a:pt x="1692835" y="596899"/>
                    </a:lnTo>
                    <a:lnTo>
                      <a:pt x="1699226" y="609599"/>
                    </a:lnTo>
                    <a:lnTo>
                      <a:pt x="1694905" y="596899"/>
                    </a:lnTo>
                    <a:close/>
                  </a:path>
                  <a:path w="3439795" h="1447800">
                    <a:moveTo>
                      <a:pt x="1701386" y="596899"/>
                    </a:moveTo>
                    <a:lnTo>
                      <a:pt x="1694905" y="596899"/>
                    </a:lnTo>
                    <a:lnTo>
                      <a:pt x="1699226" y="609599"/>
                    </a:lnTo>
                    <a:lnTo>
                      <a:pt x="1705706" y="609599"/>
                    </a:lnTo>
                    <a:lnTo>
                      <a:pt x="1701386" y="596899"/>
                    </a:lnTo>
                    <a:close/>
                  </a:path>
                  <a:path w="3439795" h="1447800">
                    <a:moveTo>
                      <a:pt x="1701386" y="596899"/>
                    </a:moveTo>
                    <a:lnTo>
                      <a:pt x="1705706" y="609599"/>
                    </a:lnTo>
                    <a:lnTo>
                      <a:pt x="1707867" y="609599"/>
                    </a:lnTo>
                    <a:lnTo>
                      <a:pt x="1701386" y="596899"/>
                    </a:lnTo>
                    <a:close/>
                  </a:path>
                  <a:path w="3439795" h="1447800">
                    <a:moveTo>
                      <a:pt x="1707867" y="596899"/>
                    </a:moveTo>
                    <a:lnTo>
                      <a:pt x="1701386" y="596899"/>
                    </a:lnTo>
                    <a:lnTo>
                      <a:pt x="1707867" y="609599"/>
                    </a:lnTo>
                    <a:lnTo>
                      <a:pt x="1714347" y="609599"/>
                    </a:lnTo>
                    <a:lnTo>
                      <a:pt x="1707867" y="596899"/>
                    </a:lnTo>
                    <a:close/>
                  </a:path>
                  <a:path w="3439795" h="1447800">
                    <a:moveTo>
                      <a:pt x="1710027" y="596899"/>
                    </a:moveTo>
                    <a:lnTo>
                      <a:pt x="1707867" y="596899"/>
                    </a:lnTo>
                    <a:lnTo>
                      <a:pt x="1714347" y="609599"/>
                    </a:lnTo>
                    <a:lnTo>
                      <a:pt x="1716507" y="609599"/>
                    </a:lnTo>
                    <a:lnTo>
                      <a:pt x="1710027" y="596899"/>
                    </a:lnTo>
                    <a:close/>
                  </a:path>
                  <a:path w="3439795" h="1447800">
                    <a:moveTo>
                      <a:pt x="1712187" y="596899"/>
                    </a:moveTo>
                    <a:lnTo>
                      <a:pt x="1710027" y="596899"/>
                    </a:lnTo>
                    <a:lnTo>
                      <a:pt x="1716507" y="609599"/>
                    </a:lnTo>
                    <a:lnTo>
                      <a:pt x="1727309" y="609599"/>
                    </a:lnTo>
                    <a:lnTo>
                      <a:pt x="1712187" y="596899"/>
                    </a:lnTo>
                    <a:close/>
                  </a:path>
                  <a:path w="3439795" h="1447800">
                    <a:moveTo>
                      <a:pt x="1716507" y="596899"/>
                    </a:moveTo>
                    <a:lnTo>
                      <a:pt x="1712187" y="596899"/>
                    </a:lnTo>
                    <a:lnTo>
                      <a:pt x="1727309" y="609599"/>
                    </a:lnTo>
                    <a:lnTo>
                      <a:pt x="1716507" y="596899"/>
                    </a:lnTo>
                    <a:close/>
                  </a:path>
                  <a:path w="3439795" h="1447800">
                    <a:moveTo>
                      <a:pt x="1714347" y="584199"/>
                    </a:moveTo>
                    <a:lnTo>
                      <a:pt x="1727309" y="596899"/>
                    </a:lnTo>
                    <a:lnTo>
                      <a:pt x="1716507" y="596899"/>
                    </a:lnTo>
                    <a:lnTo>
                      <a:pt x="1727309" y="609599"/>
                    </a:lnTo>
                    <a:lnTo>
                      <a:pt x="1729469" y="596899"/>
                    </a:lnTo>
                    <a:lnTo>
                      <a:pt x="1714347" y="584199"/>
                    </a:lnTo>
                    <a:close/>
                  </a:path>
                  <a:path w="3439795" h="1447800">
                    <a:moveTo>
                      <a:pt x="1765112" y="606424"/>
                    </a:moveTo>
                    <a:lnTo>
                      <a:pt x="1766192" y="609599"/>
                    </a:lnTo>
                    <a:lnTo>
                      <a:pt x="1768353" y="609599"/>
                    </a:lnTo>
                    <a:lnTo>
                      <a:pt x="1765112" y="606424"/>
                    </a:lnTo>
                    <a:close/>
                  </a:path>
                  <a:path w="3439795" h="1447800">
                    <a:moveTo>
                      <a:pt x="1764464" y="604519"/>
                    </a:moveTo>
                    <a:lnTo>
                      <a:pt x="1765112" y="606424"/>
                    </a:lnTo>
                    <a:lnTo>
                      <a:pt x="1768353" y="609599"/>
                    </a:lnTo>
                    <a:lnTo>
                      <a:pt x="1770513" y="609599"/>
                    </a:lnTo>
                    <a:lnTo>
                      <a:pt x="1764464" y="604519"/>
                    </a:lnTo>
                    <a:close/>
                  </a:path>
                  <a:path w="3439795" h="1447800">
                    <a:moveTo>
                      <a:pt x="1761872" y="596899"/>
                    </a:moveTo>
                    <a:lnTo>
                      <a:pt x="1764464" y="604519"/>
                    </a:lnTo>
                    <a:lnTo>
                      <a:pt x="1770513" y="609599"/>
                    </a:lnTo>
                    <a:lnTo>
                      <a:pt x="1772673" y="609599"/>
                    </a:lnTo>
                    <a:lnTo>
                      <a:pt x="1761872" y="596899"/>
                    </a:lnTo>
                    <a:close/>
                  </a:path>
                  <a:path w="3439795" h="1447800">
                    <a:moveTo>
                      <a:pt x="1772673" y="584199"/>
                    </a:moveTo>
                    <a:lnTo>
                      <a:pt x="1766192" y="584199"/>
                    </a:lnTo>
                    <a:lnTo>
                      <a:pt x="1761872" y="596899"/>
                    </a:lnTo>
                    <a:lnTo>
                      <a:pt x="1772673" y="609599"/>
                    </a:lnTo>
                    <a:lnTo>
                      <a:pt x="1772673" y="584199"/>
                    </a:lnTo>
                    <a:close/>
                  </a:path>
                  <a:path w="3439795" h="1447800">
                    <a:moveTo>
                      <a:pt x="1781314" y="584199"/>
                    </a:moveTo>
                    <a:lnTo>
                      <a:pt x="1772673" y="584199"/>
                    </a:lnTo>
                    <a:lnTo>
                      <a:pt x="1772673" y="609599"/>
                    </a:lnTo>
                    <a:lnTo>
                      <a:pt x="1779154" y="609599"/>
                    </a:lnTo>
                    <a:lnTo>
                      <a:pt x="1781314" y="584199"/>
                    </a:lnTo>
                    <a:close/>
                  </a:path>
                  <a:path w="3439795" h="1447800">
                    <a:moveTo>
                      <a:pt x="1781314" y="584199"/>
                    </a:moveTo>
                    <a:lnTo>
                      <a:pt x="1779154" y="609599"/>
                    </a:lnTo>
                    <a:lnTo>
                      <a:pt x="1781314" y="609599"/>
                    </a:lnTo>
                    <a:lnTo>
                      <a:pt x="1781314" y="584199"/>
                    </a:lnTo>
                    <a:close/>
                  </a:path>
                  <a:path w="3439795" h="1447800">
                    <a:moveTo>
                      <a:pt x="1787795" y="584199"/>
                    </a:moveTo>
                    <a:lnTo>
                      <a:pt x="1781314" y="584199"/>
                    </a:lnTo>
                    <a:lnTo>
                      <a:pt x="1781314" y="609599"/>
                    </a:lnTo>
                    <a:lnTo>
                      <a:pt x="1785634" y="609599"/>
                    </a:lnTo>
                    <a:lnTo>
                      <a:pt x="1787795" y="603249"/>
                    </a:lnTo>
                    <a:lnTo>
                      <a:pt x="1787795" y="584199"/>
                    </a:lnTo>
                    <a:close/>
                  </a:path>
                  <a:path w="3439795" h="1447800">
                    <a:moveTo>
                      <a:pt x="1787795" y="603249"/>
                    </a:moveTo>
                    <a:lnTo>
                      <a:pt x="1785634" y="609599"/>
                    </a:lnTo>
                    <a:lnTo>
                      <a:pt x="1787795" y="609599"/>
                    </a:lnTo>
                    <a:lnTo>
                      <a:pt x="1787795" y="603249"/>
                    </a:lnTo>
                    <a:close/>
                  </a:path>
                  <a:path w="3439795" h="1447800">
                    <a:moveTo>
                      <a:pt x="1788515" y="601133"/>
                    </a:moveTo>
                    <a:lnTo>
                      <a:pt x="1787795" y="603249"/>
                    </a:lnTo>
                    <a:lnTo>
                      <a:pt x="1787795" y="609599"/>
                    </a:lnTo>
                    <a:lnTo>
                      <a:pt x="1788515" y="601133"/>
                    </a:lnTo>
                    <a:close/>
                  </a:path>
                  <a:path w="3439795" h="1447800">
                    <a:moveTo>
                      <a:pt x="1794275" y="584199"/>
                    </a:moveTo>
                    <a:lnTo>
                      <a:pt x="1788515" y="601133"/>
                    </a:lnTo>
                    <a:lnTo>
                      <a:pt x="1787795" y="609599"/>
                    </a:lnTo>
                    <a:lnTo>
                      <a:pt x="1794275" y="603249"/>
                    </a:lnTo>
                    <a:lnTo>
                      <a:pt x="1794275" y="584199"/>
                    </a:lnTo>
                    <a:close/>
                  </a:path>
                  <a:path w="3439795" h="1447800">
                    <a:moveTo>
                      <a:pt x="1794275" y="603249"/>
                    </a:moveTo>
                    <a:lnTo>
                      <a:pt x="1787795" y="609599"/>
                    </a:lnTo>
                    <a:lnTo>
                      <a:pt x="1794275" y="604157"/>
                    </a:lnTo>
                    <a:lnTo>
                      <a:pt x="1794275" y="603249"/>
                    </a:lnTo>
                    <a:close/>
                  </a:path>
                  <a:path w="3439795" h="1447800">
                    <a:moveTo>
                      <a:pt x="1794275" y="604157"/>
                    </a:moveTo>
                    <a:lnTo>
                      <a:pt x="1787795" y="609599"/>
                    </a:lnTo>
                    <a:lnTo>
                      <a:pt x="1794275" y="609599"/>
                    </a:lnTo>
                    <a:lnTo>
                      <a:pt x="1794275" y="604157"/>
                    </a:lnTo>
                    <a:close/>
                  </a:path>
                  <a:path w="3439795" h="1447800">
                    <a:moveTo>
                      <a:pt x="1805076" y="596899"/>
                    </a:moveTo>
                    <a:lnTo>
                      <a:pt x="1802916" y="596899"/>
                    </a:lnTo>
                    <a:lnTo>
                      <a:pt x="1794275" y="604157"/>
                    </a:lnTo>
                    <a:lnTo>
                      <a:pt x="1794275" y="609599"/>
                    </a:lnTo>
                    <a:lnTo>
                      <a:pt x="1796435" y="609599"/>
                    </a:lnTo>
                    <a:lnTo>
                      <a:pt x="1805076" y="596899"/>
                    </a:lnTo>
                    <a:close/>
                  </a:path>
                  <a:path w="3439795" h="1447800">
                    <a:moveTo>
                      <a:pt x="1807237" y="596899"/>
                    </a:moveTo>
                    <a:lnTo>
                      <a:pt x="1805076" y="596899"/>
                    </a:lnTo>
                    <a:lnTo>
                      <a:pt x="1796435" y="609599"/>
                    </a:lnTo>
                    <a:lnTo>
                      <a:pt x="1802916" y="609599"/>
                    </a:lnTo>
                    <a:lnTo>
                      <a:pt x="1807237" y="596899"/>
                    </a:lnTo>
                    <a:close/>
                  </a:path>
                  <a:path w="3439795" h="1447800">
                    <a:moveTo>
                      <a:pt x="1811557" y="596899"/>
                    </a:moveTo>
                    <a:lnTo>
                      <a:pt x="1807237" y="596899"/>
                    </a:lnTo>
                    <a:lnTo>
                      <a:pt x="1802916" y="609599"/>
                    </a:lnTo>
                    <a:lnTo>
                      <a:pt x="1811557" y="596899"/>
                    </a:lnTo>
                    <a:close/>
                  </a:path>
                  <a:path w="3439795" h="1447800">
                    <a:moveTo>
                      <a:pt x="1818038" y="596899"/>
                    </a:moveTo>
                    <a:lnTo>
                      <a:pt x="1811557" y="596899"/>
                    </a:lnTo>
                    <a:lnTo>
                      <a:pt x="1820198" y="609599"/>
                    </a:lnTo>
                    <a:lnTo>
                      <a:pt x="1818038" y="596899"/>
                    </a:lnTo>
                    <a:close/>
                  </a:path>
                  <a:path w="3439795" h="1447800">
                    <a:moveTo>
                      <a:pt x="1843960" y="584199"/>
                    </a:moveTo>
                    <a:lnTo>
                      <a:pt x="1830999" y="596899"/>
                    </a:lnTo>
                    <a:lnTo>
                      <a:pt x="1833159" y="609599"/>
                    </a:lnTo>
                    <a:lnTo>
                      <a:pt x="1836520" y="606777"/>
                    </a:lnTo>
                    <a:lnTo>
                      <a:pt x="1833159" y="596899"/>
                    </a:lnTo>
                    <a:lnTo>
                      <a:pt x="1848281" y="596899"/>
                    </a:lnTo>
                    <a:lnTo>
                      <a:pt x="1843960" y="584199"/>
                    </a:lnTo>
                    <a:close/>
                  </a:path>
                  <a:path w="3439795" h="1447800">
                    <a:moveTo>
                      <a:pt x="1848281" y="596899"/>
                    </a:moveTo>
                    <a:lnTo>
                      <a:pt x="1836520" y="606777"/>
                    </a:lnTo>
                    <a:lnTo>
                      <a:pt x="1837480" y="609599"/>
                    </a:lnTo>
                    <a:lnTo>
                      <a:pt x="1848281" y="596899"/>
                    </a:lnTo>
                    <a:close/>
                  </a:path>
                  <a:path w="3439795" h="1447800">
                    <a:moveTo>
                      <a:pt x="1850441" y="596899"/>
                    </a:moveTo>
                    <a:lnTo>
                      <a:pt x="1848281" y="596899"/>
                    </a:lnTo>
                    <a:lnTo>
                      <a:pt x="1837480" y="609599"/>
                    </a:lnTo>
                    <a:lnTo>
                      <a:pt x="1850441" y="596899"/>
                    </a:lnTo>
                    <a:close/>
                  </a:path>
                  <a:path w="3439795" h="1447800">
                    <a:moveTo>
                      <a:pt x="1936760" y="571499"/>
                    </a:moveTo>
                    <a:lnTo>
                      <a:pt x="1934599" y="584199"/>
                    </a:lnTo>
                    <a:lnTo>
                      <a:pt x="1936760" y="584199"/>
                    </a:lnTo>
                    <a:lnTo>
                      <a:pt x="1925762" y="600363"/>
                    </a:lnTo>
                    <a:lnTo>
                      <a:pt x="1936760" y="609599"/>
                    </a:lnTo>
                    <a:lnTo>
                      <a:pt x="1945400" y="596899"/>
                    </a:lnTo>
                    <a:lnTo>
                      <a:pt x="1943240" y="596899"/>
                    </a:lnTo>
                    <a:lnTo>
                      <a:pt x="1951881" y="584199"/>
                    </a:lnTo>
                    <a:lnTo>
                      <a:pt x="1936760" y="571499"/>
                    </a:lnTo>
                    <a:close/>
                  </a:path>
                  <a:path w="3439795" h="1447800">
                    <a:moveTo>
                      <a:pt x="1947561" y="596899"/>
                    </a:moveTo>
                    <a:lnTo>
                      <a:pt x="1947291" y="598487"/>
                    </a:lnTo>
                    <a:lnTo>
                      <a:pt x="1960522" y="609599"/>
                    </a:lnTo>
                    <a:lnTo>
                      <a:pt x="1947561" y="596899"/>
                    </a:lnTo>
                    <a:close/>
                  </a:path>
                  <a:path w="3439795" h="1447800">
                    <a:moveTo>
                      <a:pt x="1954041" y="596899"/>
                    </a:moveTo>
                    <a:lnTo>
                      <a:pt x="1947561" y="596899"/>
                    </a:lnTo>
                    <a:lnTo>
                      <a:pt x="1960522" y="609599"/>
                    </a:lnTo>
                    <a:lnTo>
                      <a:pt x="1967003" y="609599"/>
                    </a:lnTo>
                    <a:lnTo>
                      <a:pt x="1954041" y="596899"/>
                    </a:lnTo>
                    <a:close/>
                  </a:path>
                  <a:path w="3439795" h="1447800">
                    <a:moveTo>
                      <a:pt x="1956202" y="592666"/>
                    </a:moveTo>
                    <a:lnTo>
                      <a:pt x="1954041" y="596899"/>
                    </a:lnTo>
                    <a:lnTo>
                      <a:pt x="1967003" y="609599"/>
                    </a:lnTo>
                    <a:lnTo>
                      <a:pt x="1971323" y="596899"/>
                    </a:lnTo>
                    <a:lnTo>
                      <a:pt x="1956202" y="596899"/>
                    </a:lnTo>
                    <a:lnTo>
                      <a:pt x="1956202" y="592666"/>
                    </a:lnTo>
                    <a:close/>
                  </a:path>
                  <a:path w="3439795" h="1447800">
                    <a:moveTo>
                      <a:pt x="630459" y="584199"/>
                    </a:moveTo>
                    <a:lnTo>
                      <a:pt x="624698" y="588433"/>
                    </a:lnTo>
                    <a:lnTo>
                      <a:pt x="617497" y="596899"/>
                    </a:lnTo>
                    <a:lnTo>
                      <a:pt x="623258" y="608188"/>
                    </a:lnTo>
                    <a:lnTo>
                      <a:pt x="634779" y="596899"/>
                    </a:lnTo>
                    <a:lnTo>
                      <a:pt x="632619" y="596899"/>
                    </a:lnTo>
                    <a:lnTo>
                      <a:pt x="630459" y="584199"/>
                    </a:lnTo>
                    <a:close/>
                  </a:path>
                  <a:path w="3439795" h="1447800">
                    <a:moveTo>
                      <a:pt x="1753231" y="605366"/>
                    </a:moveTo>
                    <a:lnTo>
                      <a:pt x="1753231" y="607059"/>
                    </a:lnTo>
                    <a:lnTo>
                      <a:pt x="1753848" y="607785"/>
                    </a:lnTo>
                    <a:lnTo>
                      <a:pt x="1753231" y="605366"/>
                    </a:lnTo>
                    <a:close/>
                  </a:path>
                  <a:path w="3439795" h="1447800">
                    <a:moveTo>
                      <a:pt x="1751071" y="596899"/>
                    </a:moveTo>
                    <a:lnTo>
                      <a:pt x="1744590" y="596899"/>
                    </a:lnTo>
                    <a:lnTo>
                      <a:pt x="1753231" y="607059"/>
                    </a:lnTo>
                    <a:lnTo>
                      <a:pt x="1753133" y="604981"/>
                    </a:lnTo>
                    <a:lnTo>
                      <a:pt x="1751071" y="596899"/>
                    </a:lnTo>
                    <a:close/>
                  </a:path>
                  <a:path w="3439795" h="1447800">
                    <a:moveTo>
                      <a:pt x="1848281" y="596899"/>
                    </a:moveTo>
                    <a:lnTo>
                      <a:pt x="1833159" y="596899"/>
                    </a:lnTo>
                    <a:lnTo>
                      <a:pt x="1836520" y="606777"/>
                    </a:lnTo>
                    <a:lnTo>
                      <a:pt x="1848281" y="596899"/>
                    </a:lnTo>
                    <a:close/>
                  </a:path>
                  <a:path w="3439795" h="1447800">
                    <a:moveTo>
                      <a:pt x="1496345" y="584199"/>
                    </a:moveTo>
                    <a:lnTo>
                      <a:pt x="1496345" y="600074"/>
                    </a:lnTo>
                    <a:lnTo>
                      <a:pt x="1500666" y="606424"/>
                    </a:lnTo>
                    <a:lnTo>
                      <a:pt x="1501648" y="604981"/>
                    </a:lnTo>
                    <a:lnTo>
                      <a:pt x="1496345" y="584199"/>
                    </a:lnTo>
                    <a:close/>
                  </a:path>
                  <a:path w="3439795" h="1447800">
                    <a:moveTo>
                      <a:pt x="1757552" y="598714"/>
                    </a:moveTo>
                    <a:lnTo>
                      <a:pt x="1757552" y="599016"/>
                    </a:lnTo>
                    <a:lnTo>
                      <a:pt x="1765112" y="606424"/>
                    </a:lnTo>
                    <a:lnTo>
                      <a:pt x="1764464" y="604519"/>
                    </a:lnTo>
                    <a:lnTo>
                      <a:pt x="1757552" y="598714"/>
                    </a:lnTo>
                    <a:close/>
                  </a:path>
                  <a:path w="3439795" h="1447800">
                    <a:moveTo>
                      <a:pt x="1664752" y="596899"/>
                    </a:moveTo>
                    <a:lnTo>
                      <a:pt x="1660432" y="596899"/>
                    </a:lnTo>
                    <a:lnTo>
                      <a:pt x="1660432" y="605971"/>
                    </a:lnTo>
                    <a:lnTo>
                      <a:pt x="1664752" y="602342"/>
                    </a:lnTo>
                    <a:lnTo>
                      <a:pt x="1664752" y="596899"/>
                    </a:lnTo>
                    <a:close/>
                  </a:path>
                  <a:path w="3439795" h="1447800">
                    <a:moveTo>
                      <a:pt x="1496345" y="584199"/>
                    </a:moveTo>
                    <a:lnTo>
                      <a:pt x="1487705" y="596899"/>
                    </a:lnTo>
                    <a:lnTo>
                      <a:pt x="1486779" y="602342"/>
                    </a:lnTo>
                    <a:lnTo>
                      <a:pt x="1489865" y="605366"/>
                    </a:lnTo>
                    <a:lnTo>
                      <a:pt x="1489865" y="596899"/>
                    </a:lnTo>
                    <a:lnTo>
                      <a:pt x="1496345" y="584199"/>
                    </a:lnTo>
                    <a:close/>
                  </a:path>
                  <a:path w="3439795" h="1447800">
                    <a:moveTo>
                      <a:pt x="1753231" y="596899"/>
                    </a:moveTo>
                    <a:lnTo>
                      <a:pt x="1751071" y="596899"/>
                    </a:lnTo>
                    <a:lnTo>
                      <a:pt x="1753231" y="605366"/>
                    </a:lnTo>
                    <a:lnTo>
                      <a:pt x="1753231" y="596899"/>
                    </a:lnTo>
                    <a:close/>
                  </a:path>
                  <a:path w="3439795" h="1447800">
                    <a:moveTo>
                      <a:pt x="1496345" y="584199"/>
                    </a:moveTo>
                    <a:lnTo>
                      <a:pt x="1501648" y="604981"/>
                    </a:lnTo>
                    <a:lnTo>
                      <a:pt x="1505418" y="599439"/>
                    </a:lnTo>
                    <a:lnTo>
                      <a:pt x="1504446" y="593724"/>
                    </a:lnTo>
                    <a:lnTo>
                      <a:pt x="1496345" y="584199"/>
                    </a:lnTo>
                    <a:close/>
                  </a:path>
                  <a:path w="3439795" h="1447800">
                    <a:moveTo>
                      <a:pt x="1761872" y="596899"/>
                    </a:moveTo>
                    <a:lnTo>
                      <a:pt x="1757552" y="596899"/>
                    </a:lnTo>
                    <a:lnTo>
                      <a:pt x="1757552" y="598714"/>
                    </a:lnTo>
                    <a:lnTo>
                      <a:pt x="1764464" y="604519"/>
                    </a:lnTo>
                    <a:lnTo>
                      <a:pt x="1761872" y="596899"/>
                    </a:lnTo>
                    <a:close/>
                  </a:path>
                  <a:path w="3439795" h="1447800">
                    <a:moveTo>
                      <a:pt x="1802916" y="596899"/>
                    </a:moveTo>
                    <a:lnTo>
                      <a:pt x="1800756" y="596899"/>
                    </a:lnTo>
                    <a:lnTo>
                      <a:pt x="1794275" y="603249"/>
                    </a:lnTo>
                    <a:lnTo>
                      <a:pt x="1794275" y="604157"/>
                    </a:lnTo>
                    <a:lnTo>
                      <a:pt x="1802916" y="596899"/>
                    </a:lnTo>
                    <a:close/>
                  </a:path>
                  <a:path w="3439795" h="1447800">
                    <a:moveTo>
                      <a:pt x="468532" y="596899"/>
                    </a:moveTo>
                    <a:lnTo>
                      <a:pt x="466372" y="596899"/>
                    </a:lnTo>
                    <a:lnTo>
                      <a:pt x="468532" y="603249"/>
                    </a:lnTo>
                    <a:lnTo>
                      <a:pt x="468532" y="596899"/>
                    </a:lnTo>
                    <a:close/>
                  </a:path>
                  <a:path w="3439795" h="1447800">
                    <a:moveTo>
                      <a:pt x="639100" y="596899"/>
                    </a:moveTo>
                    <a:lnTo>
                      <a:pt x="632619" y="603249"/>
                    </a:lnTo>
                    <a:lnTo>
                      <a:pt x="639980" y="597840"/>
                    </a:lnTo>
                    <a:lnTo>
                      <a:pt x="639100" y="596899"/>
                    </a:lnTo>
                    <a:close/>
                  </a:path>
                  <a:path w="3439795" h="1447800">
                    <a:moveTo>
                      <a:pt x="1507147" y="596899"/>
                    </a:moveTo>
                    <a:lnTo>
                      <a:pt x="1505706" y="601133"/>
                    </a:lnTo>
                    <a:lnTo>
                      <a:pt x="1506066" y="603249"/>
                    </a:lnTo>
                    <a:lnTo>
                      <a:pt x="1507147" y="596899"/>
                    </a:lnTo>
                    <a:close/>
                  </a:path>
                  <a:path w="3439795" h="1447800">
                    <a:moveTo>
                      <a:pt x="1789955" y="584199"/>
                    </a:moveTo>
                    <a:lnTo>
                      <a:pt x="1787795" y="584199"/>
                    </a:lnTo>
                    <a:lnTo>
                      <a:pt x="1787795" y="603249"/>
                    </a:lnTo>
                    <a:lnTo>
                      <a:pt x="1788515" y="601133"/>
                    </a:lnTo>
                    <a:lnTo>
                      <a:pt x="1789955" y="584199"/>
                    </a:lnTo>
                    <a:close/>
                  </a:path>
                  <a:path w="3439795" h="1447800">
                    <a:moveTo>
                      <a:pt x="1794275" y="584199"/>
                    </a:moveTo>
                    <a:lnTo>
                      <a:pt x="1794275" y="603249"/>
                    </a:lnTo>
                    <a:lnTo>
                      <a:pt x="1800756" y="596899"/>
                    </a:lnTo>
                    <a:lnTo>
                      <a:pt x="1794275" y="584199"/>
                    </a:lnTo>
                    <a:close/>
                  </a:path>
                  <a:path w="3439795" h="1447800">
                    <a:moveTo>
                      <a:pt x="1487705" y="596899"/>
                    </a:moveTo>
                    <a:lnTo>
                      <a:pt x="1481224" y="596899"/>
                    </a:lnTo>
                    <a:lnTo>
                      <a:pt x="1486779" y="602342"/>
                    </a:lnTo>
                    <a:lnTo>
                      <a:pt x="1487705" y="596899"/>
                    </a:lnTo>
                    <a:close/>
                  </a:path>
                  <a:path w="3439795" h="1447800">
                    <a:moveTo>
                      <a:pt x="1671233" y="596899"/>
                    </a:moveTo>
                    <a:lnTo>
                      <a:pt x="1664752" y="596899"/>
                    </a:lnTo>
                    <a:lnTo>
                      <a:pt x="1664752" y="602342"/>
                    </a:lnTo>
                    <a:lnTo>
                      <a:pt x="1671233" y="596899"/>
                    </a:lnTo>
                    <a:close/>
                  </a:path>
                  <a:path w="3439795" h="1447800">
                    <a:moveTo>
                      <a:pt x="1507147" y="596899"/>
                    </a:moveTo>
                    <a:lnTo>
                      <a:pt x="1505418" y="599439"/>
                    </a:lnTo>
                    <a:lnTo>
                      <a:pt x="1505706" y="601133"/>
                    </a:lnTo>
                    <a:lnTo>
                      <a:pt x="1507147" y="596899"/>
                    </a:lnTo>
                    <a:close/>
                  </a:path>
                  <a:path w="3439795" h="1447800">
                    <a:moveTo>
                      <a:pt x="1794275" y="584199"/>
                    </a:moveTo>
                    <a:lnTo>
                      <a:pt x="1789955" y="584199"/>
                    </a:lnTo>
                    <a:lnTo>
                      <a:pt x="1788515" y="601133"/>
                    </a:lnTo>
                    <a:lnTo>
                      <a:pt x="1794275" y="584199"/>
                    </a:lnTo>
                    <a:close/>
                  </a:path>
                  <a:path w="3439795" h="1447800">
                    <a:moveTo>
                      <a:pt x="1496345" y="596899"/>
                    </a:moveTo>
                    <a:lnTo>
                      <a:pt x="1494185" y="596899"/>
                    </a:lnTo>
                    <a:lnTo>
                      <a:pt x="1496345" y="600074"/>
                    </a:lnTo>
                    <a:lnTo>
                      <a:pt x="1496345" y="596899"/>
                    </a:lnTo>
                    <a:close/>
                  </a:path>
                  <a:path w="3439795" h="1447800">
                    <a:moveTo>
                      <a:pt x="641260" y="596899"/>
                    </a:moveTo>
                    <a:lnTo>
                      <a:pt x="640050" y="597915"/>
                    </a:lnTo>
                    <a:lnTo>
                      <a:pt x="641740" y="599722"/>
                    </a:lnTo>
                    <a:lnTo>
                      <a:pt x="641260" y="596899"/>
                    </a:lnTo>
                    <a:close/>
                  </a:path>
                  <a:path w="3439795" h="1447800">
                    <a:moveTo>
                      <a:pt x="1504446" y="593724"/>
                    </a:moveTo>
                    <a:lnTo>
                      <a:pt x="1505418" y="599439"/>
                    </a:lnTo>
                    <a:lnTo>
                      <a:pt x="1507147" y="596899"/>
                    </a:lnTo>
                    <a:lnTo>
                      <a:pt x="1504446" y="593724"/>
                    </a:lnTo>
                    <a:close/>
                  </a:path>
                  <a:path w="3439795" h="1447800">
                    <a:moveTo>
                      <a:pt x="1755391" y="596899"/>
                    </a:moveTo>
                    <a:lnTo>
                      <a:pt x="1757552" y="599016"/>
                    </a:lnTo>
                    <a:lnTo>
                      <a:pt x="1757552" y="598714"/>
                    </a:lnTo>
                    <a:lnTo>
                      <a:pt x="1755391" y="596899"/>
                    </a:lnTo>
                    <a:close/>
                  </a:path>
                  <a:path w="3439795" h="1447800">
                    <a:moveTo>
                      <a:pt x="1757552" y="596899"/>
                    </a:moveTo>
                    <a:lnTo>
                      <a:pt x="1755391" y="596899"/>
                    </a:lnTo>
                    <a:lnTo>
                      <a:pt x="1757552" y="598714"/>
                    </a:lnTo>
                    <a:lnTo>
                      <a:pt x="1757552" y="596899"/>
                    </a:lnTo>
                    <a:close/>
                  </a:path>
                  <a:path w="3439795" h="1447800">
                    <a:moveTo>
                      <a:pt x="1947561" y="596899"/>
                    </a:moveTo>
                    <a:lnTo>
                      <a:pt x="1945400" y="596899"/>
                    </a:lnTo>
                    <a:lnTo>
                      <a:pt x="1947291" y="598487"/>
                    </a:lnTo>
                    <a:lnTo>
                      <a:pt x="1947561" y="596899"/>
                    </a:lnTo>
                    <a:close/>
                  </a:path>
                  <a:path w="3439795" h="1447800">
                    <a:moveTo>
                      <a:pt x="641260" y="596899"/>
                    </a:moveTo>
                    <a:lnTo>
                      <a:pt x="639980" y="597840"/>
                    </a:lnTo>
                    <a:lnTo>
                      <a:pt x="641260" y="596899"/>
                    </a:lnTo>
                    <a:close/>
                  </a:path>
                  <a:path w="3439795" h="1447800">
                    <a:moveTo>
                      <a:pt x="641260" y="596899"/>
                    </a:moveTo>
                    <a:lnTo>
                      <a:pt x="639100" y="596899"/>
                    </a:lnTo>
                    <a:lnTo>
                      <a:pt x="639980" y="597840"/>
                    </a:lnTo>
                    <a:lnTo>
                      <a:pt x="641260" y="596899"/>
                    </a:lnTo>
                    <a:close/>
                  </a:path>
                  <a:path w="3439795" h="1447800">
                    <a:moveTo>
                      <a:pt x="405166" y="579966"/>
                    </a:moveTo>
                    <a:lnTo>
                      <a:pt x="399406" y="584199"/>
                    </a:lnTo>
                    <a:lnTo>
                      <a:pt x="399406" y="596899"/>
                    </a:lnTo>
                    <a:lnTo>
                      <a:pt x="407806" y="589844"/>
                    </a:lnTo>
                    <a:lnTo>
                      <a:pt x="405886" y="584199"/>
                    </a:lnTo>
                    <a:lnTo>
                      <a:pt x="401566" y="584199"/>
                    </a:lnTo>
                    <a:lnTo>
                      <a:pt x="405166" y="579966"/>
                    </a:lnTo>
                    <a:close/>
                  </a:path>
                  <a:path w="3439795" h="1447800">
                    <a:moveTo>
                      <a:pt x="574293" y="571499"/>
                    </a:moveTo>
                    <a:lnTo>
                      <a:pt x="574293" y="596899"/>
                    </a:lnTo>
                    <a:lnTo>
                      <a:pt x="589415" y="584199"/>
                    </a:lnTo>
                    <a:lnTo>
                      <a:pt x="591575" y="584199"/>
                    </a:lnTo>
                    <a:lnTo>
                      <a:pt x="574293" y="571499"/>
                    </a:lnTo>
                    <a:close/>
                  </a:path>
                  <a:path w="3439795" h="1447800">
                    <a:moveTo>
                      <a:pt x="589415" y="584199"/>
                    </a:moveTo>
                    <a:lnTo>
                      <a:pt x="574293" y="596899"/>
                    </a:lnTo>
                    <a:lnTo>
                      <a:pt x="591575" y="596899"/>
                    </a:lnTo>
                    <a:lnTo>
                      <a:pt x="589415" y="584199"/>
                    </a:lnTo>
                    <a:close/>
                  </a:path>
                  <a:path w="3439795" h="1447800">
                    <a:moveTo>
                      <a:pt x="591575" y="584199"/>
                    </a:moveTo>
                    <a:lnTo>
                      <a:pt x="589415" y="584199"/>
                    </a:lnTo>
                    <a:lnTo>
                      <a:pt x="591575" y="596899"/>
                    </a:lnTo>
                    <a:lnTo>
                      <a:pt x="591575" y="584199"/>
                    </a:lnTo>
                    <a:close/>
                  </a:path>
                  <a:path w="3439795" h="1447800">
                    <a:moveTo>
                      <a:pt x="611017" y="571499"/>
                    </a:moveTo>
                    <a:lnTo>
                      <a:pt x="611017" y="584199"/>
                    </a:lnTo>
                    <a:lnTo>
                      <a:pt x="613177" y="596899"/>
                    </a:lnTo>
                    <a:lnTo>
                      <a:pt x="628298" y="584199"/>
                    </a:lnTo>
                    <a:lnTo>
                      <a:pt x="626138" y="584199"/>
                    </a:lnTo>
                    <a:lnTo>
                      <a:pt x="611017" y="571499"/>
                    </a:lnTo>
                    <a:close/>
                  </a:path>
                  <a:path w="3439795" h="1447800">
                    <a:moveTo>
                      <a:pt x="628298" y="584199"/>
                    </a:moveTo>
                    <a:lnTo>
                      <a:pt x="613177" y="596899"/>
                    </a:lnTo>
                    <a:lnTo>
                      <a:pt x="624698" y="588433"/>
                    </a:lnTo>
                    <a:lnTo>
                      <a:pt x="628298" y="584199"/>
                    </a:lnTo>
                    <a:close/>
                  </a:path>
                  <a:path w="3439795" h="1447800">
                    <a:moveTo>
                      <a:pt x="624698" y="588433"/>
                    </a:moveTo>
                    <a:lnTo>
                      <a:pt x="613177" y="596899"/>
                    </a:lnTo>
                    <a:lnTo>
                      <a:pt x="617497" y="596899"/>
                    </a:lnTo>
                    <a:lnTo>
                      <a:pt x="624698" y="588433"/>
                    </a:lnTo>
                    <a:close/>
                  </a:path>
                  <a:path w="3439795" h="1447800">
                    <a:moveTo>
                      <a:pt x="632619" y="584199"/>
                    </a:moveTo>
                    <a:lnTo>
                      <a:pt x="630459" y="584199"/>
                    </a:lnTo>
                    <a:lnTo>
                      <a:pt x="632619" y="596899"/>
                    </a:lnTo>
                    <a:lnTo>
                      <a:pt x="632619" y="584199"/>
                    </a:lnTo>
                    <a:close/>
                  </a:path>
                  <a:path w="3439795" h="1447800">
                    <a:moveTo>
                      <a:pt x="632619" y="584199"/>
                    </a:moveTo>
                    <a:lnTo>
                      <a:pt x="632619" y="596899"/>
                    </a:lnTo>
                    <a:lnTo>
                      <a:pt x="634779" y="596899"/>
                    </a:lnTo>
                    <a:lnTo>
                      <a:pt x="632619" y="584199"/>
                    </a:lnTo>
                    <a:close/>
                  </a:path>
                  <a:path w="3439795" h="1447800">
                    <a:moveTo>
                      <a:pt x="1496345" y="584199"/>
                    </a:moveTo>
                    <a:lnTo>
                      <a:pt x="1487705" y="584199"/>
                    </a:lnTo>
                    <a:lnTo>
                      <a:pt x="1487705" y="596899"/>
                    </a:lnTo>
                    <a:lnTo>
                      <a:pt x="1496345" y="584199"/>
                    </a:lnTo>
                    <a:close/>
                  </a:path>
                  <a:path w="3439795" h="1447800">
                    <a:moveTo>
                      <a:pt x="1504266" y="592666"/>
                    </a:moveTo>
                    <a:lnTo>
                      <a:pt x="1504446" y="593724"/>
                    </a:lnTo>
                    <a:lnTo>
                      <a:pt x="1507147" y="596899"/>
                    </a:lnTo>
                    <a:lnTo>
                      <a:pt x="1504266" y="592666"/>
                    </a:lnTo>
                    <a:close/>
                  </a:path>
                  <a:path w="3439795" h="1447800">
                    <a:moveTo>
                      <a:pt x="1507147" y="584199"/>
                    </a:moveTo>
                    <a:lnTo>
                      <a:pt x="1502826" y="584199"/>
                    </a:lnTo>
                    <a:lnTo>
                      <a:pt x="1503137" y="586025"/>
                    </a:lnTo>
                    <a:lnTo>
                      <a:pt x="1517858" y="596899"/>
                    </a:lnTo>
                    <a:lnTo>
                      <a:pt x="1507147" y="584199"/>
                    </a:lnTo>
                    <a:close/>
                  </a:path>
                  <a:path w="3439795" h="1447800">
                    <a:moveTo>
                      <a:pt x="1507147" y="584199"/>
                    </a:moveTo>
                    <a:lnTo>
                      <a:pt x="1517858" y="596899"/>
                    </a:lnTo>
                    <a:lnTo>
                      <a:pt x="1520018" y="596899"/>
                    </a:lnTo>
                    <a:lnTo>
                      <a:pt x="1507147" y="584199"/>
                    </a:lnTo>
                    <a:close/>
                  </a:path>
                  <a:path w="3439795" h="1447800">
                    <a:moveTo>
                      <a:pt x="1520018" y="571499"/>
                    </a:moveTo>
                    <a:lnTo>
                      <a:pt x="1515697" y="571499"/>
                    </a:lnTo>
                    <a:lnTo>
                      <a:pt x="1507147" y="584199"/>
                    </a:lnTo>
                    <a:lnTo>
                      <a:pt x="1520018" y="596899"/>
                    </a:lnTo>
                    <a:lnTo>
                      <a:pt x="1526498" y="584199"/>
                    </a:lnTo>
                    <a:lnTo>
                      <a:pt x="1520018" y="584199"/>
                    </a:lnTo>
                    <a:lnTo>
                      <a:pt x="1520018" y="571499"/>
                    </a:lnTo>
                    <a:close/>
                  </a:path>
                  <a:path w="3439795" h="1447800">
                    <a:moveTo>
                      <a:pt x="1528659" y="571499"/>
                    </a:moveTo>
                    <a:lnTo>
                      <a:pt x="1526498" y="584199"/>
                    </a:lnTo>
                    <a:lnTo>
                      <a:pt x="1535139" y="596899"/>
                    </a:lnTo>
                    <a:lnTo>
                      <a:pt x="1536939" y="586316"/>
                    </a:lnTo>
                    <a:lnTo>
                      <a:pt x="1535139" y="584199"/>
                    </a:lnTo>
                    <a:lnTo>
                      <a:pt x="1528659" y="584199"/>
                    </a:lnTo>
                    <a:lnTo>
                      <a:pt x="1528659" y="571499"/>
                    </a:lnTo>
                    <a:close/>
                  </a:path>
                  <a:path w="3439795" h="1447800">
                    <a:moveTo>
                      <a:pt x="1548101" y="571499"/>
                    </a:moveTo>
                    <a:lnTo>
                      <a:pt x="1537300" y="584199"/>
                    </a:lnTo>
                    <a:lnTo>
                      <a:pt x="1536939" y="586316"/>
                    </a:lnTo>
                    <a:lnTo>
                      <a:pt x="1545940" y="596899"/>
                    </a:lnTo>
                    <a:lnTo>
                      <a:pt x="1548101" y="594359"/>
                    </a:lnTo>
                    <a:lnTo>
                      <a:pt x="1548101" y="571499"/>
                    </a:lnTo>
                    <a:close/>
                  </a:path>
                  <a:path w="3439795" h="1447800">
                    <a:moveTo>
                      <a:pt x="1548101" y="594359"/>
                    </a:moveTo>
                    <a:lnTo>
                      <a:pt x="1545940" y="596899"/>
                    </a:lnTo>
                    <a:lnTo>
                      <a:pt x="1548101" y="596899"/>
                    </a:lnTo>
                    <a:lnTo>
                      <a:pt x="1548101" y="594359"/>
                    </a:lnTo>
                    <a:close/>
                  </a:path>
                  <a:path w="3439795" h="1447800">
                    <a:moveTo>
                      <a:pt x="1550261" y="591819"/>
                    </a:moveTo>
                    <a:lnTo>
                      <a:pt x="1548101" y="594359"/>
                    </a:lnTo>
                    <a:lnTo>
                      <a:pt x="1548101" y="596899"/>
                    </a:lnTo>
                    <a:lnTo>
                      <a:pt x="1550261" y="596899"/>
                    </a:lnTo>
                    <a:lnTo>
                      <a:pt x="1550261" y="591819"/>
                    </a:lnTo>
                    <a:close/>
                  </a:path>
                  <a:path w="3439795" h="1447800">
                    <a:moveTo>
                      <a:pt x="1556741" y="584199"/>
                    </a:moveTo>
                    <a:lnTo>
                      <a:pt x="1550261" y="591819"/>
                    </a:lnTo>
                    <a:lnTo>
                      <a:pt x="1550261" y="596899"/>
                    </a:lnTo>
                    <a:lnTo>
                      <a:pt x="1556741" y="596899"/>
                    </a:lnTo>
                    <a:lnTo>
                      <a:pt x="1556741" y="584199"/>
                    </a:lnTo>
                    <a:close/>
                  </a:path>
                  <a:path w="3439795" h="1447800">
                    <a:moveTo>
                      <a:pt x="1563222" y="571499"/>
                    </a:moveTo>
                    <a:lnTo>
                      <a:pt x="1550261" y="571499"/>
                    </a:lnTo>
                    <a:lnTo>
                      <a:pt x="1550261" y="574674"/>
                    </a:lnTo>
                    <a:lnTo>
                      <a:pt x="1556741" y="584199"/>
                    </a:lnTo>
                    <a:lnTo>
                      <a:pt x="1556741" y="596899"/>
                    </a:lnTo>
                    <a:lnTo>
                      <a:pt x="1563222" y="596899"/>
                    </a:lnTo>
                    <a:lnTo>
                      <a:pt x="1563222" y="571499"/>
                    </a:lnTo>
                    <a:close/>
                  </a:path>
                  <a:path w="3439795" h="1447800">
                    <a:moveTo>
                      <a:pt x="1578344" y="571499"/>
                    </a:moveTo>
                    <a:lnTo>
                      <a:pt x="1563222" y="571499"/>
                    </a:lnTo>
                    <a:lnTo>
                      <a:pt x="1563222" y="596899"/>
                    </a:lnTo>
                    <a:lnTo>
                      <a:pt x="1574023" y="596899"/>
                    </a:lnTo>
                    <a:lnTo>
                      <a:pt x="1571863" y="584199"/>
                    </a:lnTo>
                    <a:lnTo>
                      <a:pt x="1578344" y="571499"/>
                    </a:lnTo>
                    <a:close/>
                  </a:path>
                  <a:path w="3439795" h="1447800">
                    <a:moveTo>
                      <a:pt x="1571863" y="584199"/>
                    </a:moveTo>
                    <a:lnTo>
                      <a:pt x="1574023" y="596899"/>
                    </a:lnTo>
                    <a:lnTo>
                      <a:pt x="1575103" y="590549"/>
                    </a:lnTo>
                    <a:lnTo>
                      <a:pt x="1571863" y="584199"/>
                    </a:lnTo>
                    <a:close/>
                  </a:path>
                  <a:path w="3439795" h="1447800">
                    <a:moveTo>
                      <a:pt x="1575103" y="590549"/>
                    </a:moveTo>
                    <a:lnTo>
                      <a:pt x="1574023" y="596899"/>
                    </a:lnTo>
                    <a:lnTo>
                      <a:pt x="1578344" y="596899"/>
                    </a:lnTo>
                    <a:lnTo>
                      <a:pt x="1575103" y="590549"/>
                    </a:lnTo>
                    <a:close/>
                  </a:path>
                  <a:path w="3439795" h="1447800">
                    <a:moveTo>
                      <a:pt x="1582664" y="571499"/>
                    </a:moveTo>
                    <a:lnTo>
                      <a:pt x="1578344" y="571499"/>
                    </a:lnTo>
                    <a:lnTo>
                      <a:pt x="1575103" y="590549"/>
                    </a:lnTo>
                    <a:lnTo>
                      <a:pt x="1578344" y="596899"/>
                    </a:lnTo>
                    <a:lnTo>
                      <a:pt x="1582664" y="591819"/>
                    </a:lnTo>
                    <a:lnTo>
                      <a:pt x="1582664" y="584199"/>
                    </a:lnTo>
                    <a:lnTo>
                      <a:pt x="1589145" y="584199"/>
                    </a:lnTo>
                    <a:lnTo>
                      <a:pt x="1582664" y="571499"/>
                    </a:lnTo>
                    <a:close/>
                  </a:path>
                  <a:path w="3439795" h="1447800">
                    <a:moveTo>
                      <a:pt x="1582664" y="591819"/>
                    </a:moveTo>
                    <a:lnTo>
                      <a:pt x="1578344" y="596899"/>
                    </a:lnTo>
                    <a:lnTo>
                      <a:pt x="1582664" y="596899"/>
                    </a:lnTo>
                    <a:lnTo>
                      <a:pt x="1582664" y="591819"/>
                    </a:lnTo>
                    <a:close/>
                  </a:path>
                  <a:path w="3439795" h="1447800">
                    <a:moveTo>
                      <a:pt x="1591305" y="584199"/>
                    </a:moveTo>
                    <a:lnTo>
                      <a:pt x="1589145" y="584199"/>
                    </a:lnTo>
                    <a:lnTo>
                      <a:pt x="1582664" y="591819"/>
                    </a:lnTo>
                    <a:lnTo>
                      <a:pt x="1582664" y="596899"/>
                    </a:lnTo>
                    <a:lnTo>
                      <a:pt x="1591305" y="584199"/>
                    </a:lnTo>
                    <a:close/>
                  </a:path>
                  <a:path w="3439795" h="1447800">
                    <a:moveTo>
                      <a:pt x="1591305" y="584199"/>
                    </a:moveTo>
                    <a:lnTo>
                      <a:pt x="1582664" y="596899"/>
                    </a:lnTo>
                    <a:lnTo>
                      <a:pt x="1589145" y="596899"/>
                    </a:lnTo>
                    <a:lnTo>
                      <a:pt x="1591305" y="584199"/>
                    </a:lnTo>
                    <a:close/>
                  </a:path>
                  <a:path w="3439795" h="1447800">
                    <a:moveTo>
                      <a:pt x="1591305" y="584199"/>
                    </a:moveTo>
                    <a:lnTo>
                      <a:pt x="1589145" y="596899"/>
                    </a:lnTo>
                    <a:lnTo>
                      <a:pt x="1591305" y="596899"/>
                    </a:lnTo>
                    <a:lnTo>
                      <a:pt x="1591305" y="584199"/>
                    </a:lnTo>
                    <a:close/>
                  </a:path>
                  <a:path w="3439795" h="1447800">
                    <a:moveTo>
                      <a:pt x="1608587" y="584199"/>
                    </a:moveTo>
                    <a:lnTo>
                      <a:pt x="1591305" y="584199"/>
                    </a:lnTo>
                    <a:lnTo>
                      <a:pt x="1591305" y="596899"/>
                    </a:lnTo>
                    <a:lnTo>
                      <a:pt x="1595625" y="596899"/>
                    </a:lnTo>
                    <a:lnTo>
                      <a:pt x="1608587" y="584199"/>
                    </a:lnTo>
                    <a:close/>
                  </a:path>
                  <a:path w="3439795" h="1447800">
                    <a:moveTo>
                      <a:pt x="1608587" y="584199"/>
                    </a:moveTo>
                    <a:lnTo>
                      <a:pt x="1595625" y="596899"/>
                    </a:lnTo>
                    <a:lnTo>
                      <a:pt x="1599946" y="596899"/>
                    </a:lnTo>
                    <a:lnTo>
                      <a:pt x="1608587" y="584199"/>
                    </a:lnTo>
                    <a:close/>
                  </a:path>
                  <a:path w="3439795" h="1447800">
                    <a:moveTo>
                      <a:pt x="1714347" y="584199"/>
                    </a:moveTo>
                    <a:lnTo>
                      <a:pt x="1714347" y="596899"/>
                    </a:lnTo>
                    <a:lnTo>
                      <a:pt x="1727309" y="596899"/>
                    </a:lnTo>
                    <a:lnTo>
                      <a:pt x="1714347" y="584199"/>
                    </a:lnTo>
                    <a:close/>
                  </a:path>
                  <a:path w="3439795" h="1447800">
                    <a:moveTo>
                      <a:pt x="1718668" y="584199"/>
                    </a:moveTo>
                    <a:lnTo>
                      <a:pt x="1714347" y="584199"/>
                    </a:lnTo>
                    <a:lnTo>
                      <a:pt x="1729469" y="596899"/>
                    </a:lnTo>
                    <a:lnTo>
                      <a:pt x="1731629" y="596899"/>
                    </a:lnTo>
                    <a:lnTo>
                      <a:pt x="1718668" y="584199"/>
                    </a:lnTo>
                    <a:close/>
                  </a:path>
                  <a:path w="3439795" h="1447800">
                    <a:moveTo>
                      <a:pt x="1722988" y="584199"/>
                    </a:moveTo>
                    <a:lnTo>
                      <a:pt x="1718668" y="584199"/>
                    </a:lnTo>
                    <a:lnTo>
                      <a:pt x="1731629" y="596899"/>
                    </a:lnTo>
                    <a:lnTo>
                      <a:pt x="1731236" y="592281"/>
                    </a:lnTo>
                    <a:lnTo>
                      <a:pt x="1722988" y="584199"/>
                    </a:lnTo>
                    <a:close/>
                  </a:path>
                  <a:path w="3439795" h="1447800">
                    <a:moveTo>
                      <a:pt x="1731236" y="592281"/>
                    </a:moveTo>
                    <a:lnTo>
                      <a:pt x="1731629" y="596899"/>
                    </a:lnTo>
                    <a:lnTo>
                      <a:pt x="1735949" y="596899"/>
                    </a:lnTo>
                    <a:lnTo>
                      <a:pt x="1731236" y="592281"/>
                    </a:lnTo>
                    <a:close/>
                  </a:path>
                  <a:path w="3439795" h="1447800">
                    <a:moveTo>
                      <a:pt x="1729469" y="571499"/>
                    </a:moveTo>
                    <a:lnTo>
                      <a:pt x="1731236" y="592281"/>
                    </a:lnTo>
                    <a:lnTo>
                      <a:pt x="1735949" y="596899"/>
                    </a:lnTo>
                    <a:lnTo>
                      <a:pt x="1738110" y="596899"/>
                    </a:lnTo>
                    <a:lnTo>
                      <a:pt x="1729469" y="571499"/>
                    </a:lnTo>
                    <a:close/>
                  </a:path>
                  <a:path w="3439795" h="1447800">
                    <a:moveTo>
                      <a:pt x="1733789" y="571499"/>
                    </a:moveTo>
                    <a:lnTo>
                      <a:pt x="1729469" y="571499"/>
                    </a:lnTo>
                    <a:lnTo>
                      <a:pt x="1738110" y="596899"/>
                    </a:lnTo>
                    <a:lnTo>
                      <a:pt x="1740270" y="596899"/>
                    </a:lnTo>
                    <a:lnTo>
                      <a:pt x="1740270" y="590549"/>
                    </a:lnTo>
                    <a:lnTo>
                      <a:pt x="1733789" y="571499"/>
                    </a:lnTo>
                    <a:close/>
                  </a:path>
                  <a:path w="3439795" h="1447800">
                    <a:moveTo>
                      <a:pt x="1740270" y="590549"/>
                    </a:moveTo>
                    <a:lnTo>
                      <a:pt x="1740270" y="596899"/>
                    </a:lnTo>
                    <a:lnTo>
                      <a:pt x="1742430" y="596899"/>
                    </a:lnTo>
                    <a:lnTo>
                      <a:pt x="1740270" y="590549"/>
                    </a:lnTo>
                    <a:close/>
                  </a:path>
                  <a:path w="3439795" h="1447800">
                    <a:moveTo>
                      <a:pt x="1740270" y="588433"/>
                    </a:moveTo>
                    <a:lnTo>
                      <a:pt x="1740270" y="590549"/>
                    </a:lnTo>
                    <a:lnTo>
                      <a:pt x="1742430" y="596899"/>
                    </a:lnTo>
                    <a:lnTo>
                      <a:pt x="1740270" y="588433"/>
                    </a:lnTo>
                    <a:close/>
                  </a:path>
                  <a:path w="3439795" h="1447800">
                    <a:moveTo>
                      <a:pt x="1740270" y="571499"/>
                    </a:moveTo>
                    <a:lnTo>
                      <a:pt x="1740270" y="588433"/>
                    </a:lnTo>
                    <a:lnTo>
                      <a:pt x="1742430" y="596899"/>
                    </a:lnTo>
                    <a:lnTo>
                      <a:pt x="1746751" y="584199"/>
                    </a:lnTo>
                    <a:lnTo>
                      <a:pt x="1740270" y="571499"/>
                    </a:lnTo>
                    <a:close/>
                  </a:path>
                  <a:path w="3439795" h="1447800">
                    <a:moveTo>
                      <a:pt x="1742430" y="571499"/>
                    </a:moveTo>
                    <a:lnTo>
                      <a:pt x="1740270" y="571499"/>
                    </a:lnTo>
                    <a:lnTo>
                      <a:pt x="1746751" y="584199"/>
                    </a:lnTo>
                    <a:lnTo>
                      <a:pt x="1742430" y="596899"/>
                    </a:lnTo>
                    <a:lnTo>
                      <a:pt x="1746751" y="596899"/>
                    </a:lnTo>
                    <a:lnTo>
                      <a:pt x="1751071" y="584199"/>
                    </a:lnTo>
                    <a:lnTo>
                      <a:pt x="1742430" y="571499"/>
                    </a:lnTo>
                    <a:close/>
                  </a:path>
                  <a:path w="3439795" h="1447800">
                    <a:moveTo>
                      <a:pt x="1751071" y="584199"/>
                    </a:moveTo>
                    <a:lnTo>
                      <a:pt x="1746751" y="596899"/>
                    </a:lnTo>
                    <a:lnTo>
                      <a:pt x="1748911" y="596899"/>
                    </a:lnTo>
                    <a:lnTo>
                      <a:pt x="1751071" y="584199"/>
                    </a:lnTo>
                    <a:close/>
                  </a:path>
                  <a:path w="3439795" h="1447800">
                    <a:moveTo>
                      <a:pt x="1766192" y="571499"/>
                    </a:moveTo>
                    <a:lnTo>
                      <a:pt x="1755391" y="571499"/>
                    </a:lnTo>
                    <a:lnTo>
                      <a:pt x="1764032" y="584199"/>
                    </a:lnTo>
                    <a:lnTo>
                      <a:pt x="1761872" y="596899"/>
                    </a:lnTo>
                    <a:lnTo>
                      <a:pt x="1766192" y="584199"/>
                    </a:lnTo>
                    <a:lnTo>
                      <a:pt x="1774833" y="584199"/>
                    </a:lnTo>
                    <a:lnTo>
                      <a:pt x="1766192" y="571499"/>
                    </a:lnTo>
                    <a:close/>
                  </a:path>
                  <a:path w="3439795" h="1447800">
                    <a:moveTo>
                      <a:pt x="1798596" y="584199"/>
                    </a:moveTo>
                    <a:lnTo>
                      <a:pt x="1794275" y="584199"/>
                    </a:lnTo>
                    <a:lnTo>
                      <a:pt x="1800756" y="596899"/>
                    </a:lnTo>
                    <a:lnTo>
                      <a:pt x="1798596" y="584199"/>
                    </a:lnTo>
                    <a:close/>
                  </a:path>
                  <a:path w="3439795" h="1447800">
                    <a:moveTo>
                      <a:pt x="1823870" y="595629"/>
                    </a:moveTo>
                    <a:lnTo>
                      <a:pt x="1822358" y="596899"/>
                    </a:lnTo>
                    <a:lnTo>
                      <a:pt x="1824518" y="596899"/>
                    </a:lnTo>
                    <a:lnTo>
                      <a:pt x="1823870" y="595629"/>
                    </a:lnTo>
                    <a:close/>
                  </a:path>
                  <a:path w="3439795" h="1447800">
                    <a:moveTo>
                      <a:pt x="1837480" y="584199"/>
                    </a:moveTo>
                    <a:lnTo>
                      <a:pt x="1823870" y="595629"/>
                    </a:lnTo>
                    <a:lnTo>
                      <a:pt x="1824518" y="596899"/>
                    </a:lnTo>
                    <a:lnTo>
                      <a:pt x="1837480" y="584199"/>
                    </a:lnTo>
                    <a:close/>
                  </a:path>
                  <a:path w="3439795" h="1447800">
                    <a:moveTo>
                      <a:pt x="1843960" y="584199"/>
                    </a:moveTo>
                    <a:lnTo>
                      <a:pt x="1837480" y="584199"/>
                    </a:lnTo>
                    <a:lnTo>
                      <a:pt x="1824518" y="596899"/>
                    </a:lnTo>
                    <a:lnTo>
                      <a:pt x="1830999" y="596899"/>
                    </a:lnTo>
                    <a:lnTo>
                      <a:pt x="1843960" y="584199"/>
                    </a:lnTo>
                    <a:close/>
                  </a:path>
                  <a:path w="3439795" h="1447800">
                    <a:moveTo>
                      <a:pt x="1960522" y="584199"/>
                    </a:moveTo>
                    <a:lnTo>
                      <a:pt x="1956202" y="592666"/>
                    </a:lnTo>
                    <a:lnTo>
                      <a:pt x="1956202" y="596899"/>
                    </a:lnTo>
                    <a:lnTo>
                      <a:pt x="1971323" y="596899"/>
                    </a:lnTo>
                    <a:lnTo>
                      <a:pt x="1960522" y="584199"/>
                    </a:lnTo>
                    <a:close/>
                  </a:path>
                  <a:path w="3439795" h="1447800">
                    <a:moveTo>
                      <a:pt x="1975643" y="571499"/>
                    </a:moveTo>
                    <a:lnTo>
                      <a:pt x="1967003" y="584199"/>
                    </a:lnTo>
                    <a:lnTo>
                      <a:pt x="1960522" y="584199"/>
                    </a:lnTo>
                    <a:lnTo>
                      <a:pt x="1971323" y="596899"/>
                    </a:lnTo>
                    <a:lnTo>
                      <a:pt x="1975643" y="596899"/>
                    </a:lnTo>
                    <a:lnTo>
                      <a:pt x="1975643" y="571499"/>
                    </a:lnTo>
                    <a:close/>
                  </a:path>
                  <a:path w="3439795" h="1447800">
                    <a:moveTo>
                      <a:pt x="1828839" y="571499"/>
                    </a:moveTo>
                    <a:lnTo>
                      <a:pt x="1818038" y="584199"/>
                    </a:lnTo>
                    <a:lnTo>
                      <a:pt x="1823870" y="595629"/>
                    </a:lnTo>
                    <a:lnTo>
                      <a:pt x="1837480" y="584199"/>
                    </a:lnTo>
                    <a:lnTo>
                      <a:pt x="1820198" y="584199"/>
                    </a:lnTo>
                    <a:lnTo>
                      <a:pt x="1828839" y="571499"/>
                    </a:lnTo>
                    <a:close/>
                  </a:path>
                  <a:path w="3439795" h="1447800">
                    <a:moveTo>
                      <a:pt x="1548101" y="571499"/>
                    </a:moveTo>
                    <a:lnTo>
                      <a:pt x="1548101" y="594359"/>
                    </a:lnTo>
                    <a:lnTo>
                      <a:pt x="1550261" y="591819"/>
                    </a:lnTo>
                    <a:lnTo>
                      <a:pt x="1550261" y="574674"/>
                    </a:lnTo>
                    <a:lnTo>
                      <a:pt x="1548101" y="571499"/>
                    </a:lnTo>
                    <a:close/>
                  </a:path>
                  <a:path w="3439795" h="1447800">
                    <a:moveTo>
                      <a:pt x="1498506" y="584199"/>
                    </a:moveTo>
                    <a:lnTo>
                      <a:pt x="1496345" y="584199"/>
                    </a:lnTo>
                    <a:lnTo>
                      <a:pt x="1504446" y="593724"/>
                    </a:lnTo>
                    <a:lnTo>
                      <a:pt x="1504266" y="592666"/>
                    </a:lnTo>
                    <a:lnTo>
                      <a:pt x="1498506" y="584199"/>
                    </a:lnTo>
                    <a:close/>
                  </a:path>
                  <a:path w="3439795" h="1447800">
                    <a:moveTo>
                      <a:pt x="1500666" y="584199"/>
                    </a:moveTo>
                    <a:lnTo>
                      <a:pt x="1498506" y="584199"/>
                    </a:lnTo>
                    <a:lnTo>
                      <a:pt x="1504266" y="592666"/>
                    </a:lnTo>
                    <a:lnTo>
                      <a:pt x="1503137" y="586025"/>
                    </a:lnTo>
                    <a:lnTo>
                      <a:pt x="1500666" y="584199"/>
                    </a:lnTo>
                    <a:close/>
                  </a:path>
                  <a:path w="3439795" h="1447800">
                    <a:moveTo>
                      <a:pt x="1956202" y="571499"/>
                    </a:moveTo>
                    <a:lnTo>
                      <a:pt x="1956202" y="592666"/>
                    </a:lnTo>
                    <a:lnTo>
                      <a:pt x="1960522" y="584199"/>
                    </a:lnTo>
                    <a:lnTo>
                      <a:pt x="1964842" y="584199"/>
                    </a:lnTo>
                    <a:lnTo>
                      <a:pt x="1956202" y="571499"/>
                    </a:lnTo>
                    <a:close/>
                  </a:path>
                  <a:path w="3439795" h="1447800">
                    <a:moveTo>
                      <a:pt x="1729469" y="571499"/>
                    </a:moveTo>
                    <a:lnTo>
                      <a:pt x="1725148" y="584199"/>
                    </a:lnTo>
                    <a:lnTo>
                      <a:pt x="1722988" y="584199"/>
                    </a:lnTo>
                    <a:lnTo>
                      <a:pt x="1731236" y="592281"/>
                    </a:lnTo>
                    <a:lnTo>
                      <a:pt x="1729469" y="571499"/>
                    </a:lnTo>
                    <a:close/>
                  </a:path>
                  <a:path w="3439795" h="1447800">
                    <a:moveTo>
                      <a:pt x="1550261" y="574674"/>
                    </a:moveTo>
                    <a:lnTo>
                      <a:pt x="1550261" y="591819"/>
                    </a:lnTo>
                    <a:lnTo>
                      <a:pt x="1556741" y="584199"/>
                    </a:lnTo>
                    <a:lnTo>
                      <a:pt x="1550261" y="574674"/>
                    </a:lnTo>
                    <a:close/>
                  </a:path>
                  <a:path w="3439795" h="1447800">
                    <a:moveTo>
                      <a:pt x="1589145" y="584199"/>
                    </a:moveTo>
                    <a:lnTo>
                      <a:pt x="1582664" y="584199"/>
                    </a:lnTo>
                    <a:lnTo>
                      <a:pt x="1582664" y="591819"/>
                    </a:lnTo>
                    <a:lnTo>
                      <a:pt x="1589145" y="584199"/>
                    </a:lnTo>
                    <a:close/>
                  </a:path>
                  <a:path w="3439795" h="1447800">
                    <a:moveTo>
                      <a:pt x="1578344" y="571499"/>
                    </a:moveTo>
                    <a:lnTo>
                      <a:pt x="1571863" y="584199"/>
                    </a:lnTo>
                    <a:lnTo>
                      <a:pt x="1575103" y="590549"/>
                    </a:lnTo>
                    <a:lnTo>
                      <a:pt x="1578344" y="571499"/>
                    </a:lnTo>
                    <a:close/>
                  </a:path>
                  <a:path w="3439795" h="1447800">
                    <a:moveTo>
                      <a:pt x="1735949" y="571499"/>
                    </a:moveTo>
                    <a:lnTo>
                      <a:pt x="1733789" y="571499"/>
                    </a:lnTo>
                    <a:lnTo>
                      <a:pt x="1740270" y="590549"/>
                    </a:lnTo>
                    <a:lnTo>
                      <a:pt x="1740270" y="588433"/>
                    </a:lnTo>
                    <a:lnTo>
                      <a:pt x="1735949" y="571499"/>
                    </a:lnTo>
                    <a:close/>
                  </a:path>
                  <a:path w="3439795" h="1447800">
                    <a:moveTo>
                      <a:pt x="408355" y="580571"/>
                    </a:moveTo>
                    <a:lnTo>
                      <a:pt x="405886" y="584199"/>
                    </a:lnTo>
                    <a:lnTo>
                      <a:pt x="407806" y="589844"/>
                    </a:lnTo>
                    <a:lnTo>
                      <a:pt x="414527" y="584199"/>
                    </a:lnTo>
                    <a:lnTo>
                      <a:pt x="410207" y="584199"/>
                    </a:lnTo>
                    <a:lnTo>
                      <a:pt x="408355" y="580571"/>
                    </a:lnTo>
                    <a:close/>
                  </a:path>
                  <a:path w="3439795" h="1447800">
                    <a:moveTo>
                      <a:pt x="630459" y="577849"/>
                    </a:moveTo>
                    <a:lnTo>
                      <a:pt x="628298" y="584199"/>
                    </a:lnTo>
                    <a:lnTo>
                      <a:pt x="624698" y="588433"/>
                    </a:lnTo>
                    <a:lnTo>
                      <a:pt x="630459" y="584199"/>
                    </a:lnTo>
                    <a:lnTo>
                      <a:pt x="630459" y="577849"/>
                    </a:lnTo>
                    <a:close/>
                  </a:path>
                  <a:path w="3439795" h="1447800">
                    <a:moveTo>
                      <a:pt x="1740270" y="571499"/>
                    </a:moveTo>
                    <a:lnTo>
                      <a:pt x="1735949" y="571499"/>
                    </a:lnTo>
                    <a:lnTo>
                      <a:pt x="1740270" y="588433"/>
                    </a:lnTo>
                    <a:lnTo>
                      <a:pt x="1740270" y="571499"/>
                    </a:lnTo>
                    <a:close/>
                  </a:path>
                  <a:path w="3439795" h="1447800">
                    <a:moveTo>
                      <a:pt x="1537300" y="577849"/>
                    </a:moveTo>
                    <a:lnTo>
                      <a:pt x="1535139" y="584199"/>
                    </a:lnTo>
                    <a:lnTo>
                      <a:pt x="1536939" y="586316"/>
                    </a:lnTo>
                    <a:lnTo>
                      <a:pt x="1537300" y="584199"/>
                    </a:lnTo>
                    <a:lnTo>
                      <a:pt x="1537300" y="577849"/>
                    </a:lnTo>
                    <a:close/>
                  </a:path>
                  <a:path w="3439795" h="1447800">
                    <a:moveTo>
                      <a:pt x="1617228" y="584199"/>
                    </a:moveTo>
                    <a:lnTo>
                      <a:pt x="1615067" y="584199"/>
                    </a:lnTo>
                    <a:lnTo>
                      <a:pt x="1616507" y="586316"/>
                    </a:lnTo>
                    <a:lnTo>
                      <a:pt x="1617228" y="584199"/>
                    </a:lnTo>
                    <a:close/>
                  </a:path>
                  <a:path w="3439795" h="1447800">
                    <a:moveTo>
                      <a:pt x="1502826" y="584199"/>
                    </a:moveTo>
                    <a:lnTo>
                      <a:pt x="1500666" y="584199"/>
                    </a:lnTo>
                    <a:lnTo>
                      <a:pt x="1503137" y="586025"/>
                    </a:lnTo>
                    <a:lnTo>
                      <a:pt x="1502826" y="584199"/>
                    </a:lnTo>
                    <a:close/>
                  </a:path>
                  <a:path w="3439795" h="1447800">
                    <a:moveTo>
                      <a:pt x="396624" y="580549"/>
                    </a:moveTo>
                    <a:lnTo>
                      <a:pt x="397245" y="584199"/>
                    </a:lnTo>
                    <a:lnTo>
                      <a:pt x="399406" y="584199"/>
                    </a:lnTo>
                    <a:lnTo>
                      <a:pt x="396624" y="580549"/>
                    </a:lnTo>
                    <a:close/>
                  </a:path>
                  <a:path w="3439795" h="1447800">
                    <a:moveTo>
                      <a:pt x="410207" y="558799"/>
                    </a:moveTo>
                    <a:lnTo>
                      <a:pt x="395085" y="571499"/>
                    </a:lnTo>
                    <a:lnTo>
                      <a:pt x="396641" y="580571"/>
                    </a:lnTo>
                    <a:lnTo>
                      <a:pt x="399406" y="584199"/>
                    </a:lnTo>
                    <a:lnTo>
                      <a:pt x="403726" y="571499"/>
                    </a:lnTo>
                    <a:lnTo>
                      <a:pt x="410207" y="571499"/>
                    </a:lnTo>
                    <a:lnTo>
                      <a:pt x="410207" y="558799"/>
                    </a:lnTo>
                    <a:close/>
                  </a:path>
                  <a:path w="3439795" h="1447800">
                    <a:moveTo>
                      <a:pt x="403726" y="571499"/>
                    </a:moveTo>
                    <a:lnTo>
                      <a:pt x="399406" y="584199"/>
                    </a:lnTo>
                    <a:lnTo>
                      <a:pt x="406606" y="577144"/>
                    </a:lnTo>
                    <a:lnTo>
                      <a:pt x="403726" y="571499"/>
                    </a:lnTo>
                    <a:close/>
                  </a:path>
                  <a:path w="3439795" h="1447800">
                    <a:moveTo>
                      <a:pt x="406606" y="577144"/>
                    </a:moveTo>
                    <a:lnTo>
                      <a:pt x="399406" y="584199"/>
                    </a:lnTo>
                    <a:lnTo>
                      <a:pt x="405166" y="579966"/>
                    </a:lnTo>
                    <a:lnTo>
                      <a:pt x="406966" y="577849"/>
                    </a:lnTo>
                    <a:lnTo>
                      <a:pt x="406606" y="577144"/>
                    </a:lnTo>
                    <a:close/>
                  </a:path>
                  <a:path w="3439795" h="1447800">
                    <a:moveTo>
                      <a:pt x="407261" y="578427"/>
                    </a:moveTo>
                    <a:lnTo>
                      <a:pt x="405166" y="579966"/>
                    </a:lnTo>
                    <a:lnTo>
                      <a:pt x="401566" y="584199"/>
                    </a:lnTo>
                    <a:lnTo>
                      <a:pt x="407614" y="579119"/>
                    </a:lnTo>
                    <a:lnTo>
                      <a:pt x="407261" y="578427"/>
                    </a:lnTo>
                    <a:close/>
                  </a:path>
                  <a:path w="3439795" h="1447800">
                    <a:moveTo>
                      <a:pt x="407614" y="579119"/>
                    </a:moveTo>
                    <a:lnTo>
                      <a:pt x="401566" y="584199"/>
                    </a:lnTo>
                    <a:lnTo>
                      <a:pt x="405886" y="584199"/>
                    </a:lnTo>
                    <a:lnTo>
                      <a:pt x="408355" y="580571"/>
                    </a:lnTo>
                    <a:lnTo>
                      <a:pt x="407614" y="579119"/>
                    </a:lnTo>
                    <a:close/>
                  </a:path>
                  <a:path w="3439795" h="1447800">
                    <a:moveTo>
                      <a:pt x="410207" y="577849"/>
                    </a:moveTo>
                    <a:lnTo>
                      <a:pt x="408355" y="580571"/>
                    </a:lnTo>
                    <a:lnTo>
                      <a:pt x="410207" y="584199"/>
                    </a:lnTo>
                    <a:lnTo>
                      <a:pt x="414527" y="584199"/>
                    </a:lnTo>
                    <a:lnTo>
                      <a:pt x="414527" y="582083"/>
                    </a:lnTo>
                    <a:lnTo>
                      <a:pt x="410207" y="577849"/>
                    </a:lnTo>
                    <a:close/>
                  </a:path>
                  <a:path w="3439795" h="1447800">
                    <a:moveTo>
                      <a:pt x="415313" y="572654"/>
                    </a:moveTo>
                    <a:lnTo>
                      <a:pt x="414527" y="573314"/>
                    </a:lnTo>
                    <a:lnTo>
                      <a:pt x="414527" y="582083"/>
                    </a:lnTo>
                    <a:lnTo>
                      <a:pt x="416687" y="584199"/>
                    </a:lnTo>
                    <a:lnTo>
                      <a:pt x="418847" y="584199"/>
                    </a:lnTo>
                    <a:lnTo>
                      <a:pt x="417407" y="575733"/>
                    </a:lnTo>
                    <a:lnTo>
                      <a:pt x="415313" y="572654"/>
                    </a:lnTo>
                    <a:close/>
                  </a:path>
                  <a:path w="3439795" h="1447800">
                    <a:moveTo>
                      <a:pt x="417407" y="575733"/>
                    </a:moveTo>
                    <a:lnTo>
                      <a:pt x="418847" y="584199"/>
                    </a:lnTo>
                    <a:lnTo>
                      <a:pt x="418847" y="577849"/>
                    </a:lnTo>
                    <a:lnTo>
                      <a:pt x="417407" y="575733"/>
                    </a:lnTo>
                    <a:close/>
                  </a:path>
                  <a:path w="3439795" h="1447800">
                    <a:moveTo>
                      <a:pt x="418847" y="577849"/>
                    </a:moveTo>
                    <a:lnTo>
                      <a:pt x="418847" y="584199"/>
                    </a:lnTo>
                    <a:lnTo>
                      <a:pt x="423168" y="584199"/>
                    </a:lnTo>
                    <a:lnTo>
                      <a:pt x="418847" y="577849"/>
                    </a:lnTo>
                    <a:close/>
                  </a:path>
                  <a:path w="3439795" h="1447800">
                    <a:moveTo>
                      <a:pt x="421008" y="571499"/>
                    </a:moveTo>
                    <a:lnTo>
                      <a:pt x="418847" y="571499"/>
                    </a:lnTo>
                    <a:lnTo>
                      <a:pt x="418847" y="577849"/>
                    </a:lnTo>
                    <a:lnTo>
                      <a:pt x="423168" y="584199"/>
                    </a:lnTo>
                    <a:lnTo>
                      <a:pt x="421008" y="571499"/>
                    </a:lnTo>
                    <a:close/>
                  </a:path>
                  <a:path w="3439795" h="1447800">
                    <a:moveTo>
                      <a:pt x="578613" y="571499"/>
                    </a:moveTo>
                    <a:lnTo>
                      <a:pt x="574293" y="571499"/>
                    </a:lnTo>
                    <a:lnTo>
                      <a:pt x="591575" y="584199"/>
                    </a:lnTo>
                    <a:lnTo>
                      <a:pt x="578613" y="571499"/>
                    </a:lnTo>
                    <a:close/>
                  </a:path>
                  <a:path w="3439795" h="1447800">
                    <a:moveTo>
                      <a:pt x="585094" y="558799"/>
                    </a:moveTo>
                    <a:lnTo>
                      <a:pt x="580774" y="558799"/>
                    </a:lnTo>
                    <a:lnTo>
                      <a:pt x="578613" y="571499"/>
                    </a:lnTo>
                    <a:lnTo>
                      <a:pt x="591575" y="584199"/>
                    </a:lnTo>
                    <a:lnTo>
                      <a:pt x="591575" y="571499"/>
                    </a:lnTo>
                    <a:lnTo>
                      <a:pt x="585094" y="558799"/>
                    </a:lnTo>
                    <a:close/>
                  </a:path>
                  <a:path w="3439795" h="1447800">
                    <a:moveTo>
                      <a:pt x="585094" y="558799"/>
                    </a:moveTo>
                    <a:lnTo>
                      <a:pt x="591575" y="571499"/>
                    </a:lnTo>
                    <a:lnTo>
                      <a:pt x="591575" y="584199"/>
                    </a:lnTo>
                    <a:lnTo>
                      <a:pt x="593735" y="571499"/>
                    </a:lnTo>
                    <a:lnTo>
                      <a:pt x="585094" y="558799"/>
                    </a:lnTo>
                    <a:close/>
                  </a:path>
                  <a:path w="3439795" h="1447800">
                    <a:moveTo>
                      <a:pt x="613177" y="571499"/>
                    </a:moveTo>
                    <a:lnTo>
                      <a:pt x="611017" y="571499"/>
                    </a:lnTo>
                    <a:lnTo>
                      <a:pt x="626138" y="584199"/>
                    </a:lnTo>
                    <a:lnTo>
                      <a:pt x="628298" y="584199"/>
                    </a:lnTo>
                    <a:lnTo>
                      <a:pt x="613177" y="571499"/>
                    </a:lnTo>
                    <a:close/>
                  </a:path>
                  <a:path w="3439795" h="1447800">
                    <a:moveTo>
                      <a:pt x="621818" y="546099"/>
                    </a:moveTo>
                    <a:lnTo>
                      <a:pt x="613177" y="546099"/>
                    </a:lnTo>
                    <a:lnTo>
                      <a:pt x="613177" y="571499"/>
                    </a:lnTo>
                    <a:lnTo>
                      <a:pt x="628298" y="584199"/>
                    </a:lnTo>
                    <a:lnTo>
                      <a:pt x="615337" y="571499"/>
                    </a:lnTo>
                    <a:lnTo>
                      <a:pt x="632619" y="571499"/>
                    </a:lnTo>
                    <a:lnTo>
                      <a:pt x="632619" y="558799"/>
                    </a:lnTo>
                    <a:lnTo>
                      <a:pt x="621818" y="546099"/>
                    </a:lnTo>
                    <a:close/>
                  </a:path>
                  <a:path w="3439795" h="1447800">
                    <a:moveTo>
                      <a:pt x="630459" y="571499"/>
                    </a:moveTo>
                    <a:lnTo>
                      <a:pt x="615337" y="571499"/>
                    </a:lnTo>
                    <a:lnTo>
                      <a:pt x="628298" y="584199"/>
                    </a:lnTo>
                    <a:lnTo>
                      <a:pt x="630459" y="577849"/>
                    </a:lnTo>
                    <a:lnTo>
                      <a:pt x="630459" y="571499"/>
                    </a:lnTo>
                    <a:close/>
                  </a:path>
                  <a:path w="3439795" h="1447800">
                    <a:moveTo>
                      <a:pt x="1520018" y="571499"/>
                    </a:moveTo>
                    <a:lnTo>
                      <a:pt x="1520018" y="584199"/>
                    </a:lnTo>
                    <a:lnTo>
                      <a:pt x="1524338" y="584199"/>
                    </a:lnTo>
                    <a:lnTo>
                      <a:pt x="1524338" y="579966"/>
                    </a:lnTo>
                    <a:lnTo>
                      <a:pt x="1520018" y="571499"/>
                    </a:lnTo>
                    <a:close/>
                  </a:path>
                  <a:path w="3439795" h="1447800">
                    <a:moveTo>
                      <a:pt x="1524338" y="579966"/>
                    </a:moveTo>
                    <a:lnTo>
                      <a:pt x="1524338" y="584199"/>
                    </a:lnTo>
                    <a:lnTo>
                      <a:pt x="1526498" y="584199"/>
                    </a:lnTo>
                    <a:lnTo>
                      <a:pt x="1524338" y="579966"/>
                    </a:lnTo>
                    <a:close/>
                  </a:path>
                  <a:path w="3439795" h="1447800">
                    <a:moveTo>
                      <a:pt x="1528659" y="571499"/>
                    </a:moveTo>
                    <a:lnTo>
                      <a:pt x="1524338" y="571499"/>
                    </a:lnTo>
                    <a:lnTo>
                      <a:pt x="1524338" y="579966"/>
                    </a:lnTo>
                    <a:lnTo>
                      <a:pt x="1526498" y="584199"/>
                    </a:lnTo>
                    <a:lnTo>
                      <a:pt x="1528659" y="571499"/>
                    </a:lnTo>
                    <a:close/>
                  </a:path>
                  <a:path w="3439795" h="1447800">
                    <a:moveTo>
                      <a:pt x="1537300" y="571499"/>
                    </a:moveTo>
                    <a:lnTo>
                      <a:pt x="1528659" y="571499"/>
                    </a:lnTo>
                    <a:lnTo>
                      <a:pt x="1528659" y="584199"/>
                    </a:lnTo>
                    <a:lnTo>
                      <a:pt x="1535139" y="584199"/>
                    </a:lnTo>
                    <a:lnTo>
                      <a:pt x="1537300" y="577849"/>
                    </a:lnTo>
                    <a:lnTo>
                      <a:pt x="1537300" y="571499"/>
                    </a:lnTo>
                    <a:close/>
                  </a:path>
                  <a:path w="3439795" h="1447800">
                    <a:moveTo>
                      <a:pt x="1539460" y="571499"/>
                    </a:moveTo>
                    <a:lnTo>
                      <a:pt x="1537300" y="577849"/>
                    </a:lnTo>
                    <a:lnTo>
                      <a:pt x="1537300" y="584199"/>
                    </a:lnTo>
                    <a:lnTo>
                      <a:pt x="1539460" y="571499"/>
                    </a:lnTo>
                    <a:close/>
                  </a:path>
                  <a:path w="3439795" h="1447800">
                    <a:moveTo>
                      <a:pt x="1548101" y="571499"/>
                    </a:moveTo>
                    <a:lnTo>
                      <a:pt x="1539460" y="571499"/>
                    </a:lnTo>
                    <a:lnTo>
                      <a:pt x="1537300" y="584199"/>
                    </a:lnTo>
                    <a:lnTo>
                      <a:pt x="1548101" y="571499"/>
                    </a:lnTo>
                    <a:close/>
                  </a:path>
                  <a:path w="3439795" h="1447800">
                    <a:moveTo>
                      <a:pt x="1586985" y="571499"/>
                    </a:moveTo>
                    <a:lnTo>
                      <a:pt x="1582664" y="571499"/>
                    </a:lnTo>
                    <a:lnTo>
                      <a:pt x="1589145" y="584199"/>
                    </a:lnTo>
                    <a:lnTo>
                      <a:pt x="1586985" y="571499"/>
                    </a:lnTo>
                    <a:close/>
                  </a:path>
                  <a:path w="3439795" h="1447800">
                    <a:moveTo>
                      <a:pt x="1729469" y="571499"/>
                    </a:moveTo>
                    <a:lnTo>
                      <a:pt x="1727309" y="571499"/>
                    </a:lnTo>
                    <a:lnTo>
                      <a:pt x="1725148" y="584199"/>
                    </a:lnTo>
                    <a:lnTo>
                      <a:pt x="1729469" y="571499"/>
                    </a:lnTo>
                    <a:close/>
                  </a:path>
                  <a:path w="3439795" h="1447800">
                    <a:moveTo>
                      <a:pt x="1746751" y="571499"/>
                    </a:moveTo>
                    <a:lnTo>
                      <a:pt x="1742430" y="571499"/>
                    </a:lnTo>
                    <a:lnTo>
                      <a:pt x="1751071" y="584199"/>
                    </a:lnTo>
                    <a:lnTo>
                      <a:pt x="1746751" y="571499"/>
                    </a:lnTo>
                    <a:close/>
                  </a:path>
                  <a:path w="3439795" h="1447800">
                    <a:moveTo>
                      <a:pt x="1746751" y="571499"/>
                    </a:moveTo>
                    <a:lnTo>
                      <a:pt x="1751071" y="584199"/>
                    </a:lnTo>
                    <a:lnTo>
                      <a:pt x="1757552" y="584199"/>
                    </a:lnTo>
                    <a:lnTo>
                      <a:pt x="1757120" y="581659"/>
                    </a:lnTo>
                    <a:lnTo>
                      <a:pt x="1746751" y="571499"/>
                    </a:lnTo>
                    <a:close/>
                  </a:path>
                  <a:path w="3439795" h="1447800">
                    <a:moveTo>
                      <a:pt x="1757120" y="581659"/>
                    </a:moveTo>
                    <a:lnTo>
                      <a:pt x="1757552" y="584199"/>
                    </a:lnTo>
                    <a:lnTo>
                      <a:pt x="1759712" y="584199"/>
                    </a:lnTo>
                    <a:lnTo>
                      <a:pt x="1757120" y="581659"/>
                    </a:lnTo>
                    <a:close/>
                  </a:path>
                  <a:path w="3439795" h="1447800">
                    <a:moveTo>
                      <a:pt x="1757012" y="581024"/>
                    </a:moveTo>
                    <a:lnTo>
                      <a:pt x="1757120" y="581659"/>
                    </a:lnTo>
                    <a:lnTo>
                      <a:pt x="1759712" y="584199"/>
                    </a:lnTo>
                    <a:lnTo>
                      <a:pt x="1757012" y="581024"/>
                    </a:lnTo>
                    <a:close/>
                  </a:path>
                  <a:path w="3439795" h="1447800">
                    <a:moveTo>
                      <a:pt x="1755391" y="571499"/>
                    </a:moveTo>
                    <a:lnTo>
                      <a:pt x="1757012" y="581024"/>
                    </a:lnTo>
                    <a:lnTo>
                      <a:pt x="1759712" y="584199"/>
                    </a:lnTo>
                    <a:lnTo>
                      <a:pt x="1764032" y="584199"/>
                    </a:lnTo>
                    <a:lnTo>
                      <a:pt x="1755391" y="571499"/>
                    </a:lnTo>
                    <a:close/>
                  </a:path>
                  <a:path w="3439795" h="1447800">
                    <a:moveTo>
                      <a:pt x="1783474" y="558799"/>
                    </a:moveTo>
                    <a:lnTo>
                      <a:pt x="1779154" y="558799"/>
                    </a:lnTo>
                    <a:lnTo>
                      <a:pt x="1766192" y="571499"/>
                    </a:lnTo>
                    <a:lnTo>
                      <a:pt x="1774833" y="584199"/>
                    </a:lnTo>
                    <a:lnTo>
                      <a:pt x="1770513" y="571499"/>
                    </a:lnTo>
                    <a:lnTo>
                      <a:pt x="1783474" y="571499"/>
                    </a:lnTo>
                    <a:lnTo>
                      <a:pt x="1783474" y="558799"/>
                    </a:lnTo>
                    <a:close/>
                  </a:path>
                  <a:path w="3439795" h="1447800">
                    <a:moveTo>
                      <a:pt x="1783474" y="558799"/>
                    </a:moveTo>
                    <a:lnTo>
                      <a:pt x="1783474" y="571499"/>
                    </a:lnTo>
                    <a:lnTo>
                      <a:pt x="1770513" y="571499"/>
                    </a:lnTo>
                    <a:lnTo>
                      <a:pt x="1774833" y="584199"/>
                    </a:lnTo>
                    <a:lnTo>
                      <a:pt x="1785634" y="571499"/>
                    </a:lnTo>
                    <a:lnTo>
                      <a:pt x="1783474" y="558799"/>
                    </a:lnTo>
                    <a:close/>
                  </a:path>
                  <a:path w="3439795" h="1447800">
                    <a:moveTo>
                      <a:pt x="1792115" y="558799"/>
                    </a:moveTo>
                    <a:lnTo>
                      <a:pt x="1787795" y="571499"/>
                    </a:lnTo>
                    <a:lnTo>
                      <a:pt x="1796435" y="584199"/>
                    </a:lnTo>
                    <a:lnTo>
                      <a:pt x="1800756" y="571499"/>
                    </a:lnTo>
                    <a:lnTo>
                      <a:pt x="1789955" y="571499"/>
                    </a:lnTo>
                    <a:lnTo>
                      <a:pt x="1792115" y="558799"/>
                    </a:lnTo>
                    <a:close/>
                  </a:path>
                  <a:path w="3439795" h="1447800">
                    <a:moveTo>
                      <a:pt x="1792115" y="558799"/>
                    </a:moveTo>
                    <a:lnTo>
                      <a:pt x="1789955" y="571499"/>
                    </a:lnTo>
                    <a:lnTo>
                      <a:pt x="1800756" y="571499"/>
                    </a:lnTo>
                    <a:lnTo>
                      <a:pt x="1796435" y="584199"/>
                    </a:lnTo>
                    <a:lnTo>
                      <a:pt x="1802916" y="571499"/>
                    </a:lnTo>
                    <a:lnTo>
                      <a:pt x="1792115" y="558799"/>
                    </a:lnTo>
                    <a:close/>
                  </a:path>
                  <a:path w="3439795" h="1447800">
                    <a:moveTo>
                      <a:pt x="1813717" y="571499"/>
                    </a:moveTo>
                    <a:lnTo>
                      <a:pt x="1802916" y="571499"/>
                    </a:lnTo>
                    <a:lnTo>
                      <a:pt x="1796435" y="584199"/>
                    </a:lnTo>
                    <a:lnTo>
                      <a:pt x="1807237" y="584199"/>
                    </a:lnTo>
                    <a:lnTo>
                      <a:pt x="1813717" y="571499"/>
                    </a:lnTo>
                    <a:close/>
                  </a:path>
                  <a:path w="3439795" h="1447800">
                    <a:moveTo>
                      <a:pt x="1820198" y="571499"/>
                    </a:moveTo>
                    <a:lnTo>
                      <a:pt x="1813717" y="571499"/>
                    </a:lnTo>
                    <a:lnTo>
                      <a:pt x="1807237" y="584199"/>
                    </a:lnTo>
                    <a:lnTo>
                      <a:pt x="1811557" y="584199"/>
                    </a:lnTo>
                    <a:lnTo>
                      <a:pt x="1820198" y="571499"/>
                    </a:lnTo>
                    <a:close/>
                  </a:path>
                  <a:path w="3439795" h="1447800">
                    <a:moveTo>
                      <a:pt x="1828839" y="571499"/>
                    </a:moveTo>
                    <a:lnTo>
                      <a:pt x="1820198" y="571499"/>
                    </a:lnTo>
                    <a:lnTo>
                      <a:pt x="1811557" y="584199"/>
                    </a:lnTo>
                    <a:lnTo>
                      <a:pt x="1818038" y="584199"/>
                    </a:lnTo>
                    <a:lnTo>
                      <a:pt x="1828839" y="571499"/>
                    </a:lnTo>
                    <a:close/>
                  </a:path>
                  <a:path w="3439795" h="1447800">
                    <a:moveTo>
                      <a:pt x="1828839" y="571499"/>
                    </a:moveTo>
                    <a:lnTo>
                      <a:pt x="1820198" y="584199"/>
                    </a:lnTo>
                    <a:lnTo>
                      <a:pt x="1835319" y="584199"/>
                    </a:lnTo>
                    <a:lnTo>
                      <a:pt x="1828839" y="571499"/>
                    </a:lnTo>
                    <a:close/>
                  </a:path>
                  <a:path w="3439795" h="1447800">
                    <a:moveTo>
                      <a:pt x="1936760" y="571499"/>
                    </a:moveTo>
                    <a:lnTo>
                      <a:pt x="1934599" y="571499"/>
                    </a:lnTo>
                    <a:lnTo>
                      <a:pt x="1934599" y="584199"/>
                    </a:lnTo>
                    <a:lnTo>
                      <a:pt x="1936760" y="571499"/>
                    </a:lnTo>
                    <a:close/>
                  </a:path>
                  <a:path w="3439795" h="1447800">
                    <a:moveTo>
                      <a:pt x="1936760" y="571499"/>
                    </a:moveTo>
                    <a:lnTo>
                      <a:pt x="1951881" y="584199"/>
                    </a:lnTo>
                    <a:lnTo>
                      <a:pt x="1952313" y="582929"/>
                    </a:lnTo>
                    <a:lnTo>
                      <a:pt x="1936760" y="571499"/>
                    </a:lnTo>
                    <a:close/>
                  </a:path>
                  <a:path w="3439795" h="1447800">
                    <a:moveTo>
                      <a:pt x="1952313" y="582929"/>
                    </a:moveTo>
                    <a:lnTo>
                      <a:pt x="1951881" y="584199"/>
                    </a:lnTo>
                    <a:lnTo>
                      <a:pt x="1954041" y="584199"/>
                    </a:lnTo>
                    <a:lnTo>
                      <a:pt x="1952313" y="582929"/>
                    </a:lnTo>
                    <a:close/>
                  </a:path>
                  <a:path w="3439795" h="1447800">
                    <a:moveTo>
                      <a:pt x="1945400" y="520699"/>
                    </a:moveTo>
                    <a:lnTo>
                      <a:pt x="1943240" y="533399"/>
                    </a:lnTo>
                    <a:lnTo>
                      <a:pt x="1943120" y="547511"/>
                    </a:lnTo>
                    <a:lnTo>
                      <a:pt x="1941080" y="571499"/>
                    </a:lnTo>
                    <a:lnTo>
                      <a:pt x="1956202" y="571499"/>
                    </a:lnTo>
                    <a:lnTo>
                      <a:pt x="1964842" y="584199"/>
                    </a:lnTo>
                    <a:lnTo>
                      <a:pt x="1967003" y="584199"/>
                    </a:lnTo>
                    <a:lnTo>
                      <a:pt x="1958362" y="571499"/>
                    </a:lnTo>
                    <a:lnTo>
                      <a:pt x="1960402" y="547511"/>
                    </a:lnTo>
                    <a:lnTo>
                      <a:pt x="1960522" y="533399"/>
                    </a:lnTo>
                    <a:lnTo>
                      <a:pt x="1945400" y="533399"/>
                    </a:lnTo>
                    <a:lnTo>
                      <a:pt x="1945400" y="520699"/>
                    </a:lnTo>
                    <a:close/>
                  </a:path>
                  <a:path w="3439795" h="1447800">
                    <a:moveTo>
                      <a:pt x="1967003" y="571499"/>
                    </a:moveTo>
                    <a:lnTo>
                      <a:pt x="1958362" y="571499"/>
                    </a:lnTo>
                    <a:lnTo>
                      <a:pt x="1967003" y="584199"/>
                    </a:lnTo>
                    <a:lnTo>
                      <a:pt x="1967003" y="571499"/>
                    </a:lnTo>
                    <a:close/>
                  </a:path>
                  <a:path w="3439795" h="1447800">
                    <a:moveTo>
                      <a:pt x="1975643" y="571499"/>
                    </a:moveTo>
                    <a:lnTo>
                      <a:pt x="1967003" y="571499"/>
                    </a:lnTo>
                    <a:lnTo>
                      <a:pt x="1967003" y="584199"/>
                    </a:lnTo>
                    <a:lnTo>
                      <a:pt x="1975643" y="571499"/>
                    </a:lnTo>
                    <a:close/>
                  </a:path>
                  <a:path w="3439795" h="1447800">
                    <a:moveTo>
                      <a:pt x="1956202" y="571499"/>
                    </a:moveTo>
                    <a:lnTo>
                      <a:pt x="1936760" y="571499"/>
                    </a:lnTo>
                    <a:lnTo>
                      <a:pt x="1952313" y="582929"/>
                    </a:lnTo>
                    <a:lnTo>
                      <a:pt x="1956202" y="571499"/>
                    </a:lnTo>
                    <a:close/>
                  </a:path>
                  <a:path w="3439795" h="1447800">
                    <a:moveTo>
                      <a:pt x="414527" y="573314"/>
                    </a:moveTo>
                    <a:lnTo>
                      <a:pt x="411647" y="575733"/>
                    </a:lnTo>
                    <a:lnTo>
                      <a:pt x="410207" y="577849"/>
                    </a:lnTo>
                    <a:lnTo>
                      <a:pt x="414527" y="582083"/>
                    </a:lnTo>
                    <a:lnTo>
                      <a:pt x="414527" y="573314"/>
                    </a:lnTo>
                    <a:close/>
                  </a:path>
                  <a:path w="3439795" h="1447800">
                    <a:moveTo>
                      <a:pt x="1748911" y="571499"/>
                    </a:moveTo>
                    <a:lnTo>
                      <a:pt x="1746751" y="571499"/>
                    </a:lnTo>
                    <a:lnTo>
                      <a:pt x="1757120" y="581659"/>
                    </a:lnTo>
                    <a:lnTo>
                      <a:pt x="1757012" y="581024"/>
                    </a:lnTo>
                    <a:lnTo>
                      <a:pt x="1748911" y="571499"/>
                    </a:lnTo>
                    <a:close/>
                  </a:path>
                  <a:path w="3439795" h="1447800">
                    <a:moveTo>
                      <a:pt x="1755391" y="571499"/>
                    </a:moveTo>
                    <a:lnTo>
                      <a:pt x="1748911" y="571499"/>
                    </a:lnTo>
                    <a:lnTo>
                      <a:pt x="1757012" y="581024"/>
                    </a:lnTo>
                    <a:lnTo>
                      <a:pt x="1755391" y="571499"/>
                    </a:lnTo>
                    <a:close/>
                  </a:path>
                  <a:path w="3439795" h="1447800">
                    <a:moveTo>
                      <a:pt x="409708" y="577361"/>
                    </a:moveTo>
                    <a:lnTo>
                      <a:pt x="407614" y="579119"/>
                    </a:lnTo>
                    <a:lnTo>
                      <a:pt x="408355" y="580571"/>
                    </a:lnTo>
                    <a:lnTo>
                      <a:pt x="410207" y="577849"/>
                    </a:lnTo>
                    <a:lnTo>
                      <a:pt x="409708" y="577361"/>
                    </a:lnTo>
                    <a:close/>
                  </a:path>
                  <a:path w="3439795" h="1447800">
                    <a:moveTo>
                      <a:pt x="406966" y="577849"/>
                    </a:moveTo>
                    <a:lnTo>
                      <a:pt x="405166" y="579966"/>
                    </a:lnTo>
                    <a:lnTo>
                      <a:pt x="407261" y="578427"/>
                    </a:lnTo>
                    <a:lnTo>
                      <a:pt x="406966" y="577849"/>
                    </a:lnTo>
                    <a:close/>
                  </a:path>
                  <a:path w="3439795" h="1447800">
                    <a:moveTo>
                      <a:pt x="1524338" y="571499"/>
                    </a:moveTo>
                    <a:lnTo>
                      <a:pt x="1520018" y="571499"/>
                    </a:lnTo>
                    <a:lnTo>
                      <a:pt x="1524338" y="579966"/>
                    </a:lnTo>
                    <a:lnTo>
                      <a:pt x="1524338" y="571499"/>
                    </a:lnTo>
                    <a:close/>
                  </a:path>
                  <a:path w="3439795" h="1447800">
                    <a:moveTo>
                      <a:pt x="409281" y="576942"/>
                    </a:moveTo>
                    <a:lnTo>
                      <a:pt x="407261" y="578427"/>
                    </a:lnTo>
                    <a:lnTo>
                      <a:pt x="407614" y="579119"/>
                    </a:lnTo>
                    <a:lnTo>
                      <a:pt x="409708" y="577361"/>
                    </a:lnTo>
                    <a:lnTo>
                      <a:pt x="409281" y="576942"/>
                    </a:lnTo>
                    <a:close/>
                  </a:path>
                  <a:path w="3439795" h="1447800">
                    <a:moveTo>
                      <a:pt x="408439" y="576118"/>
                    </a:moveTo>
                    <a:lnTo>
                      <a:pt x="406966" y="577849"/>
                    </a:lnTo>
                    <a:lnTo>
                      <a:pt x="407261" y="578427"/>
                    </a:lnTo>
                    <a:lnTo>
                      <a:pt x="409281" y="576942"/>
                    </a:lnTo>
                    <a:lnTo>
                      <a:pt x="408439" y="576118"/>
                    </a:lnTo>
                    <a:close/>
                  </a:path>
                  <a:path w="3439795" h="1447800">
                    <a:moveTo>
                      <a:pt x="408046" y="575733"/>
                    </a:moveTo>
                    <a:lnTo>
                      <a:pt x="406812" y="576942"/>
                    </a:lnTo>
                    <a:lnTo>
                      <a:pt x="406717" y="577361"/>
                    </a:lnTo>
                    <a:lnTo>
                      <a:pt x="406966" y="577849"/>
                    </a:lnTo>
                    <a:lnTo>
                      <a:pt x="408439" y="576118"/>
                    </a:lnTo>
                    <a:lnTo>
                      <a:pt x="408046" y="575733"/>
                    </a:lnTo>
                    <a:close/>
                  </a:path>
                  <a:path w="3439795" h="1447800">
                    <a:moveTo>
                      <a:pt x="411647" y="575733"/>
                    </a:moveTo>
                    <a:lnTo>
                      <a:pt x="409708" y="577361"/>
                    </a:lnTo>
                    <a:lnTo>
                      <a:pt x="410207" y="577849"/>
                    </a:lnTo>
                    <a:lnTo>
                      <a:pt x="411647" y="575733"/>
                    </a:lnTo>
                    <a:close/>
                  </a:path>
                  <a:path w="3439795" h="1447800">
                    <a:moveTo>
                      <a:pt x="418847" y="571499"/>
                    </a:moveTo>
                    <a:lnTo>
                      <a:pt x="416687" y="571499"/>
                    </a:lnTo>
                    <a:lnTo>
                      <a:pt x="417407" y="575733"/>
                    </a:lnTo>
                    <a:lnTo>
                      <a:pt x="418847" y="577849"/>
                    </a:lnTo>
                    <a:lnTo>
                      <a:pt x="418847" y="571499"/>
                    </a:lnTo>
                    <a:close/>
                  </a:path>
                  <a:path w="3439795" h="1447800">
                    <a:moveTo>
                      <a:pt x="632619" y="571499"/>
                    </a:moveTo>
                    <a:lnTo>
                      <a:pt x="630459" y="571499"/>
                    </a:lnTo>
                    <a:lnTo>
                      <a:pt x="630459" y="577849"/>
                    </a:lnTo>
                    <a:lnTo>
                      <a:pt x="632619" y="571499"/>
                    </a:lnTo>
                    <a:close/>
                  </a:path>
                  <a:path w="3439795" h="1447800">
                    <a:moveTo>
                      <a:pt x="1539460" y="571499"/>
                    </a:moveTo>
                    <a:lnTo>
                      <a:pt x="1537300" y="571499"/>
                    </a:lnTo>
                    <a:lnTo>
                      <a:pt x="1537300" y="577849"/>
                    </a:lnTo>
                    <a:lnTo>
                      <a:pt x="1539460" y="571499"/>
                    </a:lnTo>
                    <a:close/>
                  </a:path>
                  <a:path w="3439795" h="1447800">
                    <a:moveTo>
                      <a:pt x="412367" y="574674"/>
                    </a:moveTo>
                    <a:lnTo>
                      <a:pt x="409281" y="576942"/>
                    </a:lnTo>
                    <a:lnTo>
                      <a:pt x="409708" y="577361"/>
                    </a:lnTo>
                    <a:lnTo>
                      <a:pt x="411647" y="575733"/>
                    </a:lnTo>
                    <a:lnTo>
                      <a:pt x="412367" y="574674"/>
                    </a:lnTo>
                    <a:close/>
                  </a:path>
                  <a:path w="3439795" h="1447800">
                    <a:moveTo>
                      <a:pt x="403726" y="571499"/>
                    </a:moveTo>
                    <a:lnTo>
                      <a:pt x="406606" y="577144"/>
                    </a:lnTo>
                    <a:lnTo>
                      <a:pt x="408046" y="575733"/>
                    </a:lnTo>
                    <a:lnTo>
                      <a:pt x="403726" y="571499"/>
                    </a:lnTo>
                    <a:close/>
                  </a:path>
                  <a:path w="3439795" h="1447800">
                    <a:moveTo>
                      <a:pt x="414527" y="571499"/>
                    </a:moveTo>
                    <a:lnTo>
                      <a:pt x="412367" y="571499"/>
                    </a:lnTo>
                    <a:lnTo>
                      <a:pt x="408439" y="576118"/>
                    </a:lnTo>
                    <a:lnTo>
                      <a:pt x="409281" y="576942"/>
                    </a:lnTo>
                    <a:lnTo>
                      <a:pt x="412367" y="574674"/>
                    </a:lnTo>
                    <a:lnTo>
                      <a:pt x="414527" y="571499"/>
                    </a:lnTo>
                    <a:close/>
                  </a:path>
                  <a:path w="3439795" h="1447800">
                    <a:moveTo>
                      <a:pt x="412367" y="571499"/>
                    </a:moveTo>
                    <a:lnTo>
                      <a:pt x="408046" y="575733"/>
                    </a:lnTo>
                    <a:lnTo>
                      <a:pt x="408439" y="576118"/>
                    </a:lnTo>
                    <a:lnTo>
                      <a:pt x="412367" y="571499"/>
                    </a:lnTo>
                    <a:close/>
                  </a:path>
                  <a:path w="3439795" h="1447800">
                    <a:moveTo>
                      <a:pt x="412367" y="571499"/>
                    </a:moveTo>
                    <a:lnTo>
                      <a:pt x="403726" y="571499"/>
                    </a:lnTo>
                    <a:lnTo>
                      <a:pt x="408046" y="575733"/>
                    </a:lnTo>
                    <a:lnTo>
                      <a:pt x="412367" y="571499"/>
                    </a:lnTo>
                    <a:close/>
                  </a:path>
                  <a:path w="3439795" h="1447800">
                    <a:moveTo>
                      <a:pt x="414527" y="573087"/>
                    </a:moveTo>
                    <a:lnTo>
                      <a:pt x="412367" y="574674"/>
                    </a:lnTo>
                    <a:lnTo>
                      <a:pt x="411647" y="575733"/>
                    </a:lnTo>
                    <a:lnTo>
                      <a:pt x="414527" y="573314"/>
                    </a:lnTo>
                    <a:lnTo>
                      <a:pt x="414527" y="573087"/>
                    </a:lnTo>
                    <a:close/>
                  </a:path>
                  <a:path w="3439795" h="1447800">
                    <a:moveTo>
                      <a:pt x="416687" y="571499"/>
                    </a:moveTo>
                    <a:lnTo>
                      <a:pt x="415313" y="572654"/>
                    </a:lnTo>
                    <a:lnTo>
                      <a:pt x="417407" y="575733"/>
                    </a:lnTo>
                    <a:lnTo>
                      <a:pt x="416687" y="571499"/>
                    </a:lnTo>
                    <a:close/>
                  </a:path>
                  <a:path w="3439795" h="1447800">
                    <a:moveTo>
                      <a:pt x="414527" y="571499"/>
                    </a:moveTo>
                    <a:lnTo>
                      <a:pt x="412367" y="574674"/>
                    </a:lnTo>
                    <a:lnTo>
                      <a:pt x="414527" y="573087"/>
                    </a:lnTo>
                    <a:lnTo>
                      <a:pt x="414527" y="571499"/>
                    </a:lnTo>
                    <a:close/>
                  </a:path>
                  <a:path w="3439795" h="1447800">
                    <a:moveTo>
                      <a:pt x="1550261" y="571499"/>
                    </a:moveTo>
                    <a:lnTo>
                      <a:pt x="1548101" y="571499"/>
                    </a:lnTo>
                    <a:lnTo>
                      <a:pt x="1550261" y="574674"/>
                    </a:lnTo>
                    <a:lnTo>
                      <a:pt x="1550261" y="571499"/>
                    </a:lnTo>
                    <a:close/>
                  </a:path>
                  <a:path w="3439795" h="1447800">
                    <a:moveTo>
                      <a:pt x="415247" y="572558"/>
                    </a:moveTo>
                    <a:lnTo>
                      <a:pt x="414527" y="573087"/>
                    </a:lnTo>
                    <a:lnTo>
                      <a:pt x="414527" y="573314"/>
                    </a:lnTo>
                    <a:lnTo>
                      <a:pt x="415313" y="572654"/>
                    </a:lnTo>
                    <a:close/>
                  </a:path>
                  <a:path w="3439795" h="1447800">
                    <a:moveTo>
                      <a:pt x="414527" y="571499"/>
                    </a:moveTo>
                    <a:lnTo>
                      <a:pt x="414527" y="573087"/>
                    </a:lnTo>
                    <a:lnTo>
                      <a:pt x="415247" y="572558"/>
                    </a:lnTo>
                    <a:lnTo>
                      <a:pt x="414527" y="571499"/>
                    </a:lnTo>
                    <a:close/>
                  </a:path>
                  <a:path w="3439795" h="1447800">
                    <a:moveTo>
                      <a:pt x="416687" y="571499"/>
                    </a:moveTo>
                    <a:lnTo>
                      <a:pt x="415247" y="572558"/>
                    </a:lnTo>
                    <a:lnTo>
                      <a:pt x="416687" y="571499"/>
                    </a:lnTo>
                    <a:close/>
                  </a:path>
                  <a:path w="3439795" h="1447800">
                    <a:moveTo>
                      <a:pt x="416687" y="571499"/>
                    </a:moveTo>
                    <a:lnTo>
                      <a:pt x="414527" y="571499"/>
                    </a:lnTo>
                    <a:lnTo>
                      <a:pt x="415247" y="572558"/>
                    </a:lnTo>
                    <a:lnTo>
                      <a:pt x="416687" y="571499"/>
                    </a:lnTo>
                    <a:close/>
                  </a:path>
                  <a:path w="3439795" h="1447800">
                    <a:moveTo>
                      <a:pt x="410207" y="558799"/>
                    </a:moveTo>
                    <a:lnTo>
                      <a:pt x="388604" y="558799"/>
                    </a:lnTo>
                    <a:lnTo>
                      <a:pt x="390765" y="571499"/>
                    </a:lnTo>
                    <a:lnTo>
                      <a:pt x="392925" y="571499"/>
                    </a:lnTo>
                    <a:lnTo>
                      <a:pt x="410207" y="558799"/>
                    </a:lnTo>
                    <a:close/>
                  </a:path>
                  <a:path w="3439795" h="1447800">
                    <a:moveTo>
                      <a:pt x="410207" y="558799"/>
                    </a:moveTo>
                    <a:lnTo>
                      <a:pt x="392925" y="571499"/>
                    </a:lnTo>
                    <a:lnTo>
                      <a:pt x="395085" y="571499"/>
                    </a:lnTo>
                    <a:lnTo>
                      <a:pt x="410207" y="558799"/>
                    </a:lnTo>
                    <a:close/>
                  </a:path>
                  <a:path w="3439795" h="1447800">
                    <a:moveTo>
                      <a:pt x="453411" y="537633"/>
                    </a:moveTo>
                    <a:lnTo>
                      <a:pt x="453411" y="546099"/>
                    </a:lnTo>
                    <a:lnTo>
                      <a:pt x="443690" y="555624"/>
                    </a:lnTo>
                    <a:lnTo>
                      <a:pt x="449090" y="571499"/>
                    </a:lnTo>
                    <a:lnTo>
                      <a:pt x="450981" y="569912"/>
                    </a:lnTo>
                    <a:lnTo>
                      <a:pt x="449090" y="558799"/>
                    </a:lnTo>
                    <a:lnTo>
                      <a:pt x="446930" y="558799"/>
                    </a:lnTo>
                    <a:lnTo>
                      <a:pt x="456531" y="547511"/>
                    </a:lnTo>
                    <a:lnTo>
                      <a:pt x="455571" y="546099"/>
                    </a:lnTo>
                    <a:lnTo>
                      <a:pt x="457731" y="546099"/>
                    </a:lnTo>
                    <a:lnTo>
                      <a:pt x="453411" y="537633"/>
                    </a:lnTo>
                    <a:close/>
                  </a:path>
                  <a:path w="3439795" h="1447800">
                    <a:moveTo>
                      <a:pt x="587254" y="558799"/>
                    </a:moveTo>
                    <a:lnTo>
                      <a:pt x="585094" y="558799"/>
                    </a:lnTo>
                    <a:lnTo>
                      <a:pt x="593735" y="571499"/>
                    </a:lnTo>
                    <a:lnTo>
                      <a:pt x="604536" y="571499"/>
                    </a:lnTo>
                    <a:lnTo>
                      <a:pt x="587254" y="558799"/>
                    </a:lnTo>
                    <a:close/>
                  </a:path>
                  <a:path w="3439795" h="1447800">
                    <a:moveTo>
                      <a:pt x="591575" y="558799"/>
                    </a:moveTo>
                    <a:lnTo>
                      <a:pt x="587254" y="558799"/>
                    </a:lnTo>
                    <a:lnTo>
                      <a:pt x="604536" y="571499"/>
                    </a:lnTo>
                    <a:lnTo>
                      <a:pt x="591575" y="558799"/>
                    </a:lnTo>
                    <a:close/>
                  </a:path>
                  <a:path w="3439795" h="1447800">
                    <a:moveTo>
                      <a:pt x="593735" y="558799"/>
                    </a:moveTo>
                    <a:lnTo>
                      <a:pt x="591575" y="558799"/>
                    </a:lnTo>
                    <a:lnTo>
                      <a:pt x="604536" y="571499"/>
                    </a:lnTo>
                    <a:lnTo>
                      <a:pt x="593735" y="558799"/>
                    </a:lnTo>
                    <a:close/>
                  </a:path>
                  <a:path w="3439795" h="1447800">
                    <a:moveTo>
                      <a:pt x="606696" y="546099"/>
                    </a:moveTo>
                    <a:lnTo>
                      <a:pt x="600216" y="546099"/>
                    </a:lnTo>
                    <a:lnTo>
                      <a:pt x="593735" y="558799"/>
                    </a:lnTo>
                    <a:lnTo>
                      <a:pt x="604536" y="571499"/>
                    </a:lnTo>
                    <a:lnTo>
                      <a:pt x="606696" y="558799"/>
                    </a:lnTo>
                    <a:lnTo>
                      <a:pt x="606696" y="546099"/>
                    </a:lnTo>
                    <a:close/>
                  </a:path>
                  <a:path w="3439795" h="1447800">
                    <a:moveTo>
                      <a:pt x="606696" y="546099"/>
                    </a:moveTo>
                    <a:lnTo>
                      <a:pt x="606696" y="558799"/>
                    </a:lnTo>
                    <a:lnTo>
                      <a:pt x="604536" y="571499"/>
                    </a:lnTo>
                    <a:lnTo>
                      <a:pt x="613177" y="558799"/>
                    </a:lnTo>
                    <a:lnTo>
                      <a:pt x="606696" y="546099"/>
                    </a:lnTo>
                    <a:close/>
                  </a:path>
                  <a:path w="3439795" h="1447800">
                    <a:moveTo>
                      <a:pt x="1785634" y="558799"/>
                    </a:moveTo>
                    <a:lnTo>
                      <a:pt x="1783474" y="558799"/>
                    </a:lnTo>
                    <a:lnTo>
                      <a:pt x="1785634" y="571499"/>
                    </a:lnTo>
                    <a:lnTo>
                      <a:pt x="1785634" y="558799"/>
                    </a:lnTo>
                    <a:close/>
                  </a:path>
                  <a:path w="3439795" h="1447800">
                    <a:moveTo>
                      <a:pt x="1792115" y="558799"/>
                    </a:moveTo>
                    <a:lnTo>
                      <a:pt x="1785634" y="558799"/>
                    </a:lnTo>
                    <a:lnTo>
                      <a:pt x="1785634" y="571499"/>
                    </a:lnTo>
                    <a:lnTo>
                      <a:pt x="1787795" y="571499"/>
                    </a:lnTo>
                    <a:lnTo>
                      <a:pt x="1792115" y="558799"/>
                    </a:lnTo>
                    <a:close/>
                  </a:path>
                  <a:path w="3439795" h="1447800">
                    <a:moveTo>
                      <a:pt x="1960522" y="558799"/>
                    </a:moveTo>
                    <a:lnTo>
                      <a:pt x="1960522" y="571499"/>
                    </a:lnTo>
                    <a:lnTo>
                      <a:pt x="1973483" y="571499"/>
                    </a:lnTo>
                    <a:lnTo>
                      <a:pt x="1960522" y="558799"/>
                    </a:lnTo>
                    <a:close/>
                  </a:path>
                  <a:path w="3439795" h="1447800">
                    <a:moveTo>
                      <a:pt x="1967003" y="558799"/>
                    </a:moveTo>
                    <a:lnTo>
                      <a:pt x="1960522" y="558799"/>
                    </a:lnTo>
                    <a:lnTo>
                      <a:pt x="1973483" y="571499"/>
                    </a:lnTo>
                    <a:lnTo>
                      <a:pt x="1977804" y="571499"/>
                    </a:lnTo>
                    <a:lnTo>
                      <a:pt x="1977804" y="569383"/>
                    </a:lnTo>
                    <a:lnTo>
                      <a:pt x="1967003" y="558799"/>
                    </a:lnTo>
                    <a:close/>
                  </a:path>
                  <a:path w="3439795" h="1447800">
                    <a:moveTo>
                      <a:pt x="1977804" y="569383"/>
                    </a:moveTo>
                    <a:lnTo>
                      <a:pt x="1977804" y="571499"/>
                    </a:lnTo>
                    <a:lnTo>
                      <a:pt x="1979964" y="571499"/>
                    </a:lnTo>
                    <a:lnTo>
                      <a:pt x="1977804" y="569383"/>
                    </a:lnTo>
                    <a:close/>
                  </a:path>
                  <a:path w="3439795" h="1447800">
                    <a:moveTo>
                      <a:pt x="1977804" y="568959"/>
                    </a:moveTo>
                    <a:lnTo>
                      <a:pt x="1977804" y="569383"/>
                    </a:lnTo>
                    <a:lnTo>
                      <a:pt x="1979964" y="571499"/>
                    </a:lnTo>
                    <a:lnTo>
                      <a:pt x="1977804" y="568959"/>
                    </a:lnTo>
                    <a:close/>
                  </a:path>
                  <a:path w="3439795" h="1447800">
                    <a:moveTo>
                      <a:pt x="1977804" y="567266"/>
                    </a:moveTo>
                    <a:lnTo>
                      <a:pt x="1977804" y="568959"/>
                    </a:lnTo>
                    <a:lnTo>
                      <a:pt x="1979964" y="571499"/>
                    </a:lnTo>
                    <a:lnTo>
                      <a:pt x="1982124" y="571499"/>
                    </a:lnTo>
                    <a:lnTo>
                      <a:pt x="1977804" y="567266"/>
                    </a:lnTo>
                    <a:close/>
                  </a:path>
                  <a:path w="3439795" h="1447800">
                    <a:moveTo>
                      <a:pt x="1984284" y="558799"/>
                    </a:moveTo>
                    <a:lnTo>
                      <a:pt x="1977804" y="558799"/>
                    </a:lnTo>
                    <a:lnTo>
                      <a:pt x="1977804" y="567266"/>
                    </a:lnTo>
                    <a:lnTo>
                      <a:pt x="1982124" y="571499"/>
                    </a:lnTo>
                    <a:lnTo>
                      <a:pt x="1984284" y="558799"/>
                    </a:lnTo>
                    <a:close/>
                  </a:path>
                  <a:path w="3439795" h="1447800">
                    <a:moveTo>
                      <a:pt x="1979964" y="546099"/>
                    </a:moveTo>
                    <a:lnTo>
                      <a:pt x="1986445" y="558799"/>
                    </a:lnTo>
                    <a:lnTo>
                      <a:pt x="1984284" y="558799"/>
                    </a:lnTo>
                    <a:lnTo>
                      <a:pt x="1982124" y="571499"/>
                    </a:lnTo>
                    <a:lnTo>
                      <a:pt x="1988605" y="558799"/>
                    </a:lnTo>
                    <a:lnTo>
                      <a:pt x="1979964" y="546099"/>
                    </a:lnTo>
                    <a:close/>
                  </a:path>
                  <a:path w="3439795" h="1447800">
                    <a:moveTo>
                      <a:pt x="456531" y="547511"/>
                    </a:moveTo>
                    <a:lnTo>
                      <a:pt x="446930" y="558799"/>
                    </a:lnTo>
                    <a:lnTo>
                      <a:pt x="449090" y="558799"/>
                    </a:lnTo>
                    <a:lnTo>
                      <a:pt x="450981" y="569912"/>
                    </a:lnTo>
                    <a:lnTo>
                      <a:pt x="464212" y="558799"/>
                    </a:lnTo>
                    <a:lnTo>
                      <a:pt x="456531" y="547511"/>
                    </a:lnTo>
                    <a:close/>
                  </a:path>
                  <a:path w="3439795" h="1447800">
                    <a:moveTo>
                      <a:pt x="1969163" y="558799"/>
                    </a:moveTo>
                    <a:lnTo>
                      <a:pt x="1967003" y="558799"/>
                    </a:lnTo>
                    <a:lnTo>
                      <a:pt x="1977804" y="569383"/>
                    </a:lnTo>
                    <a:lnTo>
                      <a:pt x="1977804" y="568959"/>
                    </a:lnTo>
                    <a:lnTo>
                      <a:pt x="1969163" y="558799"/>
                    </a:lnTo>
                    <a:close/>
                  </a:path>
                  <a:path w="3439795" h="1447800">
                    <a:moveTo>
                      <a:pt x="1969163" y="558799"/>
                    </a:moveTo>
                    <a:lnTo>
                      <a:pt x="1977804" y="568959"/>
                    </a:lnTo>
                    <a:lnTo>
                      <a:pt x="1977804" y="567266"/>
                    </a:lnTo>
                    <a:lnTo>
                      <a:pt x="1969163" y="558799"/>
                    </a:lnTo>
                    <a:close/>
                  </a:path>
                  <a:path w="3439795" h="1447800">
                    <a:moveTo>
                      <a:pt x="1979964" y="546099"/>
                    </a:moveTo>
                    <a:lnTo>
                      <a:pt x="1973483" y="546099"/>
                    </a:lnTo>
                    <a:lnTo>
                      <a:pt x="1969163" y="558799"/>
                    </a:lnTo>
                    <a:lnTo>
                      <a:pt x="1977804" y="567266"/>
                    </a:lnTo>
                    <a:lnTo>
                      <a:pt x="1977804" y="558799"/>
                    </a:lnTo>
                    <a:lnTo>
                      <a:pt x="1986445" y="558799"/>
                    </a:lnTo>
                    <a:lnTo>
                      <a:pt x="1979964" y="546099"/>
                    </a:lnTo>
                    <a:close/>
                  </a:path>
                  <a:path w="3439795" h="1447800">
                    <a:moveTo>
                      <a:pt x="397245" y="533399"/>
                    </a:moveTo>
                    <a:lnTo>
                      <a:pt x="384374" y="546099"/>
                    </a:lnTo>
                    <a:lnTo>
                      <a:pt x="386534" y="558799"/>
                    </a:lnTo>
                    <a:lnTo>
                      <a:pt x="401566" y="546099"/>
                    </a:lnTo>
                    <a:lnTo>
                      <a:pt x="399406" y="546099"/>
                    </a:lnTo>
                    <a:lnTo>
                      <a:pt x="397245" y="533399"/>
                    </a:lnTo>
                    <a:close/>
                  </a:path>
                  <a:path w="3439795" h="1447800">
                    <a:moveTo>
                      <a:pt x="401566" y="546099"/>
                    </a:moveTo>
                    <a:lnTo>
                      <a:pt x="386534" y="558799"/>
                    </a:lnTo>
                    <a:lnTo>
                      <a:pt x="403726" y="558799"/>
                    </a:lnTo>
                    <a:lnTo>
                      <a:pt x="401566" y="546099"/>
                    </a:lnTo>
                    <a:close/>
                  </a:path>
                  <a:path w="3439795" h="1447800">
                    <a:moveTo>
                      <a:pt x="442610" y="535516"/>
                    </a:moveTo>
                    <a:lnTo>
                      <a:pt x="433969" y="543983"/>
                    </a:lnTo>
                    <a:lnTo>
                      <a:pt x="433969" y="546099"/>
                    </a:lnTo>
                    <a:lnTo>
                      <a:pt x="440450" y="558799"/>
                    </a:lnTo>
                    <a:lnTo>
                      <a:pt x="442301" y="551542"/>
                    </a:lnTo>
                    <a:lnTo>
                      <a:pt x="440450" y="546099"/>
                    </a:lnTo>
                    <a:lnTo>
                      <a:pt x="442610" y="546099"/>
                    </a:lnTo>
                    <a:lnTo>
                      <a:pt x="442610" y="535516"/>
                    </a:lnTo>
                    <a:close/>
                  </a:path>
                  <a:path w="3439795" h="1447800">
                    <a:moveTo>
                      <a:pt x="442301" y="551542"/>
                    </a:moveTo>
                    <a:lnTo>
                      <a:pt x="440450" y="558799"/>
                    </a:lnTo>
                    <a:lnTo>
                      <a:pt x="443690" y="555624"/>
                    </a:lnTo>
                    <a:lnTo>
                      <a:pt x="442301" y="551542"/>
                    </a:lnTo>
                    <a:close/>
                  </a:path>
                  <a:path w="3439795" h="1447800">
                    <a:moveTo>
                      <a:pt x="443690" y="555624"/>
                    </a:moveTo>
                    <a:lnTo>
                      <a:pt x="440450" y="558799"/>
                    </a:lnTo>
                    <a:lnTo>
                      <a:pt x="444770" y="558799"/>
                    </a:lnTo>
                    <a:lnTo>
                      <a:pt x="443690" y="555624"/>
                    </a:lnTo>
                    <a:close/>
                  </a:path>
                  <a:path w="3439795" h="1447800">
                    <a:moveTo>
                      <a:pt x="613177" y="546099"/>
                    </a:moveTo>
                    <a:lnTo>
                      <a:pt x="606696" y="546099"/>
                    </a:lnTo>
                    <a:lnTo>
                      <a:pt x="613177" y="558799"/>
                    </a:lnTo>
                    <a:lnTo>
                      <a:pt x="613177" y="546099"/>
                    </a:lnTo>
                    <a:close/>
                  </a:path>
                  <a:path w="3439795" h="1447800">
                    <a:moveTo>
                      <a:pt x="632619" y="546099"/>
                    </a:moveTo>
                    <a:lnTo>
                      <a:pt x="621818" y="546099"/>
                    </a:lnTo>
                    <a:lnTo>
                      <a:pt x="632619" y="558799"/>
                    </a:lnTo>
                    <a:lnTo>
                      <a:pt x="632619" y="546099"/>
                    </a:lnTo>
                    <a:close/>
                  </a:path>
                  <a:path w="3439795" h="1447800">
                    <a:moveTo>
                      <a:pt x="1984284" y="546099"/>
                    </a:moveTo>
                    <a:lnTo>
                      <a:pt x="1979964" y="546099"/>
                    </a:lnTo>
                    <a:lnTo>
                      <a:pt x="1988605" y="558799"/>
                    </a:lnTo>
                    <a:lnTo>
                      <a:pt x="1995085" y="558799"/>
                    </a:lnTo>
                    <a:lnTo>
                      <a:pt x="1984284" y="546099"/>
                    </a:lnTo>
                    <a:close/>
                  </a:path>
                  <a:path w="3439795" h="1447800">
                    <a:moveTo>
                      <a:pt x="1990765" y="546099"/>
                    </a:moveTo>
                    <a:lnTo>
                      <a:pt x="1984284" y="546099"/>
                    </a:lnTo>
                    <a:lnTo>
                      <a:pt x="1995085" y="558799"/>
                    </a:lnTo>
                    <a:lnTo>
                      <a:pt x="1990765" y="546099"/>
                    </a:lnTo>
                    <a:close/>
                  </a:path>
                  <a:path w="3439795" h="1447800">
                    <a:moveTo>
                      <a:pt x="2001566" y="507999"/>
                    </a:moveTo>
                    <a:lnTo>
                      <a:pt x="1984284" y="507999"/>
                    </a:lnTo>
                    <a:lnTo>
                      <a:pt x="1986445" y="520699"/>
                    </a:lnTo>
                    <a:lnTo>
                      <a:pt x="1986445" y="546099"/>
                    </a:lnTo>
                    <a:lnTo>
                      <a:pt x="1990765" y="546099"/>
                    </a:lnTo>
                    <a:lnTo>
                      <a:pt x="1995085" y="558799"/>
                    </a:lnTo>
                    <a:lnTo>
                      <a:pt x="2001566" y="558799"/>
                    </a:lnTo>
                    <a:lnTo>
                      <a:pt x="2003726" y="546099"/>
                    </a:lnTo>
                    <a:lnTo>
                      <a:pt x="2003726" y="520699"/>
                    </a:lnTo>
                    <a:lnTo>
                      <a:pt x="2001566" y="507999"/>
                    </a:lnTo>
                    <a:close/>
                  </a:path>
                  <a:path w="3439795" h="1447800">
                    <a:moveTo>
                      <a:pt x="451251" y="533399"/>
                    </a:moveTo>
                    <a:lnTo>
                      <a:pt x="449090" y="533399"/>
                    </a:lnTo>
                    <a:lnTo>
                      <a:pt x="444770" y="541866"/>
                    </a:lnTo>
                    <a:lnTo>
                      <a:pt x="442301" y="551542"/>
                    </a:lnTo>
                    <a:lnTo>
                      <a:pt x="443690" y="555624"/>
                    </a:lnTo>
                    <a:lnTo>
                      <a:pt x="453411" y="546099"/>
                    </a:lnTo>
                    <a:lnTo>
                      <a:pt x="444770" y="546099"/>
                    </a:lnTo>
                    <a:lnTo>
                      <a:pt x="452177" y="535214"/>
                    </a:lnTo>
                    <a:lnTo>
                      <a:pt x="451251" y="533399"/>
                    </a:lnTo>
                    <a:close/>
                  </a:path>
                  <a:path w="3439795" h="1447800">
                    <a:moveTo>
                      <a:pt x="444770" y="541866"/>
                    </a:moveTo>
                    <a:lnTo>
                      <a:pt x="442610" y="546099"/>
                    </a:lnTo>
                    <a:lnTo>
                      <a:pt x="440450" y="546099"/>
                    </a:lnTo>
                    <a:lnTo>
                      <a:pt x="442301" y="551542"/>
                    </a:lnTo>
                    <a:lnTo>
                      <a:pt x="444770" y="541866"/>
                    </a:lnTo>
                    <a:close/>
                  </a:path>
                  <a:path w="3439795" h="1447800">
                    <a:moveTo>
                      <a:pt x="457731" y="546099"/>
                    </a:moveTo>
                    <a:lnTo>
                      <a:pt x="455571" y="546099"/>
                    </a:lnTo>
                    <a:lnTo>
                      <a:pt x="456531" y="547511"/>
                    </a:lnTo>
                    <a:lnTo>
                      <a:pt x="457731" y="546099"/>
                    </a:lnTo>
                    <a:close/>
                  </a:path>
                  <a:path w="3439795" h="1447800">
                    <a:moveTo>
                      <a:pt x="371413" y="533399"/>
                    </a:moveTo>
                    <a:lnTo>
                      <a:pt x="371413" y="546099"/>
                    </a:lnTo>
                    <a:lnTo>
                      <a:pt x="377893" y="546099"/>
                    </a:lnTo>
                    <a:lnTo>
                      <a:pt x="371413" y="533399"/>
                    </a:lnTo>
                    <a:close/>
                  </a:path>
                  <a:path w="3439795" h="1447800">
                    <a:moveTo>
                      <a:pt x="388604" y="533399"/>
                    </a:moveTo>
                    <a:lnTo>
                      <a:pt x="371413" y="533399"/>
                    </a:lnTo>
                    <a:lnTo>
                      <a:pt x="377893" y="546099"/>
                    </a:lnTo>
                    <a:lnTo>
                      <a:pt x="380054" y="546099"/>
                    </a:lnTo>
                    <a:lnTo>
                      <a:pt x="388604" y="533399"/>
                    </a:lnTo>
                    <a:close/>
                  </a:path>
                  <a:path w="3439795" h="1447800">
                    <a:moveTo>
                      <a:pt x="388604" y="533399"/>
                    </a:moveTo>
                    <a:lnTo>
                      <a:pt x="380054" y="546099"/>
                    </a:lnTo>
                    <a:lnTo>
                      <a:pt x="382214" y="546099"/>
                    </a:lnTo>
                    <a:lnTo>
                      <a:pt x="388604" y="533399"/>
                    </a:lnTo>
                    <a:close/>
                  </a:path>
                  <a:path w="3439795" h="1447800">
                    <a:moveTo>
                      <a:pt x="397245" y="533399"/>
                    </a:moveTo>
                    <a:lnTo>
                      <a:pt x="388604" y="533399"/>
                    </a:lnTo>
                    <a:lnTo>
                      <a:pt x="382214" y="546099"/>
                    </a:lnTo>
                    <a:lnTo>
                      <a:pt x="384374" y="546099"/>
                    </a:lnTo>
                    <a:lnTo>
                      <a:pt x="397245" y="533399"/>
                    </a:lnTo>
                    <a:close/>
                  </a:path>
                  <a:path w="3439795" h="1447800">
                    <a:moveTo>
                      <a:pt x="397245" y="533399"/>
                    </a:moveTo>
                    <a:lnTo>
                      <a:pt x="399406" y="546099"/>
                    </a:lnTo>
                    <a:lnTo>
                      <a:pt x="401566" y="546099"/>
                    </a:lnTo>
                    <a:lnTo>
                      <a:pt x="397245" y="533399"/>
                    </a:lnTo>
                    <a:close/>
                  </a:path>
                  <a:path w="3439795" h="1447800">
                    <a:moveTo>
                      <a:pt x="440450" y="520699"/>
                    </a:moveTo>
                    <a:lnTo>
                      <a:pt x="427488" y="533399"/>
                    </a:lnTo>
                    <a:lnTo>
                      <a:pt x="431809" y="546099"/>
                    </a:lnTo>
                    <a:lnTo>
                      <a:pt x="433660" y="544285"/>
                    </a:lnTo>
                    <a:lnTo>
                      <a:pt x="431809" y="533399"/>
                    </a:lnTo>
                    <a:lnTo>
                      <a:pt x="442610" y="533399"/>
                    </a:lnTo>
                    <a:lnTo>
                      <a:pt x="443330" y="529166"/>
                    </a:lnTo>
                    <a:lnTo>
                      <a:pt x="440450" y="520699"/>
                    </a:lnTo>
                    <a:close/>
                  </a:path>
                  <a:path w="3439795" h="1447800">
                    <a:moveTo>
                      <a:pt x="433969" y="543983"/>
                    </a:moveTo>
                    <a:lnTo>
                      <a:pt x="433660" y="544285"/>
                    </a:lnTo>
                    <a:lnTo>
                      <a:pt x="433969" y="546099"/>
                    </a:lnTo>
                    <a:lnTo>
                      <a:pt x="433969" y="543983"/>
                    </a:lnTo>
                    <a:close/>
                  </a:path>
                  <a:path w="3439795" h="1447800">
                    <a:moveTo>
                      <a:pt x="446930" y="533399"/>
                    </a:moveTo>
                    <a:lnTo>
                      <a:pt x="444770" y="533399"/>
                    </a:lnTo>
                    <a:lnTo>
                      <a:pt x="442610" y="535516"/>
                    </a:lnTo>
                    <a:lnTo>
                      <a:pt x="442610" y="546099"/>
                    </a:lnTo>
                    <a:lnTo>
                      <a:pt x="444770" y="541866"/>
                    </a:lnTo>
                    <a:lnTo>
                      <a:pt x="446930" y="533399"/>
                    </a:lnTo>
                    <a:close/>
                  </a:path>
                  <a:path w="3439795" h="1447800">
                    <a:moveTo>
                      <a:pt x="452177" y="535214"/>
                    </a:moveTo>
                    <a:lnTo>
                      <a:pt x="444770" y="546099"/>
                    </a:lnTo>
                    <a:lnTo>
                      <a:pt x="453411" y="546099"/>
                    </a:lnTo>
                    <a:lnTo>
                      <a:pt x="453411" y="537633"/>
                    </a:lnTo>
                    <a:lnTo>
                      <a:pt x="452177" y="535214"/>
                    </a:lnTo>
                    <a:close/>
                  </a:path>
                  <a:path w="3439795" h="1447800">
                    <a:moveTo>
                      <a:pt x="457731" y="533399"/>
                    </a:moveTo>
                    <a:lnTo>
                      <a:pt x="453411" y="533399"/>
                    </a:lnTo>
                    <a:lnTo>
                      <a:pt x="453411" y="537633"/>
                    </a:lnTo>
                    <a:lnTo>
                      <a:pt x="457731" y="546099"/>
                    </a:lnTo>
                    <a:lnTo>
                      <a:pt x="457731" y="533399"/>
                    </a:lnTo>
                    <a:close/>
                  </a:path>
                  <a:path w="3439795" h="1447800">
                    <a:moveTo>
                      <a:pt x="433969" y="533399"/>
                    </a:moveTo>
                    <a:lnTo>
                      <a:pt x="431809" y="533399"/>
                    </a:lnTo>
                    <a:lnTo>
                      <a:pt x="433660" y="544285"/>
                    </a:lnTo>
                    <a:lnTo>
                      <a:pt x="433969" y="543983"/>
                    </a:lnTo>
                    <a:lnTo>
                      <a:pt x="433969" y="533399"/>
                    </a:lnTo>
                    <a:close/>
                  </a:path>
                  <a:path w="3439795" h="1447800">
                    <a:moveTo>
                      <a:pt x="442610" y="533399"/>
                    </a:moveTo>
                    <a:lnTo>
                      <a:pt x="433969" y="533399"/>
                    </a:lnTo>
                    <a:lnTo>
                      <a:pt x="433969" y="543983"/>
                    </a:lnTo>
                    <a:lnTo>
                      <a:pt x="442610" y="535516"/>
                    </a:lnTo>
                    <a:lnTo>
                      <a:pt x="442610" y="533399"/>
                    </a:lnTo>
                    <a:close/>
                  </a:path>
                  <a:path w="3439795" h="1447800">
                    <a:moveTo>
                      <a:pt x="449090" y="533399"/>
                    </a:moveTo>
                    <a:lnTo>
                      <a:pt x="446930" y="533399"/>
                    </a:lnTo>
                    <a:lnTo>
                      <a:pt x="444770" y="541866"/>
                    </a:lnTo>
                    <a:lnTo>
                      <a:pt x="449090" y="533399"/>
                    </a:lnTo>
                    <a:close/>
                  </a:path>
                  <a:path w="3439795" h="1447800">
                    <a:moveTo>
                      <a:pt x="453411" y="533399"/>
                    </a:moveTo>
                    <a:lnTo>
                      <a:pt x="452177" y="535214"/>
                    </a:lnTo>
                    <a:lnTo>
                      <a:pt x="453411" y="537633"/>
                    </a:lnTo>
                    <a:lnTo>
                      <a:pt x="453411" y="533399"/>
                    </a:lnTo>
                    <a:close/>
                  </a:path>
                  <a:path w="3439795" h="1447800">
                    <a:moveTo>
                      <a:pt x="443330" y="529166"/>
                    </a:moveTo>
                    <a:lnTo>
                      <a:pt x="442610" y="533399"/>
                    </a:lnTo>
                    <a:lnTo>
                      <a:pt x="442610" y="535516"/>
                    </a:lnTo>
                    <a:lnTo>
                      <a:pt x="444770" y="533399"/>
                    </a:lnTo>
                    <a:lnTo>
                      <a:pt x="443330" y="529166"/>
                    </a:lnTo>
                    <a:close/>
                  </a:path>
                  <a:path w="3439795" h="1447800">
                    <a:moveTo>
                      <a:pt x="453411" y="533399"/>
                    </a:moveTo>
                    <a:lnTo>
                      <a:pt x="451251" y="533399"/>
                    </a:lnTo>
                    <a:lnTo>
                      <a:pt x="452177" y="535214"/>
                    </a:lnTo>
                    <a:lnTo>
                      <a:pt x="453411" y="533399"/>
                    </a:lnTo>
                    <a:close/>
                  </a:path>
                  <a:path w="3439795" h="1447800">
                    <a:moveTo>
                      <a:pt x="386534" y="507999"/>
                    </a:moveTo>
                    <a:lnTo>
                      <a:pt x="384374" y="507999"/>
                    </a:lnTo>
                    <a:lnTo>
                      <a:pt x="371413" y="520699"/>
                    </a:lnTo>
                    <a:lnTo>
                      <a:pt x="373573" y="533399"/>
                    </a:lnTo>
                    <a:lnTo>
                      <a:pt x="390765" y="533399"/>
                    </a:lnTo>
                    <a:lnTo>
                      <a:pt x="388604" y="520699"/>
                    </a:lnTo>
                    <a:lnTo>
                      <a:pt x="386534" y="507999"/>
                    </a:lnTo>
                    <a:close/>
                  </a:path>
                  <a:path w="3439795" h="1447800">
                    <a:moveTo>
                      <a:pt x="436129" y="469899"/>
                    </a:moveTo>
                    <a:lnTo>
                      <a:pt x="425328" y="482599"/>
                    </a:lnTo>
                    <a:lnTo>
                      <a:pt x="427488" y="495299"/>
                    </a:lnTo>
                    <a:lnTo>
                      <a:pt x="427488" y="520699"/>
                    </a:lnTo>
                    <a:lnTo>
                      <a:pt x="425328" y="533399"/>
                    </a:lnTo>
                    <a:lnTo>
                      <a:pt x="427488" y="533399"/>
                    </a:lnTo>
                    <a:lnTo>
                      <a:pt x="440450" y="520699"/>
                    </a:lnTo>
                    <a:lnTo>
                      <a:pt x="444770" y="520699"/>
                    </a:lnTo>
                    <a:lnTo>
                      <a:pt x="444770" y="482599"/>
                    </a:lnTo>
                    <a:lnTo>
                      <a:pt x="438289" y="482599"/>
                    </a:lnTo>
                    <a:lnTo>
                      <a:pt x="436129" y="469899"/>
                    </a:lnTo>
                    <a:close/>
                  </a:path>
                  <a:path w="3439795" h="1447800">
                    <a:moveTo>
                      <a:pt x="1945400" y="520699"/>
                    </a:moveTo>
                    <a:lnTo>
                      <a:pt x="1945400" y="533399"/>
                    </a:lnTo>
                    <a:lnTo>
                      <a:pt x="1960522" y="533399"/>
                    </a:lnTo>
                    <a:lnTo>
                      <a:pt x="1945400" y="520699"/>
                    </a:lnTo>
                    <a:close/>
                  </a:path>
                  <a:path w="3439795" h="1447800">
                    <a:moveTo>
                      <a:pt x="1945400" y="520699"/>
                    </a:moveTo>
                    <a:lnTo>
                      <a:pt x="1960522" y="533399"/>
                    </a:lnTo>
                    <a:lnTo>
                      <a:pt x="1960954" y="532129"/>
                    </a:lnTo>
                    <a:lnTo>
                      <a:pt x="1945400" y="520699"/>
                    </a:lnTo>
                    <a:close/>
                  </a:path>
                  <a:path w="3439795" h="1447800">
                    <a:moveTo>
                      <a:pt x="1960954" y="532129"/>
                    </a:moveTo>
                    <a:lnTo>
                      <a:pt x="1960522" y="533399"/>
                    </a:lnTo>
                    <a:lnTo>
                      <a:pt x="1962682" y="533399"/>
                    </a:lnTo>
                    <a:lnTo>
                      <a:pt x="1960954" y="532129"/>
                    </a:lnTo>
                    <a:close/>
                  </a:path>
                  <a:path w="3439795" h="1447800">
                    <a:moveTo>
                      <a:pt x="1962682" y="527049"/>
                    </a:moveTo>
                    <a:lnTo>
                      <a:pt x="1960954" y="532129"/>
                    </a:lnTo>
                    <a:lnTo>
                      <a:pt x="1962682" y="533399"/>
                    </a:lnTo>
                    <a:lnTo>
                      <a:pt x="1962682" y="527049"/>
                    </a:lnTo>
                    <a:close/>
                  </a:path>
                  <a:path w="3439795" h="1447800">
                    <a:moveTo>
                      <a:pt x="1951881" y="507999"/>
                    </a:moveTo>
                    <a:lnTo>
                      <a:pt x="1949721" y="507999"/>
                    </a:lnTo>
                    <a:lnTo>
                      <a:pt x="1945400" y="520699"/>
                    </a:lnTo>
                    <a:lnTo>
                      <a:pt x="1960954" y="532129"/>
                    </a:lnTo>
                    <a:lnTo>
                      <a:pt x="1962682" y="527049"/>
                    </a:lnTo>
                    <a:lnTo>
                      <a:pt x="1962682" y="520699"/>
                    </a:lnTo>
                    <a:lnTo>
                      <a:pt x="1960522" y="520699"/>
                    </a:lnTo>
                    <a:lnTo>
                      <a:pt x="1951881" y="507999"/>
                    </a:lnTo>
                    <a:close/>
                  </a:path>
                  <a:path w="3439795" h="1447800">
                    <a:moveTo>
                      <a:pt x="444770" y="520699"/>
                    </a:moveTo>
                    <a:lnTo>
                      <a:pt x="440450" y="520699"/>
                    </a:lnTo>
                    <a:lnTo>
                      <a:pt x="443330" y="529166"/>
                    </a:lnTo>
                    <a:lnTo>
                      <a:pt x="444770" y="520699"/>
                    </a:lnTo>
                    <a:close/>
                  </a:path>
                  <a:path w="3439795" h="1447800">
                    <a:moveTo>
                      <a:pt x="1951881" y="507999"/>
                    </a:moveTo>
                    <a:lnTo>
                      <a:pt x="1960522" y="520699"/>
                    </a:lnTo>
                    <a:lnTo>
                      <a:pt x="1962682" y="520699"/>
                    </a:lnTo>
                    <a:lnTo>
                      <a:pt x="1962682" y="527049"/>
                    </a:lnTo>
                    <a:lnTo>
                      <a:pt x="1964842" y="520699"/>
                    </a:lnTo>
                    <a:lnTo>
                      <a:pt x="1951881" y="507999"/>
                    </a:lnTo>
                    <a:close/>
                  </a:path>
                  <a:path w="3439795" h="1447800">
                    <a:moveTo>
                      <a:pt x="377893" y="482599"/>
                    </a:moveTo>
                    <a:lnTo>
                      <a:pt x="360612" y="495299"/>
                    </a:lnTo>
                    <a:lnTo>
                      <a:pt x="362772" y="495299"/>
                    </a:lnTo>
                    <a:lnTo>
                      <a:pt x="364932" y="507999"/>
                    </a:lnTo>
                    <a:lnTo>
                      <a:pt x="364932" y="520699"/>
                    </a:lnTo>
                    <a:lnTo>
                      <a:pt x="380054" y="507999"/>
                    </a:lnTo>
                    <a:lnTo>
                      <a:pt x="382214" y="507999"/>
                    </a:lnTo>
                    <a:lnTo>
                      <a:pt x="377893" y="482599"/>
                    </a:lnTo>
                    <a:close/>
                  </a:path>
                  <a:path w="3439795" h="1447800">
                    <a:moveTo>
                      <a:pt x="382214" y="507999"/>
                    </a:moveTo>
                    <a:lnTo>
                      <a:pt x="380054" y="507999"/>
                    </a:lnTo>
                    <a:lnTo>
                      <a:pt x="364932" y="520699"/>
                    </a:lnTo>
                    <a:lnTo>
                      <a:pt x="382214" y="507999"/>
                    </a:lnTo>
                    <a:close/>
                  </a:path>
                  <a:path w="3439795" h="1447800">
                    <a:moveTo>
                      <a:pt x="384374" y="507999"/>
                    </a:moveTo>
                    <a:lnTo>
                      <a:pt x="382214" y="507999"/>
                    </a:lnTo>
                    <a:lnTo>
                      <a:pt x="364932" y="520699"/>
                    </a:lnTo>
                    <a:lnTo>
                      <a:pt x="369252" y="520699"/>
                    </a:lnTo>
                    <a:lnTo>
                      <a:pt x="384374" y="507999"/>
                    </a:lnTo>
                    <a:close/>
                  </a:path>
                  <a:path w="3439795" h="1447800">
                    <a:moveTo>
                      <a:pt x="384374" y="507999"/>
                    </a:moveTo>
                    <a:lnTo>
                      <a:pt x="369252" y="520699"/>
                    </a:lnTo>
                    <a:lnTo>
                      <a:pt x="371413" y="520699"/>
                    </a:lnTo>
                    <a:lnTo>
                      <a:pt x="384374" y="507999"/>
                    </a:lnTo>
                    <a:close/>
                  </a:path>
                  <a:path w="3439795" h="1447800">
                    <a:moveTo>
                      <a:pt x="1956202" y="507999"/>
                    </a:moveTo>
                    <a:lnTo>
                      <a:pt x="1951881" y="507999"/>
                    </a:lnTo>
                    <a:lnTo>
                      <a:pt x="1964842" y="520699"/>
                    </a:lnTo>
                    <a:lnTo>
                      <a:pt x="1971323" y="520699"/>
                    </a:lnTo>
                    <a:lnTo>
                      <a:pt x="1956202" y="507999"/>
                    </a:lnTo>
                    <a:close/>
                  </a:path>
                  <a:path w="3439795" h="1447800">
                    <a:moveTo>
                      <a:pt x="1960522" y="495299"/>
                    </a:moveTo>
                    <a:lnTo>
                      <a:pt x="1956202" y="495299"/>
                    </a:lnTo>
                    <a:lnTo>
                      <a:pt x="1956202" y="507999"/>
                    </a:lnTo>
                    <a:lnTo>
                      <a:pt x="1971323" y="520699"/>
                    </a:lnTo>
                    <a:lnTo>
                      <a:pt x="1960522" y="507999"/>
                    </a:lnTo>
                    <a:lnTo>
                      <a:pt x="1971323" y="507999"/>
                    </a:lnTo>
                    <a:lnTo>
                      <a:pt x="1960522" y="495299"/>
                    </a:lnTo>
                    <a:close/>
                  </a:path>
                  <a:path w="3439795" h="1447800">
                    <a:moveTo>
                      <a:pt x="1975643" y="503766"/>
                    </a:moveTo>
                    <a:lnTo>
                      <a:pt x="1973483" y="507999"/>
                    </a:lnTo>
                    <a:lnTo>
                      <a:pt x="1960522" y="507999"/>
                    </a:lnTo>
                    <a:lnTo>
                      <a:pt x="1971323" y="520699"/>
                    </a:lnTo>
                    <a:lnTo>
                      <a:pt x="1975643" y="507999"/>
                    </a:lnTo>
                    <a:lnTo>
                      <a:pt x="1975643" y="503766"/>
                    </a:lnTo>
                    <a:close/>
                  </a:path>
                  <a:path w="3439795" h="1447800">
                    <a:moveTo>
                      <a:pt x="1960522" y="495299"/>
                    </a:moveTo>
                    <a:lnTo>
                      <a:pt x="1971323" y="507999"/>
                    </a:lnTo>
                    <a:lnTo>
                      <a:pt x="1973483" y="507999"/>
                    </a:lnTo>
                    <a:lnTo>
                      <a:pt x="1960522" y="495299"/>
                    </a:lnTo>
                    <a:close/>
                  </a:path>
                  <a:path w="3439795" h="1447800">
                    <a:moveTo>
                      <a:pt x="1967003" y="482599"/>
                    </a:moveTo>
                    <a:lnTo>
                      <a:pt x="1960522" y="495299"/>
                    </a:lnTo>
                    <a:lnTo>
                      <a:pt x="1973483" y="507999"/>
                    </a:lnTo>
                    <a:lnTo>
                      <a:pt x="1975643" y="503766"/>
                    </a:lnTo>
                    <a:lnTo>
                      <a:pt x="1975643" y="495299"/>
                    </a:lnTo>
                    <a:lnTo>
                      <a:pt x="1977804" y="495299"/>
                    </a:lnTo>
                    <a:lnTo>
                      <a:pt x="1967003" y="482599"/>
                    </a:lnTo>
                    <a:close/>
                  </a:path>
                  <a:path w="3439795" h="1447800">
                    <a:moveTo>
                      <a:pt x="1995085" y="495299"/>
                    </a:moveTo>
                    <a:lnTo>
                      <a:pt x="1990765" y="495299"/>
                    </a:lnTo>
                    <a:lnTo>
                      <a:pt x="1986445" y="507999"/>
                    </a:lnTo>
                    <a:lnTo>
                      <a:pt x="1999406" y="507999"/>
                    </a:lnTo>
                    <a:lnTo>
                      <a:pt x="1995085" y="495299"/>
                    </a:lnTo>
                    <a:close/>
                  </a:path>
                  <a:path w="3439795" h="1447800">
                    <a:moveTo>
                      <a:pt x="1995085" y="495299"/>
                    </a:moveTo>
                    <a:lnTo>
                      <a:pt x="1999406" y="507999"/>
                    </a:lnTo>
                    <a:lnTo>
                      <a:pt x="2005886" y="507999"/>
                    </a:lnTo>
                    <a:lnTo>
                      <a:pt x="1995085" y="495299"/>
                    </a:lnTo>
                    <a:close/>
                  </a:path>
                  <a:path w="3439795" h="1447800">
                    <a:moveTo>
                      <a:pt x="2008047" y="495299"/>
                    </a:moveTo>
                    <a:lnTo>
                      <a:pt x="1995085" y="495299"/>
                    </a:lnTo>
                    <a:lnTo>
                      <a:pt x="2005886" y="507999"/>
                    </a:lnTo>
                    <a:lnTo>
                      <a:pt x="2010207" y="507999"/>
                    </a:lnTo>
                    <a:lnTo>
                      <a:pt x="2008047" y="495299"/>
                    </a:lnTo>
                    <a:close/>
                  </a:path>
                  <a:path w="3439795" h="1447800">
                    <a:moveTo>
                      <a:pt x="2010207" y="495299"/>
                    </a:moveTo>
                    <a:lnTo>
                      <a:pt x="2008047" y="495299"/>
                    </a:lnTo>
                    <a:lnTo>
                      <a:pt x="2010207" y="507999"/>
                    </a:lnTo>
                    <a:lnTo>
                      <a:pt x="2010207" y="495299"/>
                    </a:lnTo>
                    <a:close/>
                  </a:path>
                  <a:path w="3439795" h="1447800">
                    <a:moveTo>
                      <a:pt x="2012367" y="495299"/>
                    </a:moveTo>
                    <a:lnTo>
                      <a:pt x="2010207" y="495299"/>
                    </a:lnTo>
                    <a:lnTo>
                      <a:pt x="2010207" y="507999"/>
                    </a:lnTo>
                    <a:lnTo>
                      <a:pt x="2021008" y="507999"/>
                    </a:lnTo>
                    <a:lnTo>
                      <a:pt x="2012367" y="495299"/>
                    </a:lnTo>
                    <a:close/>
                  </a:path>
                  <a:path w="3439795" h="1447800">
                    <a:moveTo>
                      <a:pt x="2014527" y="495299"/>
                    </a:moveTo>
                    <a:lnTo>
                      <a:pt x="2012367" y="495299"/>
                    </a:lnTo>
                    <a:lnTo>
                      <a:pt x="2021008" y="507999"/>
                    </a:lnTo>
                    <a:lnTo>
                      <a:pt x="2014527" y="495299"/>
                    </a:lnTo>
                    <a:close/>
                  </a:path>
                  <a:path w="3439795" h="1447800">
                    <a:moveTo>
                      <a:pt x="2014527" y="495299"/>
                    </a:moveTo>
                    <a:lnTo>
                      <a:pt x="2021008" y="507999"/>
                    </a:lnTo>
                    <a:lnTo>
                      <a:pt x="2023168" y="507999"/>
                    </a:lnTo>
                    <a:lnTo>
                      <a:pt x="2019928" y="501649"/>
                    </a:lnTo>
                    <a:lnTo>
                      <a:pt x="2014527" y="495299"/>
                    </a:lnTo>
                    <a:close/>
                  </a:path>
                  <a:path w="3439795" h="1447800">
                    <a:moveTo>
                      <a:pt x="2019928" y="501649"/>
                    </a:moveTo>
                    <a:lnTo>
                      <a:pt x="2023168" y="507999"/>
                    </a:lnTo>
                    <a:lnTo>
                      <a:pt x="2025328" y="507999"/>
                    </a:lnTo>
                    <a:lnTo>
                      <a:pt x="2019928" y="501649"/>
                    </a:lnTo>
                    <a:close/>
                  </a:path>
                  <a:path w="3439795" h="1447800">
                    <a:moveTo>
                      <a:pt x="2016688" y="495299"/>
                    </a:moveTo>
                    <a:lnTo>
                      <a:pt x="2019928" y="501649"/>
                    </a:lnTo>
                    <a:lnTo>
                      <a:pt x="2025328" y="507999"/>
                    </a:lnTo>
                    <a:lnTo>
                      <a:pt x="2021008" y="499533"/>
                    </a:lnTo>
                    <a:lnTo>
                      <a:pt x="2016688" y="495299"/>
                    </a:lnTo>
                    <a:close/>
                  </a:path>
                  <a:path w="3439795" h="1447800">
                    <a:moveTo>
                      <a:pt x="2021008" y="499533"/>
                    </a:moveTo>
                    <a:lnTo>
                      <a:pt x="2025328" y="507999"/>
                    </a:lnTo>
                    <a:lnTo>
                      <a:pt x="2025328" y="504824"/>
                    </a:lnTo>
                    <a:lnTo>
                      <a:pt x="2023168" y="501649"/>
                    </a:lnTo>
                    <a:lnTo>
                      <a:pt x="2021008" y="499533"/>
                    </a:lnTo>
                    <a:close/>
                  </a:path>
                  <a:path w="3439795" h="1447800">
                    <a:moveTo>
                      <a:pt x="2025328" y="504824"/>
                    </a:moveTo>
                    <a:lnTo>
                      <a:pt x="2025328" y="507999"/>
                    </a:lnTo>
                    <a:lnTo>
                      <a:pt x="2026409" y="506412"/>
                    </a:lnTo>
                    <a:lnTo>
                      <a:pt x="2025328" y="504824"/>
                    </a:lnTo>
                    <a:close/>
                  </a:path>
                  <a:path w="3439795" h="1447800">
                    <a:moveTo>
                      <a:pt x="2026409" y="506412"/>
                    </a:moveTo>
                    <a:lnTo>
                      <a:pt x="2025328" y="507999"/>
                    </a:lnTo>
                    <a:lnTo>
                      <a:pt x="2027489" y="507999"/>
                    </a:lnTo>
                    <a:lnTo>
                      <a:pt x="2026409" y="506412"/>
                    </a:lnTo>
                    <a:close/>
                  </a:path>
                  <a:path w="3439795" h="1447800">
                    <a:moveTo>
                      <a:pt x="2027057" y="505459"/>
                    </a:moveTo>
                    <a:lnTo>
                      <a:pt x="2026409" y="506412"/>
                    </a:lnTo>
                    <a:lnTo>
                      <a:pt x="2027489" y="507999"/>
                    </a:lnTo>
                    <a:lnTo>
                      <a:pt x="2028652" y="507023"/>
                    </a:lnTo>
                    <a:lnTo>
                      <a:pt x="2027057" y="505459"/>
                    </a:lnTo>
                    <a:close/>
                  </a:path>
                  <a:path w="3439795" h="1447800">
                    <a:moveTo>
                      <a:pt x="2028652" y="507023"/>
                    </a:moveTo>
                    <a:lnTo>
                      <a:pt x="2027489" y="507999"/>
                    </a:lnTo>
                    <a:lnTo>
                      <a:pt x="2029649" y="507999"/>
                    </a:lnTo>
                    <a:lnTo>
                      <a:pt x="2028652" y="507023"/>
                    </a:lnTo>
                    <a:close/>
                  </a:path>
                  <a:path w="3439795" h="1447800">
                    <a:moveTo>
                      <a:pt x="2030513" y="505459"/>
                    </a:moveTo>
                    <a:lnTo>
                      <a:pt x="2028652" y="507023"/>
                    </a:lnTo>
                    <a:lnTo>
                      <a:pt x="2029649" y="507999"/>
                    </a:lnTo>
                    <a:lnTo>
                      <a:pt x="2030513" y="505459"/>
                    </a:lnTo>
                    <a:close/>
                  </a:path>
                  <a:path w="3439795" h="1447800">
                    <a:moveTo>
                      <a:pt x="2033969" y="495299"/>
                    </a:moveTo>
                    <a:lnTo>
                      <a:pt x="2027057" y="505459"/>
                    </a:lnTo>
                    <a:lnTo>
                      <a:pt x="2028652" y="507023"/>
                    </a:lnTo>
                    <a:lnTo>
                      <a:pt x="2030513" y="505459"/>
                    </a:lnTo>
                    <a:lnTo>
                      <a:pt x="2033969" y="495299"/>
                    </a:lnTo>
                    <a:close/>
                  </a:path>
                  <a:path w="3439795" h="1447800">
                    <a:moveTo>
                      <a:pt x="2025328" y="503766"/>
                    </a:moveTo>
                    <a:lnTo>
                      <a:pt x="2025328" y="504824"/>
                    </a:lnTo>
                    <a:lnTo>
                      <a:pt x="2026409" y="506412"/>
                    </a:lnTo>
                    <a:lnTo>
                      <a:pt x="2027057" y="505459"/>
                    </a:lnTo>
                    <a:lnTo>
                      <a:pt x="2025328" y="503766"/>
                    </a:lnTo>
                    <a:close/>
                  </a:path>
                  <a:path w="3439795" h="1447800">
                    <a:moveTo>
                      <a:pt x="2040450" y="482599"/>
                    </a:moveTo>
                    <a:lnTo>
                      <a:pt x="2025328" y="482599"/>
                    </a:lnTo>
                    <a:lnTo>
                      <a:pt x="2025328" y="503766"/>
                    </a:lnTo>
                    <a:lnTo>
                      <a:pt x="2027057" y="505459"/>
                    </a:lnTo>
                    <a:lnTo>
                      <a:pt x="2033969" y="495299"/>
                    </a:lnTo>
                    <a:lnTo>
                      <a:pt x="2042610" y="495299"/>
                    </a:lnTo>
                    <a:lnTo>
                      <a:pt x="2040450" y="482599"/>
                    </a:lnTo>
                    <a:close/>
                  </a:path>
                  <a:path w="3439795" h="1447800">
                    <a:moveTo>
                      <a:pt x="2042610" y="495299"/>
                    </a:moveTo>
                    <a:lnTo>
                      <a:pt x="2033969" y="495299"/>
                    </a:lnTo>
                    <a:lnTo>
                      <a:pt x="2030513" y="505459"/>
                    </a:lnTo>
                    <a:lnTo>
                      <a:pt x="2042610" y="495299"/>
                    </a:lnTo>
                    <a:close/>
                  </a:path>
                  <a:path w="3439795" h="1447800">
                    <a:moveTo>
                      <a:pt x="2023168" y="501649"/>
                    </a:moveTo>
                    <a:lnTo>
                      <a:pt x="2025328" y="504824"/>
                    </a:lnTo>
                    <a:lnTo>
                      <a:pt x="2025328" y="503766"/>
                    </a:lnTo>
                    <a:lnTo>
                      <a:pt x="2023168" y="501649"/>
                    </a:lnTo>
                    <a:close/>
                  </a:path>
                  <a:path w="3439795" h="1447800">
                    <a:moveTo>
                      <a:pt x="1967003" y="482599"/>
                    </a:moveTo>
                    <a:lnTo>
                      <a:pt x="1977804" y="495299"/>
                    </a:lnTo>
                    <a:lnTo>
                      <a:pt x="1975643" y="495299"/>
                    </a:lnTo>
                    <a:lnTo>
                      <a:pt x="1975643" y="503766"/>
                    </a:lnTo>
                    <a:lnTo>
                      <a:pt x="1979964" y="495299"/>
                    </a:lnTo>
                    <a:lnTo>
                      <a:pt x="1967003" y="482599"/>
                    </a:lnTo>
                    <a:close/>
                  </a:path>
                  <a:path w="3439795" h="1447800">
                    <a:moveTo>
                      <a:pt x="2025328" y="482599"/>
                    </a:moveTo>
                    <a:lnTo>
                      <a:pt x="2018848" y="495299"/>
                    </a:lnTo>
                    <a:lnTo>
                      <a:pt x="2023168" y="501649"/>
                    </a:lnTo>
                    <a:lnTo>
                      <a:pt x="2025328" y="503766"/>
                    </a:lnTo>
                    <a:lnTo>
                      <a:pt x="2025328" y="482599"/>
                    </a:lnTo>
                    <a:close/>
                  </a:path>
                  <a:path w="3439795" h="1447800">
                    <a:moveTo>
                      <a:pt x="2016688" y="495299"/>
                    </a:moveTo>
                    <a:lnTo>
                      <a:pt x="2014527" y="495299"/>
                    </a:lnTo>
                    <a:lnTo>
                      <a:pt x="2019928" y="501649"/>
                    </a:lnTo>
                    <a:lnTo>
                      <a:pt x="2016688" y="495299"/>
                    </a:lnTo>
                    <a:close/>
                  </a:path>
                  <a:path w="3439795" h="1447800">
                    <a:moveTo>
                      <a:pt x="2018848" y="495299"/>
                    </a:moveTo>
                    <a:lnTo>
                      <a:pt x="2021008" y="499533"/>
                    </a:lnTo>
                    <a:lnTo>
                      <a:pt x="2023168" y="501649"/>
                    </a:lnTo>
                    <a:lnTo>
                      <a:pt x="2018848" y="495299"/>
                    </a:lnTo>
                    <a:close/>
                  </a:path>
                  <a:path w="3439795" h="1447800">
                    <a:moveTo>
                      <a:pt x="2019928" y="488949"/>
                    </a:moveTo>
                    <a:lnTo>
                      <a:pt x="2016688" y="495299"/>
                    </a:lnTo>
                    <a:lnTo>
                      <a:pt x="2021008" y="499533"/>
                    </a:lnTo>
                    <a:lnTo>
                      <a:pt x="2018848" y="495299"/>
                    </a:lnTo>
                    <a:lnTo>
                      <a:pt x="2019928" y="488949"/>
                    </a:lnTo>
                    <a:close/>
                  </a:path>
                  <a:path w="3439795" h="1447800">
                    <a:moveTo>
                      <a:pt x="362772" y="476249"/>
                    </a:moveTo>
                    <a:lnTo>
                      <a:pt x="358451" y="482599"/>
                    </a:lnTo>
                    <a:lnTo>
                      <a:pt x="360612" y="495299"/>
                    </a:lnTo>
                    <a:lnTo>
                      <a:pt x="377893" y="482599"/>
                    </a:lnTo>
                    <a:lnTo>
                      <a:pt x="360612" y="482599"/>
                    </a:lnTo>
                    <a:lnTo>
                      <a:pt x="362772" y="476249"/>
                    </a:lnTo>
                    <a:close/>
                  </a:path>
                  <a:path w="3439795" h="1447800">
                    <a:moveTo>
                      <a:pt x="1971323" y="482599"/>
                    </a:moveTo>
                    <a:lnTo>
                      <a:pt x="1967003" y="482599"/>
                    </a:lnTo>
                    <a:lnTo>
                      <a:pt x="1979964" y="495299"/>
                    </a:lnTo>
                    <a:lnTo>
                      <a:pt x="1984284" y="495299"/>
                    </a:lnTo>
                    <a:lnTo>
                      <a:pt x="1971323" y="482599"/>
                    </a:lnTo>
                    <a:close/>
                  </a:path>
                  <a:path w="3439795" h="1447800">
                    <a:moveTo>
                      <a:pt x="1973483" y="482599"/>
                    </a:moveTo>
                    <a:lnTo>
                      <a:pt x="1971323" y="482599"/>
                    </a:lnTo>
                    <a:lnTo>
                      <a:pt x="1984284" y="495299"/>
                    </a:lnTo>
                    <a:lnTo>
                      <a:pt x="1973483" y="482599"/>
                    </a:lnTo>
                    <a:close/>
                  </a:path>
                  <a:path w="3439795" h="1447800">
                    <a:moveTo>
                      <a:pt x="1982124" y="469899"/>
                    </a:moveTo>
                    <a:lnTo>
                      <a:pt x="1977804" y="482599"/>
                    </a:lnTo>
                    <a:lnTo>
                      <a:pt x="1973483" y="482599"/>
                    </a:lnTo>
                    <a:lnTo>
                      <a:pt x="1984284" y="495299"/>
                    </a:lnTo>
                    <a:lnTo>
                      <a:pt x="1982124" y="469899"/>
                    </a:lnTo>
                    <a:close/>
                  </a:path>
                  <a:path w="3439795" h="1447800">
                    <a:moveTo>
                      <a:pt x="1982124" y="469899"/>
                    </a:moveTo>
                    <a:lnTo>
                      <a:pt x="1984284" y="495299"/>
                    </a:lnTo>
                    <a:lnTo>
                      <a:pt x="1990765" y="482599"/>
                    </a:lnTo>
                    <a:lnTo>
                      <a:pt x="1982124" y="469899"/>
                    </a:lnTo>
                    <a:close/>
                  </a:path>
                  <a:path w="3439795" h="1447800">
                    <a:moveTo>
                      <a:pt x="1990765" y="469899"/>
                    </a:moveTo>
                    <a:lnTo>
                      <a:pt x="1982124" y="469899"/>
                    </a:lnTo>
                    <a:lnTo>
                      <a:pt x="1990765" y="482599"/>
                    </a:lnTo>
                    <a:lnTo>
                      <a:pt x="1984284" y="495299"/>
                    </a:lnTo>
                    <a:lnTo>
                      <a:pt x="1995085" y="482599"/>
                    </a:lnTo>
                    <a:lnTo>
                      <a:pt x="1990765" y="469899"/>
                    </a:lnTo>
                    <a:close/>
                  </a:path>
                  <a:path w="3439795" h="1447800">
                    <a:moveTo>
                      <a:pt x="2021008" y="482599"/>
                    </a:moveTo>
                    <a:lnTo>
                      <a:pt x="2016688" y="495299"/>
                    </a:lnTo>
                    <a:lnTo>
                      <a:pt x="2019928" y="488949"/>
                    </a:lnTo>
                    <a:lnTo>
                      <a:pt x="2021008" y="482599"/>
                    </a:lnTo>
                    <a:close/>
                  </a:path>
                  <a:path w="3439795" h="1447800">
                    <a:moveTo>
                      <a:pt x="2025328" y="482599"/>
                    </a:moveTo>
                    <a:lnTo>
                      <a:pt x="2023168" y="482599"/>
                    </a:lnTo>
                    <a:lnTo>
                      <a:pt x="2019928" y="488949"/>
                    </a:lnTo>
                    <a:lnTo>
                      <a:pt x="2018848" y="495299"/>
                    </a:lnTo>
                    <a:lnTo>
                      <a:pt x="2025328" y="482599"/>
                    </a:lnTo>
                    <a:close/>
                  </a:path>
                  <a:path w="3439795" h="1447800">
                    <a:moveTo>
                      <a:pt x="2046931" y="482599"/>
                    </a:moveTo>
                    <a:lnTo>
                      <a:pt x="2040450" y="482599"/>
                    </a:lnTo>
                    <a:lnTo>
                      <a:pt x="2042610" y="495299"/>
                    </a:lnTo>
                    <a:lnTo>
                      <a:pt x="2046931" y="495299"/>
                    </a:lnTo>
                    <a:lnTo>
                      <a:pt x="2046931" y="482599"/>
                    </a:lnTo>
                    <a:close/>
                  </a:path>
                  <a:path w="3439795" h="1447800">
                    <a:moveTo>
                      <a:pt x="2046931" y="469899"/>
                    </a:moveTo>
                    <a:lnTo>
                      <a:pt x="2046931" y="495299"/>
                    </a:lnTo>
                    <a:lnTo>
                      <a:pt x="2057732" y="495299"/>
                    </a:lnTo>
                    <a:lnTo>
                      <a:pt x="2053411" y="482599"/>
                    </a:lnTo>
                    <a:lnTo>
                      <a:pt x="2062052" y="482599"/>
                    </a:lnTo>
                    <a:lnTo>
                      <a:pt x="2046931" y="469899"/>
                    </a:lnTo>
                    <a:close/>
                  </a:path>
                  <a:path w="3439795" h="1447800">
                    <a:moveTo>
                      <a:pt x="2053411" y="469899"/>
                    </a:moveTo>
                    <a:lnTo>
                      <a:pt x="2046931" y="469899"/>
                    </a:lnTo>
                    <a:lnTo>
                      <a:pt x="2062052" y="482599"/>
                    </a:lnTo>
                    <a:lnTo>
                      <a:pt x="2053411" y="482599"/>
                    </a:lnTo>
                    <a:lnTo>
                      <a:pt x="2057732" y="495299"/>
                    </a:lnTo>
                    <a:lnTo>
                      <a:pt x="2066373" y="495299"/>
                    </a:lnTo>
                    <a:lnTo>
                      <a:pt x="2066373" y="482599"/>
                    </a:lnTo>
                    <a:lnTo>
                      <a:pt x="2053411" y="469899"/>
                    </a:lnTo>
                    <a:close/>
                  </a:path>
                  <a:path w="3439795" h="1447800">
                    <a:moveTo>
                      <a:pt x="2023168" y="482599"/>
                    </a:moveTo>
                    <a:lnTo>
                      <a:pt x="2021008" y="482599"/>
                    </a:lnTo>
                    <a:lnTo>
                      <a:pt x="2019928" y="488949"/>
                    </a:lnTo>
                    <a:lnTo>
                      <a:pt x="2023168" y="482599"/>
                    </a:lnTo>
                    <a:close/>
                  </a:path>
                  <a:path w="3439795" h="1447800">
                    <a:moveTo>
                      <a:pt x="362772" y="457199"/>
                    </a:moveTo>
                    <a:lnTo>
                      <a:pt x="345490" y="469899"/>
                    </a:lnTo>
                    <a:lnTo>
                      <a:pt x="347650" y="482599"/>
                    </a:lnTo>
                    <a:lnTo>
                      <a:pt x="358451" y="469899"/>
                    </a:lnTo>
                    <a:lnTo>
                      <a:pt x="364932" y="469899"/>
                    </a:lnTo>
                    <a:lnTo>
                      <a:pt x="362772" y="457199"/>
                    </a:lnTo>
                    <a:close/>
                  </a:path>
                  <a:path w="3439795" h="1447800">
                    <a:moveTo>
                      <a:pt x="364932" y="469899"/>
                    </a:moveTo>
                    <a:lnTo>
                      <a:pt x="358451" y="469899"/>
                    </a:lnTo>
                    <a:lnTo>
                      <a:pt x="347650" y="482599"/>
                    </a:lnTo>
                    <a:lnTo>
                      <a:pt x="364932" y="469899"/>
                    </a:lnTo>
                    <a:close/>
                  </a:path>
                  <a:path w="3439795" h="1447800">
                    <a:moveTo>
                      <a:pt x="364932" y="469899"/>
                    </a:moveTo>
                    <a:lnTo>
                      <a:pt x="347650" y="482599"/>
                    </a:lnTo>
                    <a:lnTo>
                      <a:pt x="358451" y="482599"/>
                    </a:lnTo>
                    <a:lnTo>
                      <a:pt x="362772" y="476249"/>
                    </a:lnTo>
                    <a:lnTo>
                      <a:pt x="364932" y="469899"/>
                    </a:lnTo>
                    <a:close/>
                  </a:path>
                  <a:path w="3439795" h="1447800">
                    <a:moveTo>
                      <a:pt x="367092" y="469899"/>
                    </a:moveTo>
                    <a:lnTo>
                      <a:pt x="362772" y="476249"/>
                    </a:lnTo>
                    <a:lnTo>
                      <a:pt x="360612" y="482599"/>
                    </a:lnTo>
                    <a:lnTo>
                      <a:pt x="367092" y="469899"/>
                    </a:lnTo>
                    <a:close/>
                  </a:path>
                  <a:path w="3439795" h="1447800">
                    <a:moveTo>
                      <a:pt x="367092" y="469899"/>
                    </a:moveTo>
                    <a:lnTo>
                      <a:pt x="360612" y="482599"/>
                    </a:lnTo>
                    <a:lnTo>
                      <a:pt x="367092" y="482599"/>
                    </a:lnTo>
                    <a:lnTo>
                      <a:pt x="367092" y="469899"/>
                    </a:lnTo>
                    <a:close/>
                  </a:path>
                  <a:path w="3439795" h="1447800">
                    <a:moveTo>
                      <a:pt x="367092" y="469899"/>
                    </a:moveTo>
                    <a:lnTo>
                      <a:pt x="367092" y="482599"/>
                    </a:lnTo>
                    <a:lnTo>
                      <a:pt x="375733" y="482599"/>
                    </a:lnTo>
                    <a:lnTo>
                      <a:pt x="367092" y="469899"/>
                    </a:lnTo>
                    <a:close/>
                  </a:path>
                  <a:path w="3439795" h="1447800">
                    <a:moveTo>
                      <a:pt x="375733" y="469899"/>
                    </a:moveTo>
                    <a:lnTo>
                      <a:pt x="367092" y="469899"/>
                    </a:lnTo>
                    <a:lnTo>
                      <a:pt x="375733" y="482599"/>
                    </a:lnTo>
                    <a:lnTo>
                      <a:pt x="375733" y="469899"/>
                    </a:lnTo>
                    <a:close/>
                  </a:path>
                  <a:path w="3439795" h="1447800">
                    <a:moveTo>
                      <a:pt x="433969" y="431799"/>
                    </a:moveTo>
                    <a:lnTo>
                      <a:pt x="418847" y="444499"/>
                    </a:lnTo>
                    <a:lnTo>
                      <a:pt x="418847" y="482599"/>
                    </a:lnTo>
                    <a:lnTo>
                      <a:pt x="423168" y="482599"/>
                    </a:lnTo>
                    <a:lnTo>
                      <a:pt x="433969" y="469899"/>
                    </a:lnTo>
                    <a:lnTo>
                      <a:pt x="438289" y="469899"/>
                    </a:lnTo>
                    <a:lnTo>
                      <a:pt x="438289" y="457199"/>
                    </a:lnTo>
                    <a:lnTo>
                      <a:pt x="433969" y="431799"/>
                    </a:lnTo>
                    <a:close/>
                  </a:path>
                  <a:path w="3439795" h="1447800">
                    <a:moveTo>
                      <a:pt x="436129" y="469899"/>
                    </a:moveTo>
                    <a:lnTo>
                      <a:pt x="433969" y="469899"/>
                    </a:lnTo>
                    <a:lnTo>
                      <a:pt x="423168" y="482599"/>
                    </a:lnTo>
                    <a:lnTo>
                      <a:pt x="425328" y="482599"/>
                    </a:lnTo>
                    <a:lnTo>
                      <a:pt x="436129" y="469899"/>
                    </a:lnTo>
                    <a:close/>
                  </a:path>
                  <a:path w="3439795" h="1447800">
                    <a:moveTo>
                      <a:pt x="438289" y="469899"/>
                    </a:moveTo>
                    <a:lnTo>
                      <a:pt x="436129" y="469899"/>
                    </a:lnTo>
                    <a:lnTo>
                      <a:pt x="438289" y="482599"/>
                    </a:lnTo>
                    <a:lnTo>
                      <a:pt x="438289" y="469899"/>
                    </a:lnTo>
                    <a:close/>
                  </a:path>
                  <a:path w="3439795" h="1447800">
                    <a:moveTo>
                      <a:pt x="1995085" y="469899"/>
                    </a:moveTo>
                    <a:lnTo>
                      <a:pt x="1990765" y="469899"/>
                    </a:lnTo>
                    <a:lnTo>
                      <a:pt x="1995085" y="482599"/>
                    </a:lnTo>
                    <a:lnTo>
                      <a:pt x="2010207" y="482599"/>
                    </a:lnTo>
                    <a:lnTo>
                      <a:pt x="2008047" y="479424"/>
                    </a:lnTo>
                    <a:lnTo>
                      <a:pt x="1995085" y="469899"/>
                    </a:lnTo>
                    <a:close/>
                  </a:path>
                  <a:path w="3439795" h="1447800">
                    <a:moveTo>
                      <a:pt x="2008047" y="479424"/>
                    </a:moveTo>
                    <a:lnTo>
                      <a:pt x="2010207" y="482599"/>
                    </a:lnTo>
                    <a:lnTo>
                      <a:pt x="2012367" y="482599"/>
                    </a:lnTo>
                    <a:lnTo>
                      <a:pt x="2008047" y="479424"/>
                    </a:lnTo>
                    <a:close/>
                  </a:path>
                  <a:path w="3439795" h="1447800">
                    <a:moveTo>
                      <a:pt x="2001566" y="469899"/>
                    </a:moveTo>
                    <a:lnTo>
                      <a:pt x="2008047" y="479424"/>
                    </a:lnTo>
                    <a:lnTo>
                      <a:pt x="2012367" y="482599"/>
                    </a:lnTo>
                    <a:lnTo>
                      <a:pt x="2001566" y="469899"/>
                    </a:lnTo>
                    <a:close/>
                  </a:path>
                  <a:path w="3439795" h="1447800">
                    <a:moveTo>
                      <a:pt x="2012367" y="457199"/>
                    </a:moveTo>
                    <a:lnTo>
                      <a:pt x="2001566" y="469899"/>
                    </a:lnTo>
                    <a:lnTo>
                      <a:pt x="2012367" y="482599"/>
                    </a:lnTo>
                    <a:lnTo>
                      <a:pt x="2014527" y="482599"/>
                    </a:lnTo>
                    <a:lnTo>
                      <a:pt x="2014527" y="469899"/>
                    </a:lnTo>
                    <a:lnTo>
                      <a:pt x="2016688" y="469899"/>
                    </a:lnTo>
                    <a:lnTo>
                      <a:pt x="2012367" y="457199"/>
                    </a:lnTo>
                    <a:close/>
                  </a:path>
                  <a:path w="3439795" h="1447800">
                    <a:moveTo>
                      <a:pt x="2016688" y="469899"/>
                    </a:moveTo>
                    <a:lnTo>
                      <a:pt x="2014527" y="469899"/>
                    </a:lnTo>
                    <a:lnTo>
                      <a:pt x="2014527" y="482599"/>
                    </a:lnTo>
                    <a:lnTo>
                      <a:pt x="2021008" y="482599"/>
                    </a:lnTo>
                    <a:lnTo>
                      <a:pt x="2016688" y="469899"/>
                    </a:lnTo>
                    <a:close/>
                  </a:path>
                  <a:path w="3439795" h="1447800">
                    <a:moveTo>
                      <a:pt x="2016688" y="457199"/>
                    </a:moveTo>
                    <a:lnTo>
                      <a:pt x="2012367" y="457199"/>
                    </a:lnTo>
                    <a:lnTo>
                      <a:pt x="2021008" y="482599"/>
                    </a:lnTo>
                    <a:lnTo>
                      <a:pt x="2027489" y="469899"/>
                    </a:lnTo>
                    <a:lnTo>
                      <a:pt x="2025328" y="469899"/>
                    </a:lnTo>
                    <a:lnTo>
                      <a:pt x="2025328" y="465666"/>
                    </a:lnTo>
                    <a:lnTo>
                      <a:pt x="2016688" y="457199"/>
                    </a:lnTo>
                    <a:close/>
                  </a:path>
                  <a:path w="3439795" h="1447800">
                    <a:moveTo>
                      <a:pt x="2057732" y="457199"/>
                    </a:moveTo>
                    <a:lnTo>
                      <a:pt x="2053411" y="469899"/>
                    </a:lnTo>
                    <a:lnTo>
                      <a:pt x="2066373" y="482599"/>
                    </a:lnTo>
                    <a:lnTo>
                      <a:pt x="2066373" y="469899"/>
                    </a:lnTo>
                    <a:lnTo>
                      <a:pt x="2055571" y="469899"/>
                    </a:lnTo>
                    <a:lnTo>
                      <a:pt x="2059349" y="458795"/>
                    </a:lnTo>
                    <a:lnTo>
                      <a:pt x="2057732" y="457199"/>
                    </a:lnTo>
                    <a:close/>
                  </a:path>
                  <a:path w="3439795" h="1447800">
                    <a:moveTo>
                      <a:pt x="2059349" y="458795"/>
                    </a:moveTo>
                    <a:lnTo>
                      <a:pt x="2055571" y="469899"/>
                    </a:lnTo>
                    <a:lnTo>
                      <a:pt x="2066373" y="469899"/>
                    </a:lnTo>
                    <a:lnTo>
                      <a:pt x="2066373" y="482599"/>
                    </a:lnTo>
                    <a:lnTo>
                      <a:pt x="2070603" y="469899"/>
                    </a:lnTo>
                    <a:lnTo>
                      <a:pt x="2059349" y="458795"/>
                    </a:lnTo>
                    <a:close/>
                  </a:path>
                  <a:path w="3439795" h="1447800">
                    <a:moveTo>
                      <a:pt x="2001566" y="469899"/>
                    </a:moveTo>
                    <a:lnTo>
                      <a:pt x="1995085" y="469899"/>
                    </a:lnTo>
                    <a:lnTo>
                      <a:pt x="2008047" y="479424"/>
                    </a:lnTo>
                    <a:lnTo>
                      <a:pt x="2001566" y="469899"/>
                    </a:lnTo>
                    <a:close/>
                  </a:path>
                  <a:path w="3439795" h="1447800">
                    <a:moveTo>
                      <a:pt x="367092" y="469899"/>
                    </a:moveTo>
                    <a:lnTo>
                      <a:pt x="364932" y="469899"/>
                    </a:lnTo>
                    <a:lnTo>
                      <a:pt x="362772" y="476249"/>
                    </a:lnTo>
                    <a:lnTo>
                      <a:pt x="367092" y="469899"/>
                    </a:lnTo>
                    <a:close/>
                  </a:path>
                  <a:path w="3439795" h="1447800">
                    <a:moveTo>
                      <a:pt x="360612" y="444499"/>
                    </a:moveTo>
                    <a:lnTo>
                      <a:pt x="343330" y="457199"/>
                    </a:lnTo>
                    <a:lnTo>
                      <a:pt x="345490" y="469899"/>
                    </a:lnTo>
                    <a:lnTo>
                      <a:pt x="362772" y="457199"/>
                    </a:lnTo>
                    <a:lnTo>
                      <a:pt x="360612" y="457199"/>
                    </a:lnTo>
                    <a:lnTo>
                      <a:pt x="360612" y="444499"/>
                    </a:lnTo>
                    <a:close/>
                  </a:path>
                  <a:path w="3439795" h="1447800">
                    <a:moveTo>
                      <a:pt x="2025328" y="465666"/>
                    </a:moveTo>
                    <a:lnTo>
                      <a:pt x="2025328" y="469899"/>
                    </a:lnTo>
                    <a:lnTo>
                      <a:pt x="2029649" y="469899"/>
                    </a:lnTo>
                    <a:lnTo>
                      <a:pt x="2025328" y="465666"/>
                    </a:lnTo>
                    <a:close/>
                  </a:path>
                  <a:path w="3439795" h="1447800">
                    <a:moveTo>
                      <a:pt x="2025328" y="464819"/>
                    </a:moveTo>
                    <a:lnTo>
                      <a:pt x="2025328" y="465666"/>
                    </a:lnTo>
                    <a:lnTo>
                      <a:pt x="2029649" y="469899"/>
                    </a:lnTo>
                    <a:lnTo>
                      <a:pt x="2025328" y="464819"/>
                    </a:lnTo>
                    <a:close/>
                  </a:path>
                  <a:path w="3439795" h="1447800">
                    <a:moveTo>
                      <a:pt x="2025328" y="459316"/>
                    </a:moveTo>
                    <a:lnTo>
                      <a:pt x="2025328" y="464819"/>
                    </a:lnTo>
                    <a:lnTo>
                      <a:pt x="2029649" y="469899"/>
                    </a:lnTo>
                    <a:lnTo>
                      <a:pt x="2031809" y="469899"/>
                    </a:lnTo>
                    <a:lnTo>
                      <a:pt x="2027489" y="461433"/>
                    </a:lnTo>
                    <a:lnTo>
                      <a:pt x="2025328" y="459316"/>
                    </a:lnTo>
                    <a:close/>
                  </a:path>
                  <a:path w="3439795" h="1447800">
                    <a:moveTo>
                      <a:pt x="2027489" y="461433"/>
                    </a:moveTo>
                    <a:lnTo>
                      <a:pt x="2031809" y="469899"/>
                    </a:lnTo>
                    <a:lnTo>
                      <a:pt x="2036130" y="469899"/>
                    </a:lnTo>
                    <a:lnTo>
                      <a:pt x="2027489" y="461433"/>
                    </a:lnTo>
                    <a:close/>
                  </a:path>
                  <a:path w="3439795" h="1447800">
                    <a:moveTo>
                      <a:pt x="2027489" y="457199"/>
                    </a:moveTo>
                    <a:lnTo>
                      <a:pt x="2025328" y="457199"/>
                    </a:lnTo>
                    <a:lnTo>
                      <a:pt x="2027489" y="461433"/>
                    </a:lnTo>
                    <a:lnTo>
                      <a:pt x="2036130" y="469899"/>
                    </a:lnTo>
                    <a:lnTo>
                      <a:pt x="2032889" y="463549"/>
                    </a:lnTo>
                    <a:lnTo>
                      <a:pt x="2027489" y="457199"/>
                    </a:lnTo>
                    <a:close/>
                  </a:path>
                  <a:path w="3439795" h="1447800">
                    <a:moveTo>
                      <a:pt x="2032889" y="463549"/>
                    </a:moveTo>
                    <a:lnTo>
                      <a:pt x="2036130" y="469899"/>
                    </a:lnTo>
                    <a:lnTo>
                      <a:pt x="2038290" y="469899"/>
                    </a:lnTo>
                    <a:lnTo>
                      <a:pt x="2032889" y="463549"/>
                    </a:lnTo>
                    <a:close/>
                  </a:path>
                  <a:path w="3439795" h="1447800">
                    <a:moveTo>
                      <a:pt x="2035409" y="445911"/>
                    </a:moveTo>
                    <a:lnTo>
                      <a:pt x="2029649" y="457199"/>
                    </a:lnTo>
                    <a:lnTo>
                      <a:pt x="2032889" y="463549"/>
                    </a:lnTo>
                    <a:lnTo>
                      <a:pt x="2038290" y="469899"/>
                    </a:lnTo>
                    <a:lnTo>
                      <a:pt x="2042610" y="469899"/>
                    </a:lnTo>
                    <a:lnTo>
                      <a:pt x="2046931" y="457199"/>
                    </a:lnTo>
                    <a:lnTo>
                      <a:pt x="2035409" y="445911"/>
                    </a:lnTo>
                    <a:close/>
                  </a:path>
                  <a:path w="3439795" h="1447800">
                    <a:moveTo>
                      <a:pt x="2059892" y="457199"/>
                    </a:moveTo>
                    <a:lnTo>
                      <a:pt x="2059349" y="458795"/>
                    </a:lnTo>
                    <a:lnTo>
                      <a:pt x="2070603" y="469899"/>
                    </a:lnTo>
                    <a:lnTo>
                      <a:pt x="2072763" y="469899"/>
                    </a:lnTo>
                    <a:lnTo>
                      <a:pt x="2059892" y="457199"/>
                    </a:lnTo>
                    <a:close/>
                  </a:path>
                  <a:path w="3439795" h="1447800">
                    <a:moveTo>
                      <a:pt x="2059892" y="457199"/>
                    </a:moveTo>
                    <a:lnTo>
                      <a:pt x="2072763" y="469899"/>
                    </a:lnTo>
                    <a:lnTo>
                      <a:pt x="2069913" y="465666"/>
                    </a:lnTo>
                    <a:lnTo>
                      <a:pt x="2059892" y="457199"/>
                    </a:lnTo>
                    <a:close/>
                  </a:path>
                  <a:path w="3439795" h="1447800">
                    <a:moveTo>
                      <a:pt x="2069913" y="465666"/>
                    </a:moveTo>
                    <a:lnTo>
                      <a:pt x="2072763" y="469899"/>
                    </a:lnTo>
                    <a:lnTo>
                      <a:pt x="2074923" y="469899"/>
                    </a:lnTo>
                    <a:lnTo>
                      <a:pt x="2069913" y="465666"/>
                    </a:lnTo>
                    <a:close/>
                  </a:path>
                  <a:path w="3439795" h="1447800">
                    <a:moveTo>
                      <a:pt x="2064212" y="457199"/>
                    </a:moveTo>
                    <a:lnTo>
                      <a:pt x="2069913" y="465666"/>
                    </a:lnTo>
                    <a:lnTo>
                      <a:pt x="2074923" y="469899"/>
                    </a:lnTo>
                    <a:lnTo>
                      <a:pt x="2077084" y="469899"/>
                    </a:lnTo>
                    <a:lnTo>
                      <a:pt x="2064212" y="457199"/>
                    </a:lnTo>
                    <a:close/>
                  </a:path>
                  <a:path w="3439795" h="1447800">
                    <a:moveTo>
                      <a:pt x="2079244" y="444499"/>
                    </a:moveTo>
                    <a:lnTo>
                      <a:pt x="2068443" y="457199"/>
                    </a:lnTo>
                    <a:lnTo>
                      <a:pt x="2064212" y="457199"/>
                    </a:lnTo>
                    <a:lnTo>
                      <a:pt x="2077084" y="469899"/>
                    </a:lnTo>
                    <a:lnTo>
                      <a:pt x="2078231" y="469899"/>
                    </a:lnTo>
                    <a:lnTo>
                      <a:pt x="2084116" y="463597"/>
                    </a:lnTo>
                    <a:lnTo>
                      <a:pt x="2079244" y="444499"/>
                    </a:lnTo>
                    <a:close/>
                  </a:path>
                  <a:path w="3439795" h="1447800">
                    <a:moveTo>
                      <a:pt x="2084116" y="463597"/>
                    </a:moveTo>
                    <a:lnTo>
                      <a:pt x="2078231" y="469899"/>
                    </a:lnTo>
                    <a:lnTo>
                      <a:pt x="2085724" y="469899"/>
                    </a:lnTo>
                    <a:lnTo>
                      <a:pt x="2084116" y="463597"/>
                    </a:lnTo>
                    <a:close/>
                  </a:path>
                  <a:path w="3439795" h="1447800">
                    <a:moveTo>
                      <a:pt x="2093224" y="453843"/>
                    </a:moveTo>
                    <a:lnTo>
                      <a:pt x="2084116" y="463597"/>
                    </a:lnTo>
                    <a:lnTo>
                      <a:pt x="2085724" y="469899"/>
                    </a:lnTo>
                    <a:lnTo>
                      <a:pt x="2094365" y="457199"/>
                    </a:lnTo>
                    <a:lnTo>
                      <a:pt x="2093224" y="453843"/>
                    </a:lnTo>
                    <a:close/>
                  </a:path>
                  <a:path w="3439795" h="1447800">
                    <a:moveTo>
                      <a:pt x="2018848" y="457199"/>
                    </a:moveTo>
                    <a:lnTo>
                      <a:pt x="2016688" y="457199"/>
                    </a:lnTo>
                    <a:lnTo>
                      <a:pt x="2025328" y="465666"/>
                    </a:lnTo>
                    <a:lnTo>
                      <a:pt x="2025328" y="464819"/>
                    </a:lnTo>
                    <a:lnTo>
                      <a:pt x="2018848" y="457199"/>
                    </a:lnTo>
                    <a:close/>
                  </a:path>
                  <a:path w="3439795" h="1447800">
                    <a:moveTo>
                      <a:pt x="2064212" y="457199"/>
                    </a:moveTo>
                    <a:lnTo>
                      <a:pt x="2059892" y="457199"/>
                    </a:lnTo>
                    <a:lnTo>
                      <a:pt x="2069913" y="465666"/>
                    </a:lnTo>
                    <a:lnTo>
                      <a:pt x="2064212" y="457199"/>
                    </a:lnTo>
                    <a:close/>
                  </a:path>
                  <a:path w="3439795" h="1447800">
                    <a:moveTo>
                      <a:pt x="2023168" y="457199"/>
                    </a:moveTo>
                    <a:lnTo>
                      <a:pt x="2018848" y="457199"/>
                    </a:lnTo>
                    <a:lnTo>
                      <a:pt x="2025328" y="464819"/>
                    </a:lnTo>
                    <a:lnTo>
                      <a:pt x="2025328" y="459316"/>
                    </a:lnTo>
                    <a:lnTo>
                      <a:pt x="2023168" y="457199"/>
                    </a:lnTo>
                    <a:close/>
                  </a:path>
                  <a:path w="3439795" h="1447800">
                    <a:moveTo>
                      <a:pt x="2085724" y="444499"/>
                    </a:moveTo>
                    <a:lnTo>
                      <a:pt x="2079244" y="444499"/>
                    </a:lnTo>
                    <a:lnTo>
                      <a:pt x="2084116" y="463597"/>
                    </a:lnTo>
                    <a:lnTo>
                      <a:pt x="2090090" y="457199"/>
                    </a:lnTo>
                    <a:lnTo>
                      <a:pt x="2083564" y="457199"/>
                    </a:lnTo>
                    <a:lnTo>
                      <a:pt x="2085724" y="444499"/>
                    </a:lnTo>
                    <a:close/>
                  </a:path>
                  <a:path w="3439795" h="1447800">
                    <a:moveTo>
                      <a:pt x="2033969" y="444499"/>
                    </a:moveTo>
                    <a:lnTo>
                      <a:pt x="2027489" y="457199"/>
                    </a:lnTo>
                    <a:lnTo>
                      <a:pt x="2032889" y="463549"/>
                    </a:lnTo>
                    <a:lnTo>
                      <a:pt x="2029649" y="457199"/>
                    </a:lnTo>
                    <a:lnTo>
                      <a:pt x="2035409" y="445911"/>
                    </a:lnTo>
                    <a:lnTo>
                      <a:pt x="2033969" y="444499"/>
                    </a:lnTo>
                    <a:close/>
                  </a:path>
                  <a:path w="3439795" h="1447800">
                    <a:moveTo>
                      <a:pt x="2025328" y="457199"/>
                    </a:moveTo>
                    <a:lnTo>
                      <a:pt x="2025328" y="459316"/>
                    </a:lnTo>
                    <a:lnTo>
                      <a:pt x="2027489" y="461433"/>
                    </a:lnTo>
                    <a:lnTo>
                      <a:pt x="2025328" y="457199"/>
                    </a:lnTo>
                    <a:close/>
                  </a:path>
                  <a:path w="3439795" h="1447800">
                    <a:moveTo>
                      <a:pt x="2025328" y="457199"/>
                    </a:moveTo>
                    <a:lnTo>
                      <a:pt x="2023168" y="457199"/>
                    </a:lnTo>
                    <a:lnTo>
                      <a:pt x="2025328" y="459316"/>
                    </a:lnTo>
                    <a:lnTo>
                      <a:pt x="2025328" y="457199"/>
                    </a:lnTo>
                    <a:close/>
                  </a:path>
                  <a:path w="3439795" h="1447800">
                    <a:moveTo>
                      <a:pt x="343330" y="431799"/>
                    </a:moveTo>
                    <a:lnTo>
                      <a:pt x="343330" y="457199"/>
                    </a:lnTo>
                    <a:lnTo>
                      <a:pt x="360612" y="444499"/>
                    </a:lnTo>
                    <a:lnTo>
                      <a:pt x="343330" y="431799"/>
                    </a:lnTo>
                    <a:close/>
                  </a:path>
                  <a:path w="3439795" h="1447800">
                    <a:moveTo>
                      <a:pt x="360612" y="444499"/>
                    </a:moveTo>
                    <a:lnTo>
                      <a:pt x="360612" y="457199"/>
                    </a:lnTo>
                    <a:lnTo>
                      <a:pt x="362772" y="457199"/>
                    </a:lnTo>
                    <a:lnTo>
                      <a:pt x="360612" y="444499"/>
                    </a:lnTo>
                    <a:close/>
                  </a:path>
                  <a:path w="3439795" h="1447800">
                    <a:moveTo>
                      <a:pt x="2055571" y="406399"/>
                    </a:moveTo>
                    <a:lnTo>
                      <a:pt x="2055571" y="419099"/>
                    </a:lnTo>
                    <a:lnTo>
                      <a:pt x="2036130" y="444499"/>
                    </a:lnTo>
                    <a:lnTo>
                      <a:pt x="2035409" y="445911"/>
                    </a:lnTo>
                    <a:lnTo>
                      <a:pt x="2046931" y="457199"/>
                    </a:lnTo>
                    <a:lnTo>
                      <a:pt x="2051251" y="444499"/>
                    </a:lnTo>
                    <a:lnTo>
                      <a:pt x="2068443" y="431799"/>
                    </a:lnTo>
                    <a:lnTo>
                      <a:pt x="2070603" y="419099"/>
                    </a:lnTo>
                    <a:lnTo>
                      <a:pt x="2055571" y="406399"/>
                    </a:lnTo>
                    <a:close/>
                  </a:path>
                  <a:path w="3439795" h="1447800">
                    <a:moveTo>
                      <a:pt x="2090045" y="419099"/>
                    </a:moveTo>
                    <a:lnTo>
                      <a:pt x="2087885" y="419099"/>
                    </a:lnTo>
                    <a:lnTo>
                      <a:pt x="2085724" y="431799"/>
                    </a:lnTo>
                    <a:lnTo>
                      <a:pt x="2085724" y="444499"/>
                    </a:lnTo>
                    <a:lnTo>
                      <a:pt x="2083564" y="457199"/>
                    </a:lnTo>
                    <a:lnTo>
                      <a:pt x="2090090" y="457199"/>
                    </a:lnTo>
                    <a:lnTo>
                      <a:pt x="2093224" y="453843"/>
                    </a:lnTo>
                    <a:lnTo>
                      <a:pt x="2090045" y="444499"/>
                    </a:lnTo>
                    <a:lnTo>
                      <a:pt x="2101949" y="444499"/>
                    </a:lnTo>
                    <a:lnTo>
                      <a:pt x="2103006" y="443367"/>
                    </a:lnTo>
                    <a:lnTo>
                      <a:pt x="2103006" y="431799"/>
                    </a:lnTo>
                    <a:lnTo>
                      <a:pt x="2090045" y="431799"/>
                    </a:lnTo>
                    <a:lnTo>
                      <a:pt x="2090045" y="419099"/>
                    </a:lnTo>
                    <a:close/>
                  </a:path>
                  <a:path w="3439795" h="1447800">
                    <a:moveTo>
                      <a:pt x="2103006" y="443367"/>
                    </a:moveTo>
                    <a:lnTo>
                      <a:pt x="2093224" y="453843"/>
                    </a:lnTo>
                    <a:lnTo>
                      <a:pt x="2094365" y="457199"/>
                    </a:lnTo>
                    <a:lnTo>
                      <a:pt x="2100846" y="457199"/>
                    </a:lnTo>
                    <a:lnTo>
                      <a:pt x="2103006" y="444499"/>
                    </a:lnTo>
                    <a:lnTo>
                      <a:pt x="2103006" y="443367"/>
                    </a:lnTo>
                    <a:close/>
                  </a:path>
                  <a:path w="3439795" h="1447800">
                    <a:moveTo>
                      <a:pt x="2101949" y="444499"/>
                    </a:moveTo>
                    <a:lnTo>
                      <a:pt x="2090045" y="444499"/>
                    </a:lnTo>
                    <a:lnTo>
                      <a:pt x="2093224" y="453843"/>
                    </a:lnTo>
                    <a:lnTo>
                      <a:pt x="2101949" y="444499"/>
                    </a:lnTo>
                    <a:close/>
                  </a:path>
                  <a:path w="3439795" h="1447800">
                    <a:moveTo>
                      <a:pt x="360612" y="431799"/>
                    </a:moveTo>
                    <a:lnTo>
                      <a:pt x="343330" y="431799"/>
                    </a:lnTo>
                    <a:lnTo>
                      <a:pt x="360612" y="444499"/>
                    </a:lnTo>
                    <a:lnTo>
                      <a:pt x="360612" y="431799"/>
                    </a:lnTo>
                    <a:close/>
                  </a:path>
                  <a:path w="3439795" h="1447800">
                    <a:moveTo>
                      <a:pt x="347650" y="419099"/>
                    </a:moveTo>
                    <a:lnTo>
                      <a:pt x="347650" y="431799"/>
                    </a:lnTo>
                    <a:lnTo>
                      <a:pt x="360612" y="431799"/>
                    </a:lnTo>
                    <a:lnTo>
                      <a:pt x="360612" y="444499"/>
                    </a:lnTo>
                    <a:lnTo>
                      <a:pt x="362772" y="431799"/>
                    </a:lnTo>
                    <a:lnTo>
                      <a:pt x="347650" y="419099"/>
                    </a:lnTo>
                    <a:close/>
                  </a:path>
                  <a:path w="3439795" h="1447800">
                    <a:moveTo>
                      <a:pt x="418415" y="443229"/>
                    </a:moveTo>
                    <a:lnTo>
                      <a:pt x="416687" y="444499"/>
                    </a:lnTo>
                    <a:lnTo>
                      <a:pt x="418847" y="444499"/>
                    </a:lnTo>
                    <a:lnTo>
                      <a:pt x="418415" y="443229"/>
                    </a:lnTo>
                    <a:close/>
                  </a:path>
                  <a:path w="3439795" h="1447800">
                    <a:moveTo>
                      <a:pt x="433969" y="431799"/>
                    </a:moveTo>
                    <a:lnTo>
                      <a:pt x="418415" y="443229"/>
                    </a:lnTo>
                    <a:lnTo>
                      <a:pt x="418847" y="444499"/>
                    </a:lnTo>
                    <a:lnTo>
                      <a:pt x="433969" y="431799"/>
                    </a:lnTo>
                    <a:close/>
                  </a:path>
                  <a:path w="3439795" h="1447800">
                    <a:moveTo>
                      <a:pt x="433969" y="431799"/>
                    </a:moveTo>
                    <a:lnTo>
                      <a:pt x="414527" y="431799"/>
                    </a:lnTo>
                    <a:lnTo>
                      <a:pt x="418415" y="443229"/>
                    </a:lnTo>
                    <a:lnTo>
                      <a:pt x="433969" y="431799"/>
                    </a:lnTo>
                    <a:close/>
                  </a:path>
                  <a:path w="3439795" h="1447800">
                    <a:moveTo>
                      <a:pt x="351971" y="419099"/>
                    </a:moveTo>
                    <a:lnTo>
                      <a:pt x="347650" y="419099"/>
                    </a:lnTo>
                    <a:lnTo>
                      <a:pt x="362772" y="431799"/>
                    </a:lnTo>
                    <a:lnTo>
                      <a:pt x="362772" y="429683"/>
                    </a:lnTo>
                    <a:lnTo>
                      <a:pt x="351971" y="419099"/>
                    </a:lnTo>
                    <a:close/>
                  </a:path>
                  <a:path w="3439795" h="1447800">
                    <a:moveTo>
                      <a:pt x="362772" y="429683"/>
                    </a:moveTo>
                    <a:lnTo>
                      <a:pt x="362772" y="431799"/>
                    </a:lnTo>
                    <a:lnTo>
                      <a:pt x="364932" y="431799"/>
                    </a:lnTo>
                    <a:lnTo>
                      <a:pt x="362772" y="429683"/>
                    </a:lnTo>
                    <a:close/>
                  </a:path>
                  <a:path w="3439795" h="1447800">
                    <a:moveTo>
                      <a:pt x="362772" y="428171"/>
                    </a:moveTo>
                    <a:lnTo>
                      <a:pt x="362772" y="429683"/>
                    </a:lnTo>
                    <a:lnTo>
                      <a:pt x="364932" y="431799"/>
                    </a:lnTo>
                    <a:lnTo>
                      <a:pt x="365718" y="430645"/>
                    </a:lnTo>
                    <a:lnTo>
                      <a:pt x="362772" y="428171"/>
                    </a:lnTo>
                    <a:close/>
                  </a:path>
                  <a:path w="3439795" h="1447800">
                    <a:moveTo>
                      <a:pt x="365718" y="430645"/>
                    </a:moveTo>
                    <a:lnTo>
                      <a:pt x="364932" y="431799"/>
                    </a:lnTo>
                    <a:lnTo>
                      <a:pt x="367092" y="431799"/>
                    </a:lnTo>
                    <a:lnTo>
                      <a:pt x="365718" y="430645"/>
                    </a:lnTo>
                    <a:close/>
                  </a:path>
                  <a:path w="3439795" h="1447800">
                    <a:moveTo>
                      <a:pt x="368074" y="427181"/>
                    </a:moveTo>
                    <a:lnTo>
                      <a:pt x="365718" y="430645"/>
                    </a:lnTo>
                    <a:lnTo>
                      <a:pt x="367092" y="431799"/>
                    </a:lnTo>
                    <a:lnTo>
                      <a:pt x="369252" y="431799"/>
                    </a:lnTo>
                    <a:lnTo>
                      <a:pt x="368074" y="427181"/>
                    </a:lnTo>
                    <a:close/>
                  </a:path>
                  <a:path w="3439795" h="1447800">
                    <a:moveTo>
                      <a:pt x="373573" y="419099"/>
                    </a:moveTo>
                    <a:lnTo>
                      <a:pt x="368074" y="427181"/>
                    </a:lnTo>
                    <a:lnTo>
                      <a:pt x="369252" y="431799"/>
                    </a:lnTo>
                    <a:lnTo>
                      <a:pt x="373573" y="431799"/>
                    </a:lnTo>
                    <a:lnTo>
                      <a:pt x="373573" y="419099"/>
                    </a:lnTo>
                    <a:close/>
                  </a:path>
                  <a:path w="3439795" h="1447800">
                    <a:moveTo>
                      <a:pt x="414527" y="406399"/>
                    </a:moveTo>
                    <a:lnTo>
                      <a:pt x="410207" y="406399"/>
                    </a:lnTo>
                    <a:lnTo>
                      <a:pt x="410207" y="431799"/>
                    </a:lnTo>
                    <a:lnTo>
                      <a:pt x="427488" y="419099"/>
                    </a:lnTo>
                    <a:lnTo>
                      <a:pt x="425328" y="419099"/>
                    </a:lnTo>
                    <a:lnTo>
                      <a:pt x="425868" y="417512"/>
                    </a:lnTo>
                    <a:lnTo>
                      <a:pt x="414527" y="406399"/>
                    </a:lnTo>
                    <a:close/>
                  </a:path>
                  <a:path w="3439795" h="1447800">
                    <a:moveTo>
                      <a:pt x="427488" y="419099"/>
                    </a:moveTo>
                    <a:lnTo>
                      <a:pt x="410207" y="431799"/>
                    </a:lnTo>
                    <a:lnTo>
                      <a:pt x="427488" y="431799"/>
                    </a:lnTo>
                    <a:lnTo>
                      <a:pt x="427488" y="419099"/>
                    </a:lnTo>
                    <a:close/>
                  </a:path>
                  <a:path w="3439795" h="1447800">
                    <a:moveTo>
                      <a:pt x="427488" y="419099"/>
                    </a:moveTo>
                    <a:lnTo>
                      <a:pt x="427488" y="431799"/>
                    </a:lnTo>
                    <a:lnTo>
                      <a:pt x="429649" y="431799"/>
                    </a:lnTo>
                    <a:lnTo>
                      <a:pt x="427488" y="419099"/>
                    </a:lnTo>
                    <a:close/>
                  </a:path>
                  <a:path w="3439795" h="1447800">
                    <a:moveTo>
                      <a:pt x="2090045" y="419099"/>
                    </a:moveTo>
                    <a:lnTo>
                      <a:pt x="2090045" y="431799"/>
                    </a:lnTo>
                    <a:lnTo>
                      <a:pt x="2103006" y="431799"/>
                    </a:lnTo>
                    <a:lnTo>
                      <a:pt x="2090045" y="419099"/>
                    </a:lnTo>
                    <a:close/>
                  </a:path>
                  <a:path w="3439795" h="1447800">
                    <a:moveTo>
                      <a:pt x="2092205" y="419099"/>
                    </a:moveTo>
                    <a:lnTo>
                      <a:pt x="2090045" y="419099"/>
                    </a:lnTo>
                    <a:lnTo>
                      <a:pt x="2103006" y="431799"/>
                    </a:lnTo>
                    <a:lnTo>
                      <a:pt x="2105166" y="431799"/>
                    </a:lnTo>
                    <a:lnTo>
                      <a:pt x="2092205" y="419099"/>
                    </a:lnTo>
                    <a:close/>
                  </a:path>
                  <a:path w="3439795" h="1447800">
                    <a:moveTo>
                      <a:pt x="2096526" y="419099"/>
                    </a:moveTo>
                    <a:lnTo>
                      <a:pt x="2092205" y="419099"/>
                    </a:lnTo>
                    <a:lnTo>
                      <a:pt x="2105166" y="431799"/>
                    </a:lnTo>
                    <a:lnTo>
                      <a:pt x="2107327" y="431799"/>
                    </a:lnTo>
                    <a:lnTo>
                      <a:pt x="2096526" y="419099"/>
                    </a:lnTo>
                    <a:close/>
                  </a:path>
                  <a:path w="3439795" h="1447800">
                    <a:moveTo>
                      <a:pt x="2100846" y="406399"/>
                    </a:moveTo>
                    <a:lnTo>
                      <a:pt x="2096526" y="419099"/>
                    </a:lnTo>
                    <a:lnTo>
                      <a:pt x="2107327" y="431799"/>
                    </a:lnTo>
                    <a:lnTo>
                      <a:pt x="2098686" y="419099"/>
                    </a:lnTo>
                    <a:lnTo>
                      <a:pt x="2109487" y="419099"/>
                    </a:lnTo>
                    <a:lnTo>
                      <a:pt x="2100846" y="406399"/>
                    </a:lnTo>
                    <a:close/>
                  </a:path>
                  <a:path w="3439795" h="1447800">
                    <a:moveTo>
                      <a:pt x="2107327" y="419099"/>
                    </a:moveTo>
                    <a:lnTo>
                      <a:pt x="2098686" y="419099"/>
                    </a:lnTo>
                    <a:lnTo>
                      <a:pt x="2107327" y="431799"/>
                    </a:lnTo>
                    <a:lnTo>
                      <a:pt x="2107327" y="419099"/>
                    </a:lnTo>
                    <a:close/>
                  </a:path>
                  <a:path w="3439795" h="1447800">
                    <a:moveTo>
                      <a:pt x="2100846" y="406399"/>
                    </a:moveTo>
                    <a:lnTo>
                      <a:pt x="2109487" y="419099"/>
                    </a:lnTo>
                    <a:lnTo>
                      <a:pt x="2107327" y="419099"/>
                    </a:lnTo>
                    <a:lnTo>
                      <a:pt x="2107327" y="431799"/>
                    </a:lnTo>
                    <a:lnTo>
                      <a:pt x="2111647" y="431799"/>
                    </a:lnTo>
                    <a:lnTo>
                      <a:pt x="2115968" y="419099"/>
                    </a:lnTo>
                    <a:lnTo>
                      <a:pt x="2100846" y="406399"/>
                    </a:lnTo>
                    <a:close/>
                  </a:path>
                  <a:path w="3439795" h="1447800">
                    <a:moveTo>
                      <a:pt x="362772" y="406399"/>
                    </a:moveTo>
                    <a:lnTo>
                      <a:pt x="362772" y="428171"/>
                    </a:lnTo>
                    <a:lnTo>
                      <a:pt x="365718" y="430645"/>
                    </a:lnTo>
                    <a:lnTo>
                      <a:pt x="368074" y="427181"/>
                    </a:lnTo>
                    <a:lnTo>
                      <a:pt x="362772" y="406399"/>
                    </a:lnTo>
                    <a:close/>
                  </a:path>
                  <a:path w="3439795" h="1447800">
                    <a:moveTo>
                      <a:pt x="351971" y="419099"/>
                    </a:moveTo>
                    <a:lnTo>
                      <a:pt x="362772" y="429683"/>
                    </a:lnTo>
                    <a:lnTo>
                      <a:pt x="362772" y="428171"/>
                    </a:lnTo>
                    <a:lnTo>
                      <a:pt x="351971" y="419099"/>
                    </a:lnTo>
                    <a:close/>
                  </a:path>
                  <a:path w="3439795" h="1447800">
                    <a:moveTo>
                      <a:pt x="362772" y="406399"/>
                    </a:moveTo>
                    <a:lnTo>
                      <a:pt x="356291" y="419099"/>
                    </a:lnTo>
                    <a:lnTo>
                      <a:pt x="351971" y="419099"/>
                    </a:lnTo>
                    <a:lnTo>
                      <a:pt x="362772" y="428171"/>
                    </a:lnTo>
                    <a:lnTo>
                      <a:pt x="362772" y="406399"/>
                    </a:lnTo>
                    <a:close/>
                  </a:path>
                  <a:path w="3439795" h="1447800">
                    <a:moveTo>
                      <a:pt x="364932" y="406399"/>
                    </a:moveTo>
                    <a:lnTo>
                      <a:pt x="362772" y="406399"/>
                    </a:lnTo>
                    <a:lnTo>
                      <a:pt x="368074" y="427181"/>
                    </a:lnTo>
                    <a:lnTo>
                      <a:pt x="373573" y="419099"/>
                    </a:lnTo>
                    <a:lnTo>
                      <a:pt x="364932" y="406399"/>
                    </a:lnTo>
                    <a:close/>
                  </a:path>
                  <a:path w="3439795" h="1447800">
                    <a:moveTo>
                      <a:pt x="373573" y="393699"/>
                    </a:moveTo>
                    <a:lnTo>
                      <a:pt x="354131" y="393699"/>
                    </a:lnTo>
                    <a:lnTo>
                      <a:pt x="354131" y="419099"/>
                    </a:lnTo>
                    <a:lnTo>
                      <a:pt x="356291" y="419099"/>
                    </a:lnTo>
                    <a:lnTo>
                      <a:pt x="358451" y="406399"/>
                    </a:lnTo>
                    <a:lnTo>
                      <a:pt x="373573" y="406399"/>
                    </a:lnTo>
                    <a:lnTo>
                      <a:pt x="373573" y="393699"/>
                    </a:lnTo>
                    <a:close/>
                  </a:path>
                  <a:path w="3439795" h="1447800">
                    <a:moveTo>
                      <a:pt x="362772" y="406399"/>
                    </a:moveTo>
                    <a:lnTo>
                      <a:pt x="358451" y="406399"/>
                    </a:lnTo>
                    <a:lnTo>
                      <a:pt x="356291" y="419099"/>
                    </a:lnTo>
                    <a:lnTo>
                      <a:pt x="362772" y="406399"/>
                    </a:lnTo>
                    <a:close/>
                  </a:path>
                  <a:path w="3439795" h="1447800">
                    <a:moveTo>
                      <a:pt x="373573" y="406399"/>
                    </a:moveTo>
                    <a:lnTo>
                      <a:pt x="364932" y="406399"/>
                    </a:lnTo>
                    <a:lnTo>
                      <a:pt x="373573" y="419099"/>
                    </a:lnTo>
                    <a:lnTo>
                      <a:pt x="373573" y="406399"/>
                    </a:lnTo>
                    <a:close/>
                  </a:path>
                  <a:path w="3439795" h="1447800">
                    <a:moveTo>
                      <a:pt x="423168" y="393699"/>
                    </a:moveTo>
                    <a:lnTo>
                      <a:pt x="416687" y="406399"/>
                    </a:lnTo>
                    <a:lnTo>
                      <a:pt x="429649" y="406399"/>
                    </a:lnTo>
                    <a:lnTo>
                      <a:pt x="425868" y="417512"/>
                    </a:lnTo>
                    <a:lnTo>
                      <a:pt x="427488" y="419099"/>
                    </a:lnTo>
                    <a:lnTo>
                      <a:pt x="433969" y="406399"/>
                    </a:lnTo>
                    <a:lnTo>
                      <a:pt x="423168" y="393699"/>
                    </a:lnTo>
                    <a:close/>
                  </a:path>
                  <a:path w="3439795" h="1447800">
                    <a:moveTo>
                      <a:pt x="2057732" y="406399"/>
                    </a:moveTo>
                    <a:lnTo>
                      <a:pt x="2055571" y="406399"/>
                    </a:lnTo>
                    <a:lnTo>
                      <a:pt x="2070603" y="419099"/>
                    </a:lnTo>
                    <a:lnTo>
                      <a:pt x="2072763" y="419099"/>
                    </a:lnTo>
                    <a:lnTo>
                      <a:pt x="2057732" y="406399"/>
                    </a:lnTo>
                    <a:close/>
                  </a:path>
                  <a:path w="3439795" h="1447800">
                    <a:moveTo>
                      <a:pt x="2062052" y="406399"/>
                    </a:moveTo>
                    <a:lnTo>
                      <a:pt x="2057732" y="406399"/>
                    </a:lnTo>
                    <a:lnTo>
                      <a:pt x="2072763" y="419099"/>
                    </a:lnTo>
                    <a:lnTo>
                      <a:pt x="2062052" y="406399"/>
                    </a:lnTo>
                    <a:close/>
                  </a:path>
                  <a:path w="3439795" h="1447800">
                    <a:moveTo>
                      <a:pt x="2063971" y="395117"/>
                    </a:moveTo>
                    <a:lnTo>
                      <a:pt x="2062052" y="406399"/>
                    </a:lnTo>
                    <a:lnTo>
                      <a:pt x="2072763" y="419099"/>
                    </a:lnTo>
                    <a:lnTo>
                      <a:pt x="2074923" y="406399"/>
                    </a:lnTo>
                    <a:lnTo>
                      <a:pt x="2079244" y="406399"/>
                    </a:lnTo>
                    <a:lnTo>
                      <a:pt x="2063971" y="395117"/>
                    </a:lnTo>
                    <a:close/>
                  </a:path>
                  <a:path w="3439795" h="1447800">
                    <a:moveTo>
                      <a:pt x="2079244" y="406399"/>
                    </a:moveTo>
                    <a:lnTo>
                      <a:pt x="2074923" y="406399"/>
                    </a:lnTo>
                    <a:lnTo>
                      <a:pt x="2072763" y="419099"/>
                    </a:lnTo>
                    <a:lnTo>
                      <a:pt x="2077084" y="419099"/>
                    </a:lnTo>
                    <a:lnTo>
                      <a:pt x="2079244" y="406399"/>
                    </a:lnTo>
                    <a:close/>
                  </a:path>
                  <a:path w="3439795" h="1447800">
                    <a:moveTo>
                      <a:pt x="2115968" y="406399"/>
                    </a:moveTo>
                    <a:lnTo>
                      <a:pt x="2100846" y="406399"/>
                    </a:lnTo>
                    <a:lnTo>
                      <a:pt x="2115968" y="419099"/>
                    </a:lnTo>
                    <a:lnTo>
                      <a:pt x="2118128" y="419099"/>
                    </a:lnTo>
                    <a:lnTo>
                      <a:pt x="2115968" y="406399"/>
                    </a:lnTo>
                    <a:close/>
                  </a:path>
                  <a:path w="3439795" h="1447800">
                    <a:moveTo>
                      <a:pt x="2118128" y="406399"/>
                    </a:moveTo>
                    <a:lnTo>
                      <a:pt x="2115968" y="406399"/>
                    </a:lnTo>
                    <a:lnTo>
                      <a:pt x="2118128" y="419099"/>
                    </a:lnTo>
                    <a:lnTo>
                      <a:pt x="2118128" y="406399"/>
                    </a:lnTo>
                    <a:close/>
                  </a:path>
                  <a:path w="3439795" h="1447800">
                    <a:moveTo>
                      <a:pt x="2122448" y="406399"/>
                    </a:moveTo>
                    <a:lnTo>
                      <a:pt x="2118128" y="406399"/>
                    </a:lnTo>
                    <a:lnTo>
                      <a:pt x="2118128" y="419099"/>
                    </a:lnTo>
                    <a:lnTo>
                      <a:pt x="2124608" y="419099"/>
                    </a:lnTo>
                    <a:lnTo>
                      <a:pt x="2122448" y="406399"/>
                    </a:lnTo>
                    <a:close/>
                  </a:path>
                  <a:path w="3439795" h="1447800">
                    <a:moveTo>
                      <a:pt x="2122448" y="406399"/>
                    </a:moveTo>
                    <a:lnTo>
                      <a:pt x="2124608" y="419099"/>
                    </a:lnTo>
                    <a:lnTo>
                      <a:pt x="2126769" y="419099"/>
                    </a:lnTo>
                    <a:lnTo>
                      <a:pt x="2122448" y="406399"/>
                    </a:lnTo>
                    <a:close/>
                  </a:path>
                  <a:path w="3439795" h="1447800">
                    <a:moveTo>
                      <a:pt x="2148371" y="406399"/>
                    </a:moveTo>
                    <a:lnTo>
                      <a:pt x="2122448" y="406399"/>
                    </a:lnTo>
                    <a:lnTo>
                      <a:pt x="2126769" y="419099"/>
                    </a:lnTo>
                    <a:lnTo>
                      <a:pt x="2148371" y="419099"/>
                    </a:lnTo>
                    <a:lnTo>
                      <a:pt x="2148371" y="406399"/>
                    </a:lnTo>
                    <a:close/>
                  </a:path>
                  <a:path w="3439795" h="1447800">
                    <a:moveTo>
                      <a:pt x="2167813" y="406399"/>
                    </a:moveTo>
                    <a:lnTo>
                      <a:pt x="2148371" y="406399"/>
                    </a:lnTo>
                    <a:lnTo>
                      <a:pt x="2148371" y="419099"/>
                    </a:lnTo>
                    <a:lnTo>
                      <a:pt x="2172133" y="419099"/>
                    </a:lnTo>
                    <a:lnTo>
                      <a:pt x="2167813" y="406399"/>
                    </a:lnTo>
                    <a:close/>
                  </a:path>
                  <a:path w="3439795" h="1447800">
                    <a:moveTo>
                      <a:pt x="2172133" y="406399"/>
                    </a:moveTo>
                    <a:lnTo>
                      <a:pt x="2167813" y="406399"/>
                    </a:lnTo>
                    <a:lnTo>
                      <a:pt x="2172133" y="419099"/>
                    </a:lnTo>
                    <a:lnTo>
                      <a:pt x="2172133" y="406399"/>
                    </a:lnTo>
                    <a:close/>
                  </a:path>
                  <a:path w="3439795" h="1447800">
                    <a:moveTo>
                      <a:pt x="2172133" y="406399"/>
                    </a:moveTo>
                    <a:lnTo>
                      <a:pt x="2172133" y="419099"/>
                    </a:lnTo>
                    <a:lnTo>
                      <a:pt x="2176454" y="419099"/>
                    </a:lnTo>
                    <a:lnTo>
                      <a:pt x="2172133" y="406399"/>
                    </a:lnTo>
                    <a:close/>
                  </a:path>
                  <a:path w="3439795" h="1447800">
                    <a:moveTo>
                      <a:pt x="2172133" y="406399"/>
                    </a:moveTo>
                    <a:lnTo>
                      <a:pt x="2176454" y="419099"/>
                    </a:lnTo>
                    <a:lnTo>
                      <a:pt x="2178305" y="415471"/>
                    </a:lnTo>
                    <a:lnTo>
                      <a:pt x="2172133" y="406399"/>
                    </a:lnTo>
                    <a:close/>
                  </a:path>
                  <a:path w="3439795" h="1447800">
                    <a:moveTo>
                      <a:pt x="2178305" y="415471"/>
                    </a:moveTo>
                    <a:lnTo>
                      <a:pt x="2176454" y="419099"/>
                    </a:lnTo>
                    <a:lnTo>
                      <a:pt x="2178614" y="419099"/>
                    </a:lnTo>
                    <a:lnTo>
                      <a:pt x="2178614" y="415924"/>
                    </a:lnTo>
                    <a:lnTo>
                      <a:pt x="2178305" y="415471"/>
                    </a:lnTo>
                    <a:close/>
                  </a:path>
                  <a:path w="3439795" h="1447800">
                    <a:moveTo>
                      <a:pt x="2178614" y="415924"/>
                    </a:moveTo>
                    <a:lnTo>
                      <a:pt x="2178614" y="419099"/>
                    </a:lnTo>
                    <a:lnTo>
                      <a:pt x="2179540" y="417285"/>
                    </a:lnTo>
                    <a:lnTo>
                      <a:pt x="2178614" y="415924"/>
                    </a:lnTo>
                    <a:close/>
                  </a:path>
                  <a:path w="3439795" h="1447800">
                    <a:moveTo>
                      <a:pt x="2179540" y="417285"/>
                    </a:moveTo>
                    <a:lnTo>
                      <a:pt x="2178614" y="419099"/>
                    </a:lnTo>
                    <a:lnTo>
                      <a:pt x="2179910" y="417829"/>
                    </a:lnTo>
                    <a:lnTo>
                      <a:pt x="2179540" y="417285"/>
                    </a:lnTo>
                    <a:close/>
                  </a:path>
                  <a:path w="3439795" h="1447800">
                    <a:moveTo>
                      <a:pt x="2179910" y="417829"/>
                    </a:moveTo>
                    <a:lnTo>
                      <a:pt x="2178614" y="419099"/>
                    </a:lnTo>
                    <a:lnTo>
                      <a:pt x="2180774" y="419099"/>
                    </a:lnTo>
                    <a:lnTo>
                      <a:pt x="2179910" y="417829"/>
                    </a:lnTo>
                    <a:close/>
                  </a:path>
                  <a:path w="3439795" h="1447800">
                    <a:moveTo>
                      <a:pt x="2182934" y="414866"/>
                    </a:moveTo>
                    <a:lnTo>
                      <a:pt x="2179910" y="417829"/>
                    </a:lnTo>
                    <a:lnTo>
                      <a:pt x="2180774" y="419099"/>
                    </a:lnTo>
                    <a:lnTo>
                      <a:pt x="2182934" y="419099"/>
                    </a:lnTo>
                    <a:lnTo>
                      <a:pt x="2182934" y="414866"/>
                    </a:lnTo>
                    <a:close/>
                  </a:path>
                  <a:path w="3439795" h="1447800">
                    <a:moveTo>
                      <a:pt x="2191575" y="380999"/>
                    </a:moveTo>
                    <a:lnTo>
                      <a:pt x="2191575" y="406399"/>
                    </a:lnTo>
                    <a:lnTo>
                      <a:pt x="2182934" y="414866"/>
                    </a:lnTo>
                    <a:lnTo>
                      <a:pt x="2182934" y="419099"/>
                    </a:lnTo>
                    <a:lnTo>
                      <a:pt x="2195896" y="419099"/>
                    </a:lnTo>
                    <a:lnTo>
                      <a:pt x="2195896" y="406399"/>
                    </a:lnTo>
                    <a:lnTo>
                      <a:pt x="2204536" y="406399"/>
                    </a:lnTo>
                    <a:lnTo>
                      <a:pt x="2193735" y="393699"/>
                    </a:lnTo>
                    <a:lnTo>
                      <a:pt x="2198056" y="388619"/>
                    </a:lnTo>
                    <a:lnTo>
                      <a:pt x="2191575" y="380999"/>
                    </a:lnTo>
                    <a:close/>
                  </a:path>
                  <a:path w="3439795" h="1447800">
                    <a:moveTo>
                      <a:pt x="2204536" y="406399"/>
                    </a:moveTo>
                    <a:lnTo>
                      <a:pt x="2195896" y="406399"/>
                    </a:lnTo>
                    <a:lnTo>
                      <a:pt x="2195896" y="419099"/>
                    </a:lnTo>
                    <a:lnTo>
                      <a:pt x="2204536" y="419099"/>
                    </a:lnTo>
                    <a:lnTo>
                      <a:pt x="2204536" y="406399"/>
                    </a:lnTo>
                    <a:close/>
                  </a:path>
                  <a:path w="3439795" h="1447800">
                    <a:moveTo>
                      <a:pt x="2213177" y="406399"/>
                    </a:moveTo>
                    <a:lnTo>
                      <a:pt x="2204536" y="406399"/>
                    </a:lnTo>
                    <a:lnTo>
                      <a:pt x="2204536" y="419099"/>
                    </a:lnTo>
                    <a:lnTo>
                      <a:pt x="2217498" y="419099"/>
                    </a:lnTo>
                    <a:lnTo>
                      <a:pt x="2213177" y="406399"/>
                    </a:lnTo>
                    <a:close/>
                  </a:path>
                  <a:path w="3439795" h="1447800">
                    <a:moveTo>
                      <a:pt x="2221818" y="393699"/>
                    </a:moveTo>
                    <a:lnTo>
                      <a:pt x="2213177" y="406399"/>
                    </a:lnTo>
                    <a:lnTo>
                      <a:pt x="2217498" y="419099"/>
                    </a:lnTo>
                    <a:lnTo>
                      <a:pt x="2223978" y="419099"/>
                    </a:lnTo>
                    <a:lnTo>
                      <a:pt x="2217498" y="406399"/>
                    </a:lnTo>
                    <a:lnTo>
                      <a:pt x="2221818" y="393699"/>
                    </a:lnTo>
                    <a:close/>
                  </a:path>
                  <a:path w="3439795" h="1447800">
                    <a:moveTo>
                      <a:pt x="2221818" y="393699"/>
                    </a:moveTo>
                    <a:lnTo>
                      <a:pt x="2217498" y="406399"/>
                    </a:lnTo>
                    <a:lnTo>
                      <a:pt x="2223978" y="419099"/>
                    </a:lnTo>
                    <a:lnTo>
                      <a:pt x="2222898" y="406399"/>
                    </a:lnTo>
                    <a:lnTo>
                      <a:pt x="2219658" y="406399"/>
                    </a:lnTo>
                    <a:lnTo>
                      <a:pt x="2221818" y="393699"/>
                    </a:lnTo>
                    <a:close/>
                  </a:path>
                  <a:path w="3439795" h="1447800">
                    <a:moveTo>
                      <a:pt x="2221818" y="393699"/>
                    </a:moveTo>
                    <a:lnTo>
                      <a:pt x="2223978" y="419099"/>
                    </a:lnTo>
                    <a:lnTo>
                      <a:pt x="2228299" y="419099"/>
                    </a:lnTo>
                    <a:lnTo>
                      <a:pt x="2232619" y="406399"/>
                    </a:lnTo>
                    <a:lnTo>
                      <a:pt x="2221818" y="393699"/>
                    </a:lnTo>
                    <a:close/>
                  </a:path>
                  <a:path w="3439795" h="1447800">
                    <a:moveTo>
                      <a:pt x="2318938" y="368299"/>
                    </a:moveTo>
                    <a:lnTo>
                      <a:pt x="2310297" y="393699"/>
                    </a:lnTo>
                    <a:lnTo>
                      <a:pt x="2297336" y="406399"/>
                    </a:lnTo>
                    <a:lnTo>
                      <a:pt x="2314617" y="419099"/>
                    </a:lnTo>
                    <a:lnTo>
                      <a:pt x="2318938" y="393699"/>
                    </a:lnTo>
                    <a:lnTo>
                      <a:pt x="2316778" y="393699"/>
                    </a:lnTo>
                    <a:lnTo>
                      <a:pt x="2327579" y="380999"/>
                    </a:lnTo>
                    <a:lnTo>
                      <a:pt x="2318938" y="368299"/>
                    </a:lnTo>
                    <a:close/>
                  </a:path>
                  <a:path w="3439795" h="1447800">
                    <a:moveTo>
                      <a:pt x="2321098" y="393699"/>
                    </a:moveTo>
                    <a:lnTo>
                      <a:pt x="2318938" y="393699"/>
                    </a:lnTo>
                    <a:lnTo>
                      <a:pt x="2314617" y="419099"/>
                    </a:lnTo>
                    <a:lnTo>
                      <a:pt x="2321098" y="393699"/>
                    </a:lnTo>
                    <a:close/>
                  </a:path>
                  <a:path w="3439795" h="1447800">
                    <a:moveTo>
                      <a:pt x="2327579" y="393699"/>
                    </a:moveTo>
                    <a:lnTo>
                      <a:pt x="2321098" y="393699"/>
                    </a:lnTo>
                    <a:lnTo>
                      <a:pt x="2314617" y="419099"/>
                    </a:lnTo>
                    <a:lnTo>
                      <a:pt x="2325418" y="419099"/>
                    </a:lnTo>
                    <a:lnTo>
                      <a:pt x="2328659" y="406399"/>
                    </a:lnTo>
                    <a:lnTo>
                      <a:pt x="2327579" y="406399"/>
                    </a:lnTo>
                    <a:lnTo>
                      <a:pt x="2327579" y="393699"/>
                    </a:lnTo>
                    <a:close/>
                  </a:path>
                  <a:path w="3439795" h="1447800">
                    <a:moveTo>
                      <a:pt x="2329307" y="403859"/>
                    </a:moveTo>
                    <a:lnTo>
                      <a:pt x="2325418" y="419099"/>
                    </a:lnTo>
                    <a:lnTo>
                      <a:pt x="2329739" y="419099"/>
                    </a:lnTo>
                    <a:lnTo>
                      <a:pt x="2330819" y="406399"/>
                    </a:lnTo>
                    <a:lnTo>
                      <a:pt x="2329739" y="406399"/>
                    </a:lnTo>
                    <a:lnTo>
                      <a:pt x="2329307" y="403859"/>
                    </a:lnTo>
                    <a:close/>
                  </a:path>
                  <a:path w="3439795" h="1447800">
                    <a:moveTo>
                      <a:pt x="2335139" y="398462"/>
                    </a:moveTo>
                    <a:lnTo>
                      <a:pt x="2330973" y="404585"/>
                    </a:lnTo>
                    <a:lnTo>
                      <a:pt x="2329739" y="419099"/>
                    </a:lnTo>
                    <a:lnTo>
                      <a:pt x="2340540" y="406399"/>
                    </a:lnTo>
                    <a:lnTo>
                      <a:pt x="2335139" y="398462"/>
                    </a:lnTo>
                    <a:close/>
                  </a:path>
                  <a:path w="3439795" h="1447800">
                    <a:moveTo>
                      <a:pt x="2340540" y="406399"/>
                    </a:moveTo>
                    <a:lnTo>
                      <a:pt x="2329739" y="419099"/>
                    </a:lnTo>
                    <a:lnTo>
                      <a:pt x="2331899" y="419099"/>
                    </a:lnTo>
                    <a:lnTo>
                      <a:pt x="2340540" y="406399"/>
                    </a:lnTo>
                    <a:close/>
                  </a:path>
                  <a:path w="3439795" h="1447800">
                    <a:moveTo>
                      <a:pt x="2336220" y="380999"/>
                    </a:moveTo>
                    <a:lnTo>
                      <a:pt x="2334226" y="388815"/>
                    </a:lnTo>
                    <a:lnTo>
                      <a:pt x="2338380" y="393699"/>
                    </a:lnTo>
                    <a:lnTo>
                      <a:pt x="2335139" y="398462"/>
                    </a:lnTo>
                    <a:lnTo>
                      <a:pt x="2340540" y="406399"/>
                    </a:lnTo>
                    <a:lnTo>
                      <a:pt x="2331899" y="419099"/>
                    </a:lnTo>
                    <a:lnTo>
                      <a:pt x="2344860" y="406399"/>
                    </a:lnTo>
                    <a:lnTo>
                      <a:pt x="2342700" y="406399"/>
                    </a:lnTo>
                    <a:lnTo>
                      <a:pt x="2347021" y="393699"/>
                    </a:lnTo>
                    <a:lnTo>
                      <a:pt x="2349181" y="393699"/>
                    </a:lnTo>
                    <a:lnTo>
                      <a:pt x="2336220" y="380999"/>
                    </a:lnTo>
                    <a:close/>
                  </a:path>
                  <a:path w="3439795" h="1447800">
                    <a:moveTo>
                      <a:pt x="2351341" y="393699"/>
                    </a:moveTo>
                    <a:lnTo>
                      <a:pt x="2349181" y="393699"/>
                    </a:lnTo>
                    <a:lnTo>
                      <a:pt x="2342700" y="406399"/>
                    </a:lnTo>
                    <a:lnTo>
                      <a:pt x="2344860" y="406399"/>
                    </a:lnTo>
                    <a:lnTo>
                      <a:pt x="2331899" y="419099"/>
                    </a:lnTo>
                    <a:lnTo>
                      <a:pt x="2347021" y="419099"/>
                    </a:lnTo>
                    <a:lnTo>
                      <a:pt x="2351341" y="406399"/>
                    </a:lnTo>
                    <a:lnTo>
                      <a:pt x="2351341" y="393699"/>
                    </a:lnTo>
                    <a:close/>
                  </a:path>
                  <a:path w="3439795" h="1447800">
                    <a:moveTo>
                      <a:pt x="2351341" y="406399"/>
                    </a:moveTo>
                    <a:lnTo>
                      <a:pt x="2347021" y="419099"/>
                    </a:lnTo>
                    <a:lnTo>
                      <a:pt x="2349181" y="419099"/>
                    </a:lnTo>
                    <a:lnTo>
                      <a:pt x="2351341" y="406399"/>
                    </a:lnTo>
                    <a:close/>
                  </a:path>
                  <a:path w="3439795" h="1447800">
                    <a:moveTo>
                      <a:pt x="2364302" y="393699"/>
                    </a:moveTo>
                    <a:lnTo>
                      <a:pt x="2353501" y="393699"/>
                    </a:lnTo>
                    <a:lnTo>
                      <a:pt x="2349181" y="419099"/>
                    </a:lnTo>
                    <a:lnTo>
                      <a:pt x="2353501" y="419099"/>
                    </a:lnTo>
                    <a:lnTo>
                      <a:pt x="2355662" y="406399"/>
                    </a:lnTo>
                    <a:lnTo>
                      <a:pt x="2366463" y="406399"/>
                    </a:lnTo>
                    <a:lnTo>
                      <a:pt x="2364302" y="393699"/>
                    </a:lnTo>
                    <a:close/>
                  </a:path>
                  <a:path w="3439795" h="1447800">
                    <a:moveTo>
                      <a:pt x="2357822" y="406399"/>
                    </a:moveTo>
                    <a:lnTo>
                      <a:pt x="2355662" y="406399"/>
                    </a:lnTo>
                    <a:lnTo>
                      <a:pt x="2353501" y="419099"/>
                    </a:lnTo>
                    <a:lnTo>
                      <a:pt x="2357822" y="406399"/>
                    </a:lnTo>
                    <a:close/>
                  </a:path>
                  <a:path w="3439795" h="1447800">
                    <a:moveTo>
                      <a:pt x="2366463" y="406399"/>
                    </a:moveTo>
                    <a:lnTo>
                      <a:pt x="2357822" y="406399"/>
                    </a:lnTo>
                    <a:lnTo>
                      <a:pt x="2353501" y="419099"/>
                    </a:lnTo>
                    <a:lnTo>
                      <a:pt x="2366463" y="419099"/>
                    </a:lnTo>
                    <a:lnTo>
                      <a:pt x="2366463" y="406399"/>
                    </a:lnTo>
                    <a:close/>
                  </a:path>
                  <a:path w="3439795" h="1447800">
                    <a:moveTo>
                      <a:pt x="2390225" y="393699"/>
                    </a:moveTo>
                    <a:lnTo>
                      <a:pt x="2366463" y="393699"/>
                    </a:lnTo>
                    <a:lnTo>
                      <a:pt x="2366463" y="419099"/>
                    </a:lnTo>
                    <a:lnTo>
                      <a:pt x="2375103" y="419099"/>
                    </a:lnTo>
                    <a:lnTo>
                      <a:pt x="2370783" y="406399"/>
                    </a:lnTo>
                    <a:lnTo>
                      <a:pt x="2377264" y="406399"/>
                    </a:lnTo>
                    <a:lnTo>
                      <a:pt x="2390705" y="395111"/>
                    </a:lnTo>
                    <a:lnTo>
                      <a:pt x="2390723" y="394676"/>
                    </a:lnTo>
                    <a:lnTo>
                      <a:pt x="2390225" y="393699"/>
                    </a:lnTo>
                    <a:close/>
                  </a:path>
                  <a:path w="3439795" h="1447800">
                    <a:moveTo>
                      <a:pt x="2370783" y="406399"/>
                    </a:moveTo>
                    <a:lnTo>
                      <a:pt x="2375103" y="419099"/>
                    </a:lnTo>
                    <a:lnTo>
                      <a:pt x="2375103" y="411479"/>
                    </a:lnTo>
                    <a:lnTo>
                      <a:pt x="2370783" y="406399"/>
                    </a:lnTo>
                    <a:close/>
                  </a:path>
                  <a:path w="3439795" h="1447800">
                    <a:moveTo>
                      <a:pt x="2375103" y="411479"/>
                    </a:moveTo>
                    <a:lnTo>
                      <a:pt x="2375103" y="419099"/>
                    </a:lnTo>
                    <a:lnTo>
                      <a:pt x="2381584" y="419099"/>
                    </a:lnTo>
                    <a:lnTo>
                      <a:pt x="2375103" y="411479"/>
                    </a:lnTo>
                    <a:close/>
                  </a:path>
                  <a:path w="3439795" h="1447800">
                    <a:moveTo>
                      <a:pt x="2375103" y="408939"/>
                    </a:moveTo>
                    <a:lnTo>
                      <a:pt x="2375103" y="411479"/>
                    </a:lnTo>
                    <a:lnTo>
                      <a:pt x="2381584" y="419099"/>
                    </a:lnTo>
                    <a:lnTo>
                      <a:pt x="2378344" y="412749"/>
                    </a:lnTo>
                    <a:lnTo>
                      <a:pt x="2375103" y="408939"/>
                    </a:lnTo>
                    <a:close/>
                  </a:path>
                  <a:path w="3439795" h="1447800">
                    <a:moveTo>
                      <a:pt x="2378344" y="412749"/>
                    </a:moveTo>
                    <a:lnTo>
                      <a:pt x="2381584" y="419099"/>
                    </a:lnTo>
                    <a:lnTo>
                      <a:pt x="2383744" y="419099"/>
                    </a:lnTo>
                    <a:lnTo>
                      <a:pt x="2378344" y="412749"/>
                    </a:lnTo>
                    <a:close/>
                  </a:path>
                  <a:path w="3439795" h="1447800">
                    <a:moveTo>
                      <a:pt x="2376724" y="409574"/>
                    </a:moveTo>
                    <a:lnTo>
                      <a:pt x="2378344" y="412749"/>
                    </a:lnTo>
                    <a:lnTo>
                      <a:pt x="2383744" y="419099"/>
                    </a:lnTo>
                    <a:lnTo>
                      <a:pt x="2388065" y="419099"/>
                    </a:lnTo>
                    <a:lnTo>
                      <a:pt x="2376724" y="409574"/>
                    </a:lnTo>
                    <a:close/>
                  </a:path>
                  <a:path w="3439795" h="1447800">
                    <a:moveTo>
                      <a:pt x="2390873" y="394969"/>
                    </a:moveTo>
                    <a:lnTo>
                      <a:pt x="2377264" y="406399"/>
                    </a:lnTo>
                    <a:lnTo>
                      <a:pt x="2375103" y="406399"/>
                    </a:lnTo>
                    <a:lnTo>
                      <a:pt x="2376724" y="409574"/>
                    </a:lnTo>
                    <a:lnTo>
                      <a:pt x="2388065" y="419099"/>
                    </a:lnTo>
                    <a:lnTo>
                      <a:pt x="2396706" y="419099"/>
                    </a:lnTo>
                    <a:lnTo>
                      <a:pt x="2393465" y="400049"/>
                    </a:lnTo>
                    <a:lnTo>
                      <a:pt x="2390873" y="394969"/>
                    </a:lnTo>
                    <a:close/>
                  </a:path>
                  <a:path w="3439795" h="1447800">
                    <a:moveTo>
                      <a:pt x="2393465" y="400049"/>
                    </a:moveTo>
                    <a:lnTo>
                      <a:pt x="2396706" y="419099"/>
                    </a:lnTo>
                    <a:lnTo>
                      <a:pt x="2424788" y="406399"/>
                    </a:lnTo>
                    <a:lnTo>
                      <a:pt x="2396706" y="406399"/>
                    </a:lnTo>
                    <a:lnTo>
                      <a:pt x="2393465" y="400049"/>
                    </a:lnTo>
                    <a:close/>
                  </a:path>
                  <a:path w="3439795" h="1447800">
                    <a:moveTo>
                      <a:pt x="3180504" y="406399"/>
                    </a:moveTo>
                    <a:lnTo>
                      <a:pt x="3184825" y="419099"/>
                    </a:lnTo>
                    <a:lnTo>
                      <a:pt x="3186985" y="419099"/>
                    </a:lnTo>
                    <a:lnTo>
                      <a:pt x="3180504" y="406399"/>
                    </a:lnTo>
                    <a:close/>
                  </a:path>
                  <a:path w="3439795" h="1447800">
                    <a:moveTo>
                      <a:pt x="3191650" y="395402"/>
                    </a:moveTo>
                    <a:lnTo>
                      <a:pt x="3180504" y="406399"/>
                    </a:lnTo>
                    <a:lnTo>
                      <a:pt x="3186985" y="419099"/>
                    </a:lnTo>
                    <a:lnTo>
                      <a:pt x="3193375" y="419099"/>
                    </a:lnTo>
                    <a:lnTo>
                      <a:pt x="3193375" y="402166"/>
                    </a:lnTo>
                    <a:lnTo>
                      <a:pt x="3191650" y="395402"/>
                    </a:lnTo>
                    <a:close/>
                  </a:path>
                  <a:path w="3439795" h="1447800">
                    <a:moveTo>
                      <a:pt x="3193375" y="402166"/>
                    </a:moveTo>
                    <a:lnTo>
                      <a:pt x="3193375" y="419099"/>
                    </a:lnTo>
                    <a:lnTo>
                      <a:pt x="3197696" y="419099"/>
                    </a:lnTo>
                    <a:lnTo>
                      <a:pt x="3193375" y="402166"/>
                    </a:lnTo>
                    <a:close/>
                  </a:path>
                  <a:path w="3439795" h="1447800">
                    <a:moveTo>
                      <a:pt x="3193375" y="393699"/>
                    </a:moveTo>
                    <a:lnTo>
                      <a:pt x="3193375" y="402166"/>
                    </a:lnTo>
                    <a:lnTo>
                      <a:pt x="3197696" y="419099"/>
                    </a:lnTo>
                    <a:lnTo>
                      <a:pt x="3197696" y="397933"/>
                    </a:lnTo>
                    <a:lnTo>
                      <a:pt x="3193375" y="393699"/>
                    </a:lnTo>
                    <a:close/>
                  </a:path>
                  <a:path w="3439795" h="1447800">
                    <a:moveTo>
                      <a:pt x="3197696" y="397933"/>
                    </a:moveTo>
                    <a:lnTo>
                      <a:pt x="3197696" y="419099"/>
                    </a:lnTo>
                    <a:lnTo>
                      <a:pt x="3204177" y="406399"/>
                    </a:lnTo>
                    <a:lnTo>
                      <a:pt x="3206337" y="406399"/>
                    </a:lnTo>
                    <a:lnTo>
                      <a:pt x="3197696" y="397933"/>
                    </a:lnTo>
                    <a:close/>
                  </a:path>
                  <a:path w="3439795" h="1447800">
                    <a:moveTo>
                      <a:pt x="3204177" y="406399"/>
                    </a:moveTo>
                    <a:lnTo>
                      <a:pt x="3197696" y="419099"/>
                    </a:lnTo>
                    <a:lnTo>
                      <a:pt x="3199856" y="419099"/>
                    </a:lnTo>
                    <a:lnTo>
                      <a:pt x="3204177" y="406399"/>
                    </a:lnTo>
                    <a:close/>
                  </a:path>
                  <a:path w="3439795" h="1447800">
                    <a:moveTo>
                      <a:pt x="2182934" y="410633"/>
                    </a:moveTo>
                    <a:lnTo>
                      <a:pt x="2179540" y="417285"/>
                    </a:lnTo>
                    <a:lnTo>
                      <a:pt x="2179910" y="417829"/>
                    </a:lnTo>
                    <a:lnTo>
                      <a:pt x="2182934" y="414866"/>
                    </a:lnTo>
                    <a:lnTo>
                      <a:pt x="2182934" y="410633"/>
                    </a:lnTo>
                    <a:close/>
                  </a:path>
                  <a:path w="3439795" h="1447800">
                    <a:moveTo>
                      <a:pt x="429649" y="406399"/>
                    </a:moveTo>
                    <a:lnTo>
                      <a:pt x="414527" y="406399"/>
                    </a:lnTo>
                    <a:lnTo>
                      <a:pt x="425868" y="417512"/>
                    </a:lnTo>
                    <a:lnTo>
                      <a:pt x="429649" y="406399"/>
                    </a:lnTo>
                    <a:close/>
                  </a:path>
                  <a:path w="3439795" h="1447800">
                    <a:moveTo>
                      <a:pt x="2182934" y="406399"/>
                    </a:moveTo>
                    <a:lnTo>
                      <a:pt x="2178614" y="414866"/>
                    </a:lnTo>
                    <a:lnTo>
                      <a:pt x="2178614" y="415924"/>
                    </a:lnTo>
                    <a:lnTo>
                      <a:pt x="2179540" y="417285"/>
                    </a:lnTo>
                    <a:lnTo>
                      <a:pt x="2182934" y="410633"/>
                    </a:lnTo>
                    <a:lnTo>
                      <a:pt x="2182934" y="406399"/>
                    </a:lnTo>
                    <a:close/>
                  </a:path>
                  <a:path w="3439795" h="1447800">
                    <a:moveTo>
                      <a:pt x="2178614" y="414866"/>
                    </a:moveTo>
                    <a:lnTo>
                      <a:pt x="2178305" y="415471"/>
                    </a:lnTo>
                    <a:lnTo>
                      <a:pt x="2178614" y="415924"/>
                    </a:lnTo>
                    <a:lnTo>
                      <a:pt x="2178614" y="414866"/>
                    </a:lnTo>
                    <a:close/>
                  </a:path>
                  <a:path w="3439795" h="1447800">
                    <a:moveTo>
                      <a:pt x="2178614" y="406399"/>
                    </a:moveTo>
                    <a:lnTo>
                      <a:pt x="2172133" y="406399"/>
                    </a:lnTo>
                    <a:lnTo>
                      <a:pt x="2178305" y="415471"/>
                    </a:lnTo>
                    <a:lnTo>
                      <a:pt x="2178614" y="414866"/>
                    </a:lnTo>
                    <a:lnTo>
                      <a:pt x="2178614" y="406399"/>
                    </a:lnTo>
                    <a:close/>
                  </a:path>
                  <a:path w="3439795" h="1447800">
                    <a:moveTo>
                      <a:pt x="2182934" y="406399"/>
                    </a:moveTo>
                    <a:lnTo>
                      <a:pt x="2178614" y="406399"/>
                    </a:lnTo>
                    <a:lnTo>
                      <a:pt x="2178614" y="414866"/>
                    </a:lnTo>
                    <a:lnTo>
                      <a:pt x="2182934" y="406399"/>
                    </a:lnTo>
                    <a:close/>
                  </a:path>
                  <a:path w="3439795" h="1447800">
                    <a:moveTo>
                      <a:pt x="2191575" y="380999"/>
                    </a:moveTo>
                    <a:lnTo>
                      <a:pt x="2189415" y="406399"/>
                    </a:lnTo>
                    <a:lnTo>
                      <a:pt x="2185094" y="406399"/>
                    </a:lnTo>
                    <a:lnTo>
                      <a:pt x="2182934" y="410633"/>
                    </a:lnTo>
                    <a:lnTo>
                      <a:pt x="2182934" y="414866"/>
                    </a:lnTo>
                    <a:lnTo>
                      <a:pt x="2191575" y="406399"/>
                    </a:lnTo>
                    <a:lnTo>
                      <a:pt x="2191575" y="380999"/>
                    </a:lnTo>
                    <a:close/>
                  </a:path>
                  <a:path w="3439795" h="1447800">
                    <a:moveTo>
                      <a:pt x="2375103" y="408214"/>
                    </a:moveTo>
                    <a:lnTo>
                      <a:pt x="2375103" y="408939"/>
                    </a:lnTo>
                    <a:lnTo>
                      <a:pt x="2378344" y="412749"/>
                    </a:lnTo>
                    <a:lnTo>
                      <a:pt x="2376724" y="409574"/>
                    </a:lnTo>
                    <a:lnTo>
                      <a:pt x="2375103" y="408214"/>
                    </a:lnTo>
                    <a:close/>
                  </a:path>
                  <a:path w="3439795" h="1447800">
                    <a:moveTo>
                      <a:pt x="2372943" y="406399"/>
                    </a:moveTo>
                    <a:lnTo>
                      <a:pt x="2370783" y="406399"/>
                    </a:lnTo>
                    <a:lnTo>
                      <a:pt x="2375103" y="411479"/>
                    </a:lnTo>
                    <a:lnTo>
                      <a:pt x="2375103" y="408939"/>
                    </a:lnTo>
                    <a:lnTo>
                      <a:pt x="2372943" y="406399"/>
                    </a:lnTo>
                    <a:close/>
                  </a:path>
                  <a:path w="3439795" h="1447800">
                    <a:moveTo>
                      <a:pt x="2185094" y="406399"/>
                    </a:moveTo>
                    <a:lnTo>
                      <a:pt x="2182934" y="406399"/>
                    </a:lnTo>
                    <a:lnTo>
                      <a:pt x="2182934" y="410633"/>
                    </a:lnTo>
                    <a:lnTo>
                      <a:pt x="2185094" y="406399"/>
                    </a:lnTo>
                    <a:close/>
                  </a:path>
                  <a:path w="3439795" h="1447800">
                    <a:moveTo>
                      <a:pt x="2375103" y="406399"/>
                    </a:moveTo>
                    <a:lnTo>
                      <a:pt x="2375103" y="408214"/>
                    </a:lnTo>
                    <a:lnTo>
                      <a:pt x="2376724" y="409574"/>
                    </a:lnTo>
                    <a:lnTo>
                      <a:pt x="2375103" y="406399"/>
                    </a:lnTo>
                    <a:close/>
                  </a:path>
                  <a:path w="3439795" h="1447800">
                    <a:moveTo>
                      <a:pt x="2372943" y="406399"/>
                    </a:moveTo>
                    <a:lnTo>
                      <a:pt x="2375103" y="408939"/>
                    </a:lnTo>
                    <a:lnTo>
                      <a:pt x="2375103" y="408214"/>
                    </a:lnTo>
                    <a:lnTo>
                      <a:pt x="2372943" y="406399"/>
                    </a:lnTo>
                    <a:close/>
                  </a:path>
                  <a:path w="3439795" h="1447800">
                    <a:moveTo>
                      <a:pt x="2375103" y="406399"/>
                    </a:moveTo>
                    <a:lnTo>
                      <a:pt x="2372943" y="406399"/>
                    </a:lnTo>
                    <a:lnTo>
                      <a:pt x="2375103" y="408214"/>
                    </a:lnTo>
                    <a:lnTo>
                      <a:pt x="2375103" y="406399"/>
                    </a:lnTo>
                    <a:close/>
                  </a:path>
                  <a:path w="3439795" h="1447800">
                    <a:moveTo>
                      <a:pt x="418847" y="380999"/>
                    </a:moveTo>
                    <a:lnTo>
                      <a:pt x="418847" y="393699"/>
                    </a:lnTo>
                    <a:lnTo>
                      <a:pt x="423168" y="393699"/>
                    </a:lnTo>
                    <a:lnTo>
                      <a:pt x="433969" y="406399"/>
                    </a:lnTo>
                    <a:lnTo>
                      <a:pt x="436129" y="406399"/>
                    </a:lnTo>
                    <a:lnTo>
                      <a:pt x="429649" y="393699"/>
                    </a:lnTo>
                    <a:lnTo>
                      <a:pt x="429649" y="390071"/>
                    </a:lnTo>
                    <a:lnTo>
                      <a:pt x="418847" y="380999"/>
                    </a:lnTo>
                    <a:close/>
                  </a:path>
                  <a:path w="3439795" h="1447800">
                    <a:moveTo>
                      <a:pt x="429649" y="393699"/>
                    </a:moveTo>
                    <a:lnTo>
                      <a:pt x="436129" y="406399"/>
                    </a:lnTo>
                    <a:lnTo>
                      <a:pt x="438289" y="406399"/>
                    </a:lnTo>
                    <a:lnTo>
                      <a:pt x="429649" y="393699"/>
                    </a:lnTo>
                    <a:close/>
                  </a:path>
                  <a:path w="3439795" h="1447800">
                    <a:moveTo>
                      <a:pt x="429649" y="393699"/>
                    </a:moveTo>
                    <a:lnTo>
                      <a:pt x="438289" y="406399"/>
                    </a:lnTo>
                    <a:lnTo>
                      <a:pt x="440450" y="406399"/>
                    </a:lnTo>
                    <a:lnTo>
                      <a:pt x="429649" y="393699"/>
                    </a:lnTo>
                    <a:close/>
                  </a:path>
                  <a:path w="3439795" h="1447800">
                    <a:moveTo>
                      <a:pt x="430609" y="390877"/>
                    </a:moveTo>
                    <a:lnTo>
                      <a:pt x="429649" y="393699"/>
                    </a:lnTo>
                    <a:lnTo>
                      <a:pt x="440450" y="406399"/>
                    </a:lnTo>
                    <a:lnTo>
                      <a:pt x="436129" y="393699"/>
                    </a:lnTo>
                    <a:lnTo>
                      <a:pt x="431809" y="393699"/>
                    </a:lnTo>
                    <a:lnTo>
                      <a:pt x="432079" y="392112"/>
                    </a:lnTo>
                    <a:lnTo>
                      <a:pt x="430609" y="390877"/>
                    </a:lnTo>
                    <a:close/>
                  </a:path>
                  <a:path w="3439795" h="1447800">
                    <a:moveTo>
                      <a:pt x="427488" y="368299"/>
                    </a:moveTo>
                    <a:lnTo>
                      <a:pt x="425328" y="368299"/>
                    </a:lnTo>
                    <a:lnTo>
                      <a:pt x="438289" y="380999"/>
                    </a:lnTo>
                    <a:lnTo>
                      <a:pt x="438289" y="393699"/>
                    </a:lnTo>
                    <a:lnTo>
                      <a:pt x="436129" y="393699"/>
                    </a:lnTo>
                    <a:lnTo>
                      <a:pt x="440450" y="406399"/>
                    </a:lnTo>
                    <a:lnTo>
                      <a:pt x="446930" y="393699"/>
                    </a:lnTo>
                    <a:lnTo>
                      <a:pt x="440450" y="380999"/>
                    </a:lnTo>
                    <a:lnTo>
                      <a:pt x="427488" y="368299"/>
                    </a:lnTo>
                    <a:close/>
                  </a:path>
                  <a:path w="3439795" h="1447800">
                    <a:moveTo>
                      <a:pt x="446930" y="393699"/>
                    </a:moveTo>
                    <a:lnTo>
                      <a:pt x="440450" y="406399"/>
                    </a:lnTo>
                    <a:lnTo>
                      <a:pt x="446930" y="406399"/>
                    </a:lnTo>
                    <a:lnTo>
                      <a:pt x="446930" y="393699"/>
                    </a:lnTo>
                    <a:close/>
                  </a:path>
                  <a:path w="3439795" h="1447800">
                    <a:moveTo>
                      <a:pt x="2062052" y="393699"/>
                    </a:moveTo>
                    <a:lnTo>
                      <a:pt x="2062052" y="406399"/>
                    </a:lnTo>
                    <a:lnTo>
                      <a:pt x="2063962" y="395111"/>
                    </a:lnTo>
                    <a:lnTo>
                      <a:pt x="2062052" y="393699"/>
                    </a:lnTo>
                    <a:close/>
                  </a:path>
                  <a:path w="3439795" h="1447800">
                    <a:moveTo>
                      <a:pt x="2064212" y="393699"/>
                    </a:moveTo>
                    <a:lnTo>
                      <a:pt x="2063971" y="395117"/>
                    </a:lnTo>
                    <a:lnTo>
                      <a:pt x="2079244" y="406399"/>
                    </a:lnTo>
                    <a:lnTo>
                      <a:pt x="2064212" y="393699"/>
                    </a:lnTo>
                    <a:close/>
                  </a:path>
                  <a:path w="3439795" h="1447800">
                    <a:moveTo>
                      <a:pt x="2068443" y="380999"/>
                    </a:moveTo>
                    <a:lnTo>
                      <a:pt x="2064212" y="393699"/>
                    </a:lnTo>
                    <a:lnTo>
                      <a:pt x="2079244" y="406399"/>
                    </a:lnTo>
                    <a:lnTo>
                      <a:pt x="2079244" y="393699"/>
                    </a:lnTo>
                    <a:lnTo>
                      <a:pt x="2077084" y="393699"/>
                    </a:lnTo>
                    <a:lnTo>
                      <a:pt x="2068443" y="380999"/>
                    </a:lnTo>
                    <a:close/>
                  </a:path>
                  <a:path w="3439795" h="1447800">
                    <a:moveTo>
                      <a:pt x="2068443" y="380999"/>
                    </a:moveTo>
                    <a:lnTo>
                      <a:pt x="2077084" y="393699"/>
                    </a:lnTo>
                    <a:lnTo>
                      <a:pt x="2079244" y="393699"/>
                    </a:lnTo>
                    <a:lnTo>
                      <a:pt x="2079244" y="406399"/>
                    </a:lnTo>
                    <a:lnTo>
                      <a:pt x="2081404" y="393699"/>
                    </a:lnTo>
                    <a:lnTo>
                      <a:pt x="2068443" y="380999"/>
                    </a:lnTo>
                    <a:close/>
                  </a:path>
                  <a:path w="3439795" h="1447800">
                    <a:moveTo>
                      <a:pt x="2174293" y="393699"/>
                    </a:moveTo>
                    <a:lnTo>
                      <a:pt x="2176454" y="406399"/>
                    </a:lnTo>
                    <a:lnTo>
                      <a:pt x="2180774" y="406399"/>
                    </a:lnTo>
                    <a:lnTo>
                      <a:pt x="2174293" y="393699"/>
                    </a:lnTo>
                    <a:close/>
                  </a:path>
                  <a:path w="3439795" h="1447800">
                    <a:moveTo>
                      <a:pt x="2180774" y="385233"/>
                    </a:moveTo>
                    <a:lnTo>
                      <a:pt x="2176454" y="393699"/>
                    </a:lnTo>
                    <a:lnTo>
                      <a:pt x="2174293" y="393699"/>
                    </a:lnTo>
                    <a:lnTo>
                      <a:pt x="2180774" y="406399"/>
                    </a:lnTo>
                    <a:lnTo>
                      <a:pt x="2180774" y="385233"/>
                    </a:lnTo>
                    <a:close/>
                  </a:path>
                  <a:path w="3439795" h="1447800">
                    <a:moveTo>
                      <a:pt x="2185094" y="380999"/>
                    </a:moveTo>
                    <a:lnTo>
                      <a:pt x="2180774" y="385233"/>
                    </a:lnTo>
                    <a:lnTo>
                      <a:pt x="2180774" y="406399"/>
                    </a:lnTo>
                    <a:lnTo>
                      <a:pt x="2187255" y="393699"/>
                    </a:lnTo>
                    <a:lnTo>
                      <a:pt x="2185094" y="380999"/>
                    </a:lnTo>
                    <a:close/>
                  </a:path>
                  <a:path w="3439795" h="1447800">
                    <a:moveTo>
                      <a:pt x="2191575" y="380999"/>
                    </a:moveTo>
                    <a:lnTo>
                      <a:pt x="2185094" y="380999"/>
                    </a:lnTo>
                    <a:lnTo>
                      <a:pt x="2187255" y="393699"/>
                    </a:lnTo>
                    <a:lnTo>
                      <a:pt x="2180774" y="406399"/>
                    </a:lnTo>
                    <a:lnTo>
                      <a:pt x="2189415" y="406399"/>
                    </a:lnTo>
                    <a:lnTo>
                      <a:pt x="2191575" y="380999"/>
                    </a:lnTo>
                    <a:close/>
                  </a:path>
                  <a:path w="3439795" h="1447800">
                    <a:moveTo>
                      <a:pt x="2198056" y="388619"/>
                    </a:moveTo>
                    <a:lnTo>
                      <a:pt x="2193735" y="393699"/>
                    </a:lnTo>
                    <a:lnTo>
                      <a:pt x="2204536" y="406399"/>
                    </a:lnTo>
                    <a:lnTo>
                      <a:pt x="2202376" y="393699"/>
                    </a:lnTo>
                    <a:lnTo>
                      <a:pt x="2198056" y="388619"/>
                    </a:lnTo>
                    <a:close/>
                  </a:path>
                  <a:path w="3439795" h="1447800">
                    <a:moveTo>
                      <a:pt x="2204536" y="380999"/>
                    </a:moveTo>
                    <a:lnTo>
                      <a:pt x="2198056" y="388619"/>
                    </a:lnTo>
                    <a:lnTo>
                      <a:pt x="2202376" y="393699"/>
                    </a:lnTo>
                    <a:lnTo>
                      <a:pt x="2204536" y="406399"/>
                    </a:lnTo>
                    <a:lnTo>
                      <a:pt x="2215337" y="393699"/>
                    </a:lnTo>
                    <a:lnTo>
                      <a:pt x="2204536" y="380999"/>
                    </a:lnTo>
                    <a:close/>
                  </a:path>
                  <a:path w="3439795" h="1447800">
                    <a:moveTo>
                      <a:pt x="2221818" y="393699"/>
                    </a:moveTo>
                    <a:lnTo>
                      <a:pt x="2219658" y="406399"/>
                    </a:lnTo>
                    <a:lnTo>
                      <a:pt x="2222898" y="406399"/>
                    </a:lnTo>
                    <a:lnTo>
                      <a:pt x="2221818" y="393699"/>
                    </a:lnTo>
                    <a:close/>
                  </a:path>
                  <a:path w="3439795" h="1447800">
                    <a:moveTo>
                      <a:pt x="2221818" y="393699"/>
                    </a:moveTo>
                    <a:lnTo>
                      <a:pt x="2232619" y="406399"/>
                    </a:lnTo>
                    <a:lnTo>
                      <a:pt x="2234779" y="406399"/>
                    </a:lnTo>
                    <a:lnTo>
                      <a:pt x="2221818" y="393699"/>
                    </a:lnTo>
                    <a:close/>
                  </a:path>
                  <a:path w="3439795" h="1447800">
                    <a:moveTo>
                      <a:pt x="2221818" y="393699"/>
                    </a:moveTo>
                    <a:lnTo>
                      <a:pt x="2234779" y="406399"/>
                    </a:lnTo>
                    <a:lnTo>
                      <a:pt x="2235860" y="405492"/>
                    </a:lnTo>
                    <a:lnTo>
                      <a:pt x="2221818" y="393699"/>
                    </a:lnTo>
                    <a:close/>
                  </a:path>
                  <a:path w="3439795" h="1447800">
                    <a:moveTo>
                      <a:pt x="2235860" y="405492"/>
                    </a:moveTo>
                    <a:lnTo>
                      <a:pt x="2234779" y="406399"/>
                    </a:lnTo>
                    <a:lnTo>
                      <a:pt x="2236940" y="406399"/>
                    </a:lnTo>
                    <a:lnTo>
                      <a:pt x="2235860" y="405492"/>
                    </a:lnTo>
                    <a:close/>
                  </a:path>
                  <a:path w="3439795" h="1447800">
                    <a:moveTo>
                      <a:pt x="2286535" y="393699"/>
                    </a:moveTo>
                    <a:lnTo>
                      <a:pt x="2288695" y="406399"/>
                    </a:lnTo>
                    <a:lnTo>
                      <a:pt x="2290855" y="406399"/>
                    </a:lnTo>
                    <a:lnTo>
                      <a:pt x="2286535" y="393699"/>
                    </a:lnTo>
                    <a:close/>
                  </a:path>
                  <a:path w="3439795" h="1447800">
                    <a:moveTo>
                      <a:pt x="2290855" y="380999"/>
                    </a:moveTo>
                    <a:lnTo>
                      <a:pt x="2286535" y="393699"/>
                    </a:lnTo>
                    <a:lnTo>
                      <a:pt x="2290855" y="406399"/>
                    </a:lnTo>
                    <a:lnTo>
                      <a:pt x="2292707" y="384628"/>
                    </a:lnTo>
                    <a:lnTo>
                      <a:pt x="2290855" y="380999"/>
                    </a:lnTo>
                    <a:close/>
                  </a:path>
                  <a:path w="3439795" h="1447800">
                    <a:moveTo>
                      <a:pt x="2292707" y="384628"/>
                    </a:moveTo>
                    <a:lnTo>
                      <a:pt x="2290855" y="406399"/>
                    </a:lnTo>
                    <a:lnTo>
                      <a:pt x="2293015" y="406399"/>
                    </a:lnTo>
                    <a:lnTo>
                      <a:pt x="2293015" y="385233"/>
                    </a:lnTo>
                    <a:lnTo>
                      <a:pt x="2292707" y="384628"/>
                    </a:lnTo>
                    <a:close/>
                  </a:path>
                  <a:path w="3439795" h="1447800">
                    <a:moveTo>
                      <a:pt x="2293015" y="385233"/>
                    </a:moveTo>
                    <a:lnTo>
                      <a:pt x="2293015" y="406399"/>
                    </a:lnTo>
                    <a:lnTo>
                      <a:pt x="2301656" y="393699"/>
                    </a:lnTo>
                    <a:lnTo>
                      <a:pt x="2297336" y="393699"/>
                    </a:lnTo>
                    <a:lnTo>
                      <a:pt x="2293015" y="385233"/>
                    </a:lnTo>
                    <a:close/>
                  </a:path>
                  <a:path w="3439795" h="1447800">
                    <a:moveTo>
                      <a:pt x="2301656" y="393699"/>
                    </a:moveTo>
                    <a:lnTo>
                      <a:pt x="2293015" y="406399"/>
                    </a:lnTo>
                    <a:lnTo>
                      <a:pt x="2295175" y="406399"/>
                    </a:lnTo>
                    <a:lnTo>
                      <a:pt x="2301656" y="393699"/>
                    </a:lnTo>
                    <a:close/>
                  </a:path>
                  <a:path w="3439795" h="1447800">
                    <a:moveTo>
                      <a:pt x="2305977" y="393699"/>
                    </a:moveTo>
                    <a:lnTo>
                      <a:pt x="2301656" y="393699"/>
                    </a:lnTo>
                    <a:lnTo>
                      <a:pt x="2295175" y="406399"/>
                    </a:lnTo>
                    <a:lnTo>
                      <a:pt x="2305977" y="393699"/>
                    </a:lnTo>
                    <a:close/>
                  </a:path>
                  <a:path w="3439795" h="1447800">
                    <a:moveTo>
                      <a:pt x="2306841" y="391159"/>
                    </a:moveTo>
                    <a:lnTo>
                      <a:pt x="2305977" y="393699"/>
                    </a:lnTo>
                    <a:lnTo>
                      <a:pt x="2295175" y="406399"/>
                    </a:lnTo>
                    <a:lnTo>
                      <a:pt x="2297336" y="406399"/>
                    </a:lnTo>
                    <a:lnTo>
                      <a:pt x="2308137" y="393699"/>
                    </a:lnTo>
                    <a:lnTo>
                      <a:pt x="2306841" y="391159"/>
                    </a:lnTo>
                    <a:close/>
                  </a:path>
                  <a:path w="3439795" h="1447800">
                    <a:moveTo>
                      <a:pt x="2311737" y="385233"/>
                    </a:moveTo>
                    <a:lnTo>
                      <a:pt x="2308137" y="393699"/>
                    </a:lnTo>
                    <a:lnTo>
                      <a:pt x="2297336" y="406399"/>
                    </a:lnTo>
                    <a:lnTo>
                      <a:pt x="2310297" y="393699"/>
                    </a:lnTo>
                    <a:lnTo>
                      <a:pt x="2311737" y="385233"/>
                    </a:lnTo>
                    <a:close/>
                  </a:path>
                  <a:path w="3439795" h="1447800">
                    <a:moveTo>
                      <a:pt x="2327579" y="393699"/>
                    </a:moveTo>
                    <a:lnTo>
                      <a:pt x="2327579" y="406399"/>
                    </a:lnTo>
                    <a:lnTo>
                      <a:pt x="2328659" y="406399"/>
                    </a:lnTo>
                    <a:lnTo>
                      <a:pt x="2329307" y="403859"/>
                    </a:lnTo>
                    <a:lnTo>
                      <a:pt x="2327579" y="393699"/>
                    </a:lnTo>
                    <a:close/>
                  </a:path>
                  <a:path w="3439795" h="1447800">
                    <a:moveTo>
                      <a:pt x="2331899" y="393699"/>
                    </a:moveTo>
                    <a:lnTo>
                      <a:pt x="2329469" y="403224"/>
                    </a:lnTo>
                    <a:lnTo>
                      <a:pt x="2329430" y="404585"/>
                    </a:lnTo>
                    <a:lnTo>
                      <a:pt x="2329739" y="406399"/>
                    </a:lnTo>
                    <a:lnTo>
                      <a:pt x="2331359" y="400049"/>
                    </a:lnTo>
                    <a:lnTo>
                      <a:pt x="2331899" y="393699"/>
                    </a:lnTo>
                    <a:close/>
                  </a:path>
                  <a:path w="3439795" h="1447800">
                    <a:moveTo>
                      <a:pt x="2331359" y="400049"/>
                    </a:moveTo>
                    <a:lnTo>
                      <a:pt x="2329739" y="406399"/>
                    </a:lnTo>
                    <a:lnTo>
                      <a:pt x="2330973" y="404585"/>
                    </a:lnTo>
                    <a:lnTo>
                      <a:pt x="2331359" y="400049"/>
                    </a:lnTo>
                    <a:close/>
                  </a:path>
                  <a:path w="3439795" h="1447800">
                    <a:moveTo>
                      <a:pt x="2330973" y="404585"/>
                    </a:moveTo>
                    <a:lnTo>
                      <a:pt x="2329739" y="406399"/>
                    </a:lnTo>
                    <a:lnTo>
                      <a:pt x="2330819" y="406399"/>
                    </a:lnTo>
                    <a:lnTo>
                      <a:pt x="2330973" y="404585"/>
                    </a:lnTo>
                    <a:close/>
                  </a:path>
                  <a:path w="3439795" h="1447800">
                    <a:moveTo>
                      <a:pt x="2349181" y="393699"/>
                    </a:moveTo>
                    <a:lnTo>
                      <a:pt x="2347021" y="393699"/>
                    </a:lnTo>
                    <a:lnTo>
                      <a:pt x="2342700" y="406399"/>
                    </a:lnTo>
                    <a:lnTo>
                      <a:pt x="2349181" y="393699"/>
                    </a:lnTo>
                    <a:close/>
                  </a:path>
                  <a:path w="3439795" h="1447800">
                    <a:moveTo>
                      <a:pt x="2353501" y="393699"/>
                    </a:moveTo>
                    <a:lnTo>
                      <a:pt x="2351341" y="393699"/>
                    </a:lnTo>
                    <a:lnTo>
                      <a:pt x="2351341" y="406399"/>
                    </a:lnTo>
                    <a:lnTo>
                      <a:pt x="2353501" y="393699"/>
                    </a:lnTo>
                    <a:close/>
                  </a:path>
                  <a:path w="3439795" h="1447800">
                    <a:moveTo>
                      <a:pt x="2366463" y="393699"/>
                    </a:moveTo>
                    <a:lnTo>
                      <a:pt x="2364302" y="393699"/>
                    </a:lnTo>
                    <a:lnTo>
                      <a:pt x="2366463" y="406399"/>
                    </a:lnTo>
                    <a:lnTo>
                      <a:pt x="2366463" y="393699"/>
                    </a:lnTo>
                    <a:close/>
                  </a:path>
                  <a:path w="3439795" h="1447800">
                    <a:moveTo>
                      <a:pt x="2392817" y="396239"/>
                    </a:moveTo>
                    <a:lnTo>
                      <a:pt x="2393465" y="400049"/>
                    </a:lnTo>
                    <a:lnTo>
                      <a:pt x="2396706" y="406399"/>
                    </a:lnTo>
                    <a:lnTo>
                      <a:pt x="2393465" y="396874"/>
                    </a:lnTo>
                    <a:lnTo>
                      <a:pt x="2392817" y="396239"/>
                    </a:lnTo>
                    <a:close/>
                  </a:path>
                  <a:path w="3439795" h="1447800">
                    <a:moveTo>
                      <a:pt x="2393465" y="396874"/>
                    </a:moveTo>
                    <a:lnTo>
                      <a:pt x="2396706" y="406399"/>
                    </a:lnTo>
                    <a:lnTo>
                      <a:pt x="2401026" y="406399"/>
                    </a:lnTo>
                    <a:lnTo>
                      <a:pt x="2400594" y="403859"/>
                    </a:lnTo>
                    <a:lnTo>
                      <a:pt x="2393465" y="396874"/>
                    </a:lnTo>
                    <a:close/>
                  </a:path>
                  <a:path w="3439795" h="1447800">
                    <a:moveTo>
                      <a:pt x="2400594" y="403859"/>
                    </a:moveTo>
                    <a:lnTo>
                      <a:pt x="2401026" y="406399"/>
                    </a:lnTo>
                    <a:lnTo>
                      <a:pt x="2402008" y="405245"/>
                    </a:lnTo>
                    <a:lnTo>
                      <a:pt x="2400594" y="403859"/>
                    </a:lnTo>
                    <a:close/>
                  </a:path>
                  <a:path w="3439795" h="1447800">
                    <a:moveTo>
                      <a:pt x="2402008" y="405245"/>
                    </a:moveTo>
                    <a:lnTo>
                      <a:pt x="2401026" y="406399"/>
                    </a:lnTo>
                    <a:lnTo>
                      <a:pt x="2403186" y="406399"/>
                    </a:lnTo>
                    <a:lnTo>
                      <a:pt x="2402008" y="405245"/>
                    </a:lnTo>
                    <a:close/>
                  </a:path>
                  <a:path w="3439795" h="1447800">
                    <a:moveTo>
                      <a:pt x="2402106" y="405129"/>
                    </a:moveTo>
                    <a:lnTo>
                      <a:pt x="2403186" y="406399"/>
                    </a:lnTo>
                    <a:lnTo>
                      <a:pt x="2402106" y="405129"/>
                    </a:lnTo>
                    <a:close/>
                  </a:path>
                  <a:path w="3439795" h="1447800">
                    <a:moveTo>
                      <a:pt x="2403726" y="403224"/>
                    </a:moveTo>
                    <a:lnTo>
                      <a:pt x="2402106" y="405129"/>
                    </a:lnTo>
                    <a:lnTo>
                      <a:pt x="2403186" y="406399"/>
                    </a:lnTo>
                    <a:lnTo>
                      <a:pt x="2403726" y="403224"/>
                    </a:lnTo>
                    <a:close/>
                  </a:path>
                  <a:path w="3439795" h="1447800">
                    <a:moveTo>
                      <a:pt x="2426949" y="380999"/>
                    </a:moveTo>
                    <a:lnTo>
                      <a:pt x="2407507" y="380999"/>
                    </a:lnTo>
                    <a:lnTo>
                      <a:pt x="2411827" y="393699"/>
                    </a:lnTo>
                    <a:lnTo>
                      <a:pt x="2403726" y="403224"/>
                    </a:lnTo>
                    <a:lnTo>
                      <a:pt x="2403186" y="406399"/>
                    </a:lnTo>
                    <a:lnTo>
                      <a:pt x="2424788" y="406399"/>
                    </a:lnTo>
                    <a:lnTo>
                      <a:pt x="2420468" y="393699"/>
                    </a:lnTo>
                    <a:lnTo>
                      <a:pt x="2437750" y="393699"/>
                    </a:lnTo>
                    <a:lnTo>
                      <a:pt x="2426949" y="380999"/>
                    </a:lnTo>
                    <a:close/>
                  </a:path>
                  <a:path w="3439795" h="1447800">
                    <a:moveTo>
                      <a:pt x="2422628" y="393699"/>
                    </a:moveTo>
                    <a:lnTo>
                      <a:pt x="2420468" y="393699"/>
                    </a:lnTo>
                    <a:lnTo>
                      <a:pt x="2424788" y="406399"/>
                    </a:lnTo>
                    <a:lnTo>
                      <a:pt x="2422628" y="393699"/>
                    </a:lnTo>
                    <a:close/>
                  </a:path>
                  <a:path w="3439795" h="1447800">
                    <a:moveTo>
                      <a:pt x="2424788" y="393699"/>
                    </a:moveTo>
                    <a:lnTo>
                      <a:pt x="2422628" y="393699"/>
                    </a:lnTo>
                    <a:lnTo>
                      <a:pt x="2424788" y="406399"/>
                    </a:lnTo>
                    <a:lnTo>
                      <a:pt x="2431269" y="406399"/>
                    </a:lnTo>
                    <a:lnTo>
                      <a:pt x="2424788" y="393699"/>
                    </a:lnTo>
                    <a:close/>
                  </a:path>
                  <a:path w="3439795" h="1447800">
                    <a:moveTo>
                      <a:pt x="2426949" y="393699"/>
                    </a:moveTo>
                    <a:lnTo>
                      <a:pt x="2424788" y="393699"/>
                    </a:lnTo>
                    <a:lnTo>
                      <a:pt x="2431269" y="406399"/>
                    </a:lnTo>
                    <a:lnTo>
                      <a:pt x="2426949" y="393699"/>
                    </a:lnTo>
                    <a:close/>
                  </a:path>
                  <a:path w="3439795" h="1447800">
                    <a:moveTo>
                      <a:pt x="2429109" y="393699"/>
                    </a:moveTo>
                    <a:lnTo>
                      <a:pt x="2426949" y="393699"/>
                    </a:lnTo>
                    <a:lnTo>
                      <a:pt x="2431269" y="406399"/>
                    </a:lnTo>
                    <a:lnTo>
                      <a:pt x="2433429" y="406399"/>
                    </a:lnTo>
                    <a:lnTo>
                      <a:pt x="2429109" y="393699"/>
                    </a:lnTo>
                    <a:close/>
                  </a:path>
                  <a:path w="3439795" h="1447800">
                    <a:moveTo>
                      <a:pt x="2429109" y="393699"/>
                    </a:moveTo>
                    <a:lnTo>
                      <a:pt x="2433429" y="406399"/>
                    </a:lnTo>
                    <a:lnTo>
                      <a:pt x="2437750" y="406399"/>
                    </a:lnTo>
                    <a:lnTo>
                      <a:pt x="2429109" y="393699"/>
                    </a:lnTo>
                    <a:close/>
                  </a:path>
                  <a:path w="3439795" h="1447800">
                    <a:moveTo>
                      <a:pt x="2439910" y="393699"/>
                    </a:moveTo>
                    <a:lnTo>
                      <a:pt x="2429109" y="393699"/>
                    </a:lnTo>
                    <a:lnTo>
                      <a:pt x="2437750" y="406399"/>
                    </a:lnTo>
                    <a:lnTo>
                      <a:pt x="2439910" y="406399"/>
                    </a:lnTo>
                    <a:lnTo>
                      <a:pt x="2439910" y="393699"/>
                    </a:lnTo>
                    <a:close/>
                  </a:path>
                  <a:path w="3439795" h="1447800">
                    <a:moveTo>
                      <a:pt x="2444140" y="393699"/>
                    </a:moveTo>
                    <a:lnTo>
                      <a:pt x="2439910" y="393699"/>
                    </a:lnTo>
                    <a:lnTo>
                      <a:pt x="2439910" y="406399"/>
                    </a:lnTo>
                    <a:lnTo>
                      <a:pt x="2446301" y="406399"/>
                    </a:lnTo>
                    <a:lnTo>
                      <a:pt x="2444140" y="393699"/>
                    </a:lnTo>
                    <a:close/>
                  </a:path>
                  <a:path w="3439795" h="1447800">
                    <a:moveTo>
                      <a:pt x="2450621" y="380999"/>
                    </a:moveTo>
                    <a:lnTo>
                      <a:pt x="2444140" y="393699"/>
                    </a:lnTo>
                    <a:lnTo>
                      <a:pt x="2446301" y="406399"/>
                    </a:lnTo>
                    <a:lnTo>
                      <a:pt x="2446301" y="393699"/>
                    </a:lnTo>
                    <a:lnTo>
                      <a:pt x="2450621" y="393699"/>
                    </a:lnTo>
                    <a:lnTo>
                      <a:pt x="2453213" y="388619"/>
                    </a:lnTo>
                    <a:lnTo>
                      <a:pt x="2450621" y="380999"/>
                    </a:lnTo>
                    <a:close/>
                  </a:path>
                  <a:path w="3439795" h="1447800">
                    <a:moveTo>
                      <a:pt x="2450621" y="393699"/>
                    </a:moveTo>
                    <a:lnTo>
                      <a:pt x="2446301" y="393699"/>
                    </a:lnTo>
                    <a:lnTo>
                      <a:pt x="2446301" y="406399"/>
                    </a:lnTo>
                    <a:lnTo>
                      <a:pt x="2459262" y="406399"/>
                    </a:lnTo>
                    <a:lnTo>
                      <a:pt x="2450621" y="393699"/>
                    </a:lnTo>
                    <a:close/>
                  </a:path>
                  <a:path w="3439795" h="1447800">
                    <a:moveTo>
                      <a:pt x="2453213" y="388619"/>
                    </a:moveTo>
                    <a:lnTo>
                      <a:pt x="2450621" y="393699"/>
                    </a:lnTo>
                    <a:lnTo>
                      <a:pt x="2459262" y="406399"/>
                    </a:lnTo>
                    <a:lnTo>
                      <a:pt x="2453213" y="388619"/>
                    </a:lnTo>
                    <a:close/>
                  </a:path>
                  <a:path w="3439795" h="1447800">
                    <a:moveTo>
                      <a:pt x="2457102" y="380999"/>
                    </a:moveTo>
                    <a:lnTo>
                      <a:pt x="2453213" y="388619"/>
                    </a:lnTo>
                    <a:lnTo>
                      <a:pt x="2459262" y="406399"/>
                    </a:lnTo>
                    <a:lnTo>
                      <a:pt x="2459262" y="393699"/>
                    </a:lnTo>
                    <a:lnTo>
                      <a:pt x="2463582" y="393699"/>
                    </a:lnTo>
                    <a:lnTo>
                      <a:pt x="2457102" y="380999"/>
                    </a:lnTo>
                    <a:close/>
                  </a:path>
                  <a:path w="3439795" h="1447800">
                    <a:moveTo>
                      <a:pt x="3158902" y="368299"/>
                    </a:moveTo>
                    <a:lnTo>
                      <a:pt x="3148101" y="380999"/>
                    </a:lnTo>
                    <a:lnTo>
                      <a:pt x="3150261" y="393699"/>
                    </a:lnTo>
                    <a:lnTo>
                      <a:pt x="3154582" y="406399"/>
                    </a:lnTo>
                    <a:lnTo>
                      <a:pt x="3156742" y="406399"/>
                    </a:lnTo>
                    <a:lnTo>
                      <a:pt x="3161062" y="393699"/>
                    </a:lnTo>
                    <a:lnTo>
                      <a:pt x="3167543" y="393699"/>
                    </a:lnTo>
                    <a:lnTo>
                      <a:pt x="3165383" y="380999"/>
                    </a:lnTo>
                    <a:lnTo>
                      <a:pt x="3152421" y="380999"/>
                    </a:lnTo>
                    <a:lnTo>
                      <a:pt x="3158902" y="368299"/>
                    </a:lnTo>
                    <a:close/>
                  </a:path>
                  <a:path w="3439795" h="1447800">
                    <a:moveTo>
                      <a:pt x="3161062" y="393699"/>
                    </a:moveTo>
                    <a:lnTo>
                      <a:pt x="3156742" y="406399"/>
                    </a:lnTo>
                    <a:lnTo>
                      <a:pt x="3162574" y="394969"/>
                    </a:lnTo>
                    <a:lnTo>
                      <a:pt x="3162558" y="394676"/>
                    </a:lnTo>
                    <a:lnTo>
                      <a:pt x="3161062" y="393699"/>
                    </a:lnTo>
                    <a:close/>
                  </a:path>
                  <a:path w="3439795" h="1447800">
                    <a:moveTo>
                      <a:pt x="3162682" y="394758"/>
                    </a:moveTo>
                    <a:lnTo>
                      <a:pt x="3156742" y="406399"/>
                    </a:lnTo>
                    <a:lnTo>
                      <a:pt x="3163222" y="396874"/>
                    </a:lnTo>
                    <a:lnTo>
                      <a:pt x="3163222" y="395111"/>
                    </a:lnTo>
                    <a:lnTo>
                      <a:pt x="3162682" y="394758"/>
                    </a:lnTo>
                    <a:close/>
                  </a:path>
                  <a:path w="3439795" h="1447800">
                    <a:moveTo>
                      <a:pt x="3163222" y="396874"/>
                    </a:moveTo>
                    <a:lnTo>
                      <a:pt x="3156742" y="406399"/>
                    </a:lnTo>
                    <a:lnTo>
                      <a:pt x="3161062" y="406399"/>
                    </a:lnTo>
                    <a:lnTo>
                      <a:pt x="3163222" y="400049"/>
                    </a:lnTo>
                    <a:lnTo>
                      <a:pt x="3163222" y="396874"/>
                    </a:lnTo>
                    <a:close/>
                  </a:path>
                  <a:path w="3439795" h="1447800">
                    <a:moveTo>
                      <a:pt x="3163222" y="400049"/>
                    </a:moveTo>
                    <a:lnTo>
                      <a:pt x="3161062" y="406399"/>
                    </a:lnTo>
                    <a:lnTo>
                      <a:pt x="3163222" y="403224"/>
                    </a:lnTo>
                    <a:lnTo>
                      <a:pt x="3163222" y="400049"/>
                    </a:lnTo>
                    <a:close/>
                  </a:path>
                  <a:path w="3439795" h="1447800">
                    <a:moveTo>
                      <a:pt x="3163222" y="403224"/>
                    </a:moveTo>
                    <a:lnTo>
                      <a:pt x="3161062" y="406399"/>
                    </a:lnTo>
                    <a:lnTo>
                      <a:pt x="3163222" y="406399"/>
                    </a:lnTo>
                    <a:lnTo>
                      <a:pt x="3163222" y="403224"/>
                    </a:lnTo>
                    <a:close/>
                  </a:path>
                  <a:path w="3439795" h="1447800">
                    <a:moveTo>
                      <a:pt x="3167044" y="397607"/>
                    </a:moveTo>
                    <a:lnTo>
                      <a:pt x="3163222" y="403224"/>
                    </a:lnTo>
                    <a:lnTo>
                      <a:pt x="3163222" y="406399"/>
                    </a:lnTo>
                    <a:lnTo>
                      <a:pt x="3171863" y="406399"/>
                    </a:lnTo>
                    <a:lnTo>
                      <a:pt x="3172727" y="401319"/>
                    </a:lnTo>
                    <a:lnTo>
                      <a:pt x="3167044" y="397607"/>
                    </a:lnTo>
                    <a:close/>
                  </a:path>
                  <a:path w="3439795" h="1447800">
                    <a:moveTo>
                      <a:pt x="3172727" y="401319"/>
                    </a:moveTo>
                    <a:lnTo>
                      <a:pt x="3171863" y="406399"/>
                    </a:lnTo>
                    <a:lnTo>
                      <a:pt x="3174024" y="406399"/>
                    </a:lnTo>
                    <a:lnTo>
                      <a:pt x="3174024" y="402166"/>
                    </a:lnTo>
                    <a:lnTo>
                      <a:pt x="3172727" y="401319"/>
                    </a:lnTo>
                    <a:close/>
                  </a:path>
                  <a:path w="3439795" h="1447800">
                    <a:moveTo>
                      <a:pt x="3174024" y="402166"/>
                    </a:moveTo>
                    <a:lnTo>
                      <a:pt x="3174024" y="406399"/>
                    </a:lnTo>
                    <a:lnTo>
                      <a:pt x="3176018" y="403469"/>
                    </a:lnTo>
                    <a:lnTo>
                      <a:pt x="3174024" y="402166"/>
                    </a:lnTo>
                    <a:close/>
                  </a:path>
                  <a:path w="3439795" h="1447800">
                    <a:moveTo>
                      <a:pt x="3176018" y="403469"/>
                    </a:moveTo>
                    <a:lnTo>
                      <a:pt x="3174024" y="406399"/>
                    </a:lnTo>
                    <a:lnTo>
                      <a:pt x="3178344" y="406399"/>
                    </a:lnTo>
                    <a:lnTo>
                      <a:pt x="3178737" y="405245"/>
                    </a:lnTo>
                    <a:lnTo>
                      <a:pt x="3176018" y="403469"/>
                    </a:lnTo>
                    <a:close/>
                  </a:path>
                  <a:path w="3439795" h="1447800">
                    <a:moveTo>
                      <a:pt x="3178737" y="405245"/>
                    </a:moveTo>
                    <a:lnTo>
                      <a:pt x="3178344" y="406399"/>
                    </a:lnTo>
                    <a:lnTo>
                      <a:pt x="3180504" y="406399"/>
                    </a:lnTo>
                    <a:lnTo>
                      <a:pt x="3178737" y="405245"/>
                    </a:lnTo>
                    <a:close/>
                  </a:path>
                  <a:path w="3439795" h="1447800">
                    <a:moveTo>
                      <a:pt x="3186985" y="393699"/>
                    </a:moveTo>
                    <a:lnTo>
                      <a:pt x="3182664" y="393699"/>
                    </a:lnTo>
                    <a:lnTo>
                      <a:pt x="3178737" y="405245"/>
                    </a:lnTo>
                    <a:lnTo>
                      <a:pt x="3180504" y="406399"/>
                    </a:lnTo>
                    <a:lnTo>
                      <a:pt x="3186985" y="393699"/>
                    </a:lnTo>
                    <a:close/>
                  </a:path>
                  <a:path w="3439795" h="1447800">
                    <a:moveTo>
                      <a:pt x="3191215" y="393699"/>
                    </a:moveTo>
                    <a:lnTo>
                      <a:pt x="3186985" y="393699"/>
                    </a:lnTo>
                    <a:lnTo>
                      <a:pt x="3180504" y="406399"/>
                    </a:lnTo>
                    <a:lnTo>
                      <a:pt x="3191215" y="393699"/>
                    </a:lnTo>
                    <a:close/>
                  </a:path>
                  <a:path w="3439795" h="1447800">
                    <a:moveTo>
                      <a:pt x="3191215" y="393699"/>
                    </a:moveTo>
                    <a:lnTo>
                      <a:pt x="3180504" y="406399"/>
                    </a:lnTo>
                    <a:lnTo>
                      <a:pt x="3191650" y="395402"/>
                    </a:lnTo>
                    <a:lnTo>
                      <a:pt x="3191215" y="393699"/>
                    </a:lnTo>
                    <a:close/>
                  </a:path>
                  <a:path w="3439795" h="1447800">
                    <a:moveTo>
                      <a:pt x="3197696" y="393699"/>
                    </a:moveTo>
                    <a:lnTo>
                      <a:pt x="3197696" y="397933"/>
                    </a:lnTo>
                    <a:lnTo>
                      <a:pt x="3206337" y="406399"/>
                    </a:lnTo>
                    <a:lnTo>
                      <a:pt x="3210657" y="406399"/>
                    </a:lnTo>
                    <a:lnTo>
                      <a:pt x="3197696" y="393699"/>
                    </a:lnTo>
                    <a:close/>
                  </a:path>
                  <a:path w="3439795" h="1447800">
                    <a:moveTo>
                      <a:pt x="3197696" y="377824"/>
                    </a:moveTo>
                    <a:lnTo>
                      <a:pt x="3197696" y="393699"/>
                    </a:lnTo>
                    <a:lnTo>
                      <a:pt x="3210657" y="406399"/>
                    </a:lnTo>
                    <a:lnTo>
                      <a:pt x="3202016" y="393699"/>
                    </a:lnTo>
                    <a:lnTo>
                      <a:pt x="3214978" y="393699"/>
                    </a:lnTo>
                    <a:lnTo>
                      <a:pt x="3214978" y="380999"/>
                    </a:lnTo>
                    <a:lnTo>
                      <a:pt x="3199856" y="380999"/>
                    </a:lnTo>
                    <a:lnTo>
                      <a:pt x="3197696" y="377824"/>
                    </a:lnTo>
                    <a:close/>
                  </a:path>
                  <a:path w="3439795" h="1447800">
                    <a:moveTo>
                      <a:pt x="3214978" y="393699"/>
                    </a:moveTo>
                    <a:lnTo>
                      <a:pt x="3202016" y="393699"/>
                    </a:lnTo>
                    <a:lnTo>
                      <a:pt x="3210657" y="406399"/>
                    </a:lnTo>
                    <a:lnTo>
                      <a:pt x="3214978" y="393699"/>
                    </a:lnTo>
                    <a:close/>
                  </a:path>
                  <a:path w="3439795" h="1447800">
                    <a:moveTo>
                      <a:pt x="3214978" y="393699"/>
                    </a:moveTo>
                    <a:lnTo>
                      <a:pt x="3210657" y="406399"/>
                    </a:lnTo>
                    <a:lnTo>
                      <a:pt x="3214978" y="406399"/>
                    </a:lnTo>
                    <a:lnTo>
                      <a:pt x="3214978" y="393699"/>
                    </a:lnTo>
                    <a:close/>
                  </a:path>
                  <a:path w="3439795" h="1447800">
                    <a:moveTo>
                      <a:pt x="2239100" y="380999"/>
                    </a:moveTo>
                    <a:lnTo>
                      <a:pt x="2247741" y="393699"/>
                    </a:lnTo>
                    <a:lnTo>
                      <a:pt x="2221818" y="393699"/>
                    </a:lnTo>
                    <a:lnTo>
                      <a:pt x="2235860" y="405492"/>
                    </a:lnTo>
                    <a:lnTo>
                      <a:pt x="2249901" y="393699"/>
                    </a:lnTo>
                    <a:lnTo>
                      <a:pt x="2239100" y="380999"/>
                    </a:lnTo>
                    <a:close/>
                  </a:path>
                  <a:path w="3439795" h="1447800">
                    <a:moveTo>
                      <a:pt x="2400486" y="403224"/>
                    </a:moveTo>
                    <a:lnTo>
                      <a:pt x="2400594" y="403859"/>
                    </a:lnTo>
                    <a:lnTo>
                      <a:pt x="2402008" y="405245"/>
                    </a:lnTo>
                    <a:lnTo>
                      <a:pt x="2400486" y="403224"/>
                    </a:lnTo>
                    <a:close/>
                  </a:path>
                  <a:path w="3439795" h="1447800">
                    <a:moveTo>
                      <a:pt x="3182664" y="393699"/>
                    </a:moveTo>
                    <a:lnTo>
                      <a:pt x="3176018" y="403469"/>
                    </a:lnTo>
                    <a:lnTo>
                      <a:pt x="3178737" y="405245"/>
                    </a:lnTo>
                    <a:lnTo>
                      <a:pt x="3182664" y="393699"/>
                    </a:lnTo>
                    <a:close/>
                  </a:path>
                  <a:path w="3439795" h="1447800">
                    <a:moveTo>
                      <a:pt x="2396706" y="380999"/>
                    </a:moveTo>
                    <a:lnTo>
                      <a:pt x="2400486" y="403224"/>
                    </a:lnTo>
                    <a:lnTo>
                      <a:pt x="2402106" y="405129"/>
                    </a:lnTo>
                    <a:lnTo>
                      <a:pt x="2403726" y="403224"/>
                    </a:lnTo>
                    <a:lnTo>
                      <a:pt x="2405347" y="393699"/>
                    </a:lnTo>
                    <a:lnTo>
                      <a:pt x="2396706" y="380999"/>
                    </a:lnTo>
                    <a:close/>
                  </a:path>
                  <a:path w="3439795" h="1447800">
                    <a:moveTo>
                      <a:pt x="2332685" y="394854"/>
                    </a:moveTo>
                    <a:lnTo>
                      <a:pt x="2331359" y="400049"/>
                    </a:lnTo>
                    <a:lnTo>
                      <a:pt x="2330973" y="404585"/>
                    </a:lnTo>
                    <a:lnTo>
                      <a:pt x="2335139" y="398462"/>
                    </a:lnTo>
                    <a:lnTo>
                      <a:pt x="2332685" y="394854"/>
                    </a:lnTo>
                    <a:close/>
                  </a:path>
                  <a:path w="3439795" h="1447800">
                    <a:moveTo>
                      <a:pt x="2331899" y="393699"/>
                    </a:moveTo>
                    <a:lnTo>
                      <a:pt x="2327579" y="393699"/>
                    </a:lnTo>
                    <a:lnTo>
                      <a:pt x="2329307" y="403859"/>
                    </a:lnTo>
                    <a:lnTo>
                      <a:pt x="2331899" y="393699"/>
                    </a:lnTo>
                    <a:close/>
                  </a:path>
                  <a:path w="3439795" h="1447800">
                    <a:moveTo>
                      <a:pt x="2392385" y="393699"/>
                    </a:moveTo>
                    <a:lnTo>
                      <a:pt x="2393465" y="396874"/>
                    </a:lnTo>
                    <a:lnTo>
                      <a:pt x="2400594" y="403859"/>
                    </a:lnTo>
                    <a:lnTo>
                      <a:pt x="2400486" y="403224"/>
                    </a:lnTo>
                    <a:lnTo>
                      <a:pt x="2392385" y="393699"/>
                    </a:lnTo>
                    <a:close/>
                  </a:path>
                  <a:path w="3439795" h="1447800">
                    <a:moveTo>
                      <a:pt x="3182664" y="393699"/>
                    </a:moveTo>
                    <a:lnTo>
                      <a:pt x="3174024" y="393699"/>
                    </a:lnTo>
                    <a:lnTo>
                      <a:pt x="3174024" y="402166"/>
                    </a:lnTo>
                    <a:lnTo>
                      <a:pt x="3176018" y="403469"/>
                    </a:lnTo>
                    <a:lnTo>
                      <a:pt x="3182664" y="393699"/>
                    </a:lnTo>
                    <a:close/>
                  </a:path>
                  <a:path w="3439795" h="1447800">
                    <a:moveTo>
                      <a:pt x="2396706" y="380999"/>
                    </a:moveTo>
                    <a:lnTo>
                      <a:pt x="2392385" y="393699"/>
                    </a:lnTo>
                    <a:lnTo>
                      <a:pt x="2400486" y="403224"/>
                    </a:lnTo>
                    <a:lnTo>
                      <a:pt x="2396706" y="380999"/>
                    </a:lnTo>
                    <a:close/>
                  </a:path>
                  <a:path w="3439795" h="1447800">
                    <a:moveTo>
                      <a:pt x="2407507" y="380999"/>
                    </a:moveTo>
                    <a:lnTo>
                      <a:pt x="2396706" y="380999"/>
                    </a:lnTo>
                    <a:lnTo>
                      <a:pt x="2405347" y="393699"/>
                    </a:lnTo>
                    <a:lnTo>
                      <a:pt x="2403726" y="403224"/>
                    </a:lnTo>
                    <a:lnTo>
                      <a:pt x="2411827" y="393699"/>
                    </a:lnTo>
                    <a:lnTo>
                      <a:pt x="2407507" y="380999"/>
                    </a:lnTo>
                    <a:close/>
                  </a:path>
                  <a:path w="3439795" h="1447800">
                    <a:moveTo>
                      <a:pt x="3164597" y="396009"/>
                    </a:moveTo>
                    <a:lnTo>
                      <a:pt x="3163222" y="400049"/>
                    </a:lnTo>
                    <a:lnTo>
                      <a:pt x="3163222" y="403224"/>
                    </a:lnTo>
                    <a:lnTo>
                      <a:pt x="3167044" y="397607"/>
                    </a:lnTo>
                    <a:lnTo>
                      <a:pt x="3164597" y="396009"/>
                    </a:lnTo>
                    <a:close/>
                  </a:path>
                  <a:path w="3439795" h="1447800">
                    <a:moveTo>
                      <a:pt x="3174024" y="393699"/>
                    </a:moveTo>
                    <a:lnTo>
                      <a:pt x="3172727" y="401319"/>
                    </a:lnTo>
                    <a:lnTo>
                      <a:pt x="3174024" y="402166"/>
                    </a:lnTo>
                    <a:lnTo>
                      <a:pt x="3174024" y="393699"/>
                    </a:lnTo>
                    <a:close/>
                  </a:path>
                  <a:path w="3439795" h="1447800">
                    <a:moveTo>
                      <a:pt x="3193375" y="393699"/>
                    </a:moveTo>
                    <a:lnTo>
                      <a:pt x="3191650" y="395402"/>
                    </a:lnTo>
                    <a:lnTo>
                      <a:pt x="3193375" y="402166"/>
                    </a:lnTo>
                    <a:lnTo>
                      <a:pt x="3193375" y="393699"/>
                    </a:lnTo>
                    <a:close/>
                  </a:path>
                  <a:path w="3439795" h="1447800">
                    <a:moveTo>
                      <a:pt x="3174024" y="393699"/>
                    </a:moveTo>
                    <a:lnTo>
                      <a:pt x="3169703" y="393699"/>
                    </a:lnTo>
                    <a:lnTo>
                      <a:pt x="3167044" y="397607"/>
                    </a:lnTo>
                    <a:lnTo>
                      <a:pt x="3172727" y="401319"/>
                    </a:lnTo>
                    <a:lnTo>
                      <a:pt x="3174024" y="393699"/>
                    </a:lnTo>
                    <a:close/>
                  </a:path>
                  <a:path w="3439795" h="1447800">
                    <a:moveTo>
                      <a:pt x="2331899" y="393699"/>
                    </a:moveTo>
                    <a:lnTo>
                      <a:pt x="2331359" y="400049"/>
                    </a:lnTo>
                    <a:lnTo>
                      <a:pt x="2332655" y="394969"/>
                    </a:lnTo>
                    <a:lnTo>
                      <a:pt x="2332564" y="394676"/>
                    </a:lnTo>
                    <a:lnTo>
                      <a:pt x="2331899" y="393699"/>
                    </a:lnTo>
                    <a:close/>
                  </a:path>
                  <a:path w="3439795" h="1447800">
                    <a:moveTo>
                      <a:pt x="2391222" y="394676"/>
                    </a:moveTo>
                    <a:lnTo>
                      <a:pt x="2391011" y="394854"/>
                    </a:lnTo>
                    <a:lnTo>
                      <a:pt x="2390948" y="395117"/>
                    </a:lnTo>
                    <a:lnTo>
                      <a:pt x="2393465" y="400049"/>
                    </a:lnTo>
                    <a:lnTo>
                      <a:pt x="2392817" y="396239"/>
                    </a:lnTo>
                    <a:lnTo>
                      <a:pt x="2391222" y="394676"/>
                    </a:lnTo>
                    <a:close/>
                  </a:path>
                  <a:path w="3439795" h="1447800">
                    <a:moveTo>
                      <a:pt x="3164053" y="395653"/>
                    </a:moveTo>
                    <a:lnTo>
                      <a:pt x="3163222" y="396874"/>
                    </a:lnTo>
                    <a:lnTo>
                      <a:pt x="3163222" y="400049"/>
                    </a:lnTo>
                    <a:lnTo>
                      <a:pt x="3164597" y="396009"/>
                    </a:lnTo>
                    <a:lnTo>
                      <a:pt x="3164053" y="395653"/>
                    </a:lnTo>
                    <a:close/>
                  </a:path>
                  <a:path w="3439795" h="1447800">
                    <a:moveTo>
                      <a:pt x="2334226" y="388815"/>
                    </a:moveTo>
                    <a:lnTo>
                      <a:pt x="2332730" y="394676"/>
                    </a:lnTo>
                    <a:lnTo>
                      <a:pt x="2332763" y="394969"/>
                    </a:lnTo>
                    <a:lnTo>
                      <a:pt x="2335139" y="398462"/>
                    </a:lnTo>
                    <a:lnTo>
                      <a:pt x="2338380" y="393699"/>
                    </a:lnTo>
                    <a:lnTo>
                      <a:pt x="2334226" y="388815"/>
                    </a:lnTo>
                    <a:close/>
                  </a:path>
                  <a:path w="3439795" h="1447800">
                    <a:moveTo>
                      <a:pt x="3197696" y="393699"/>
                    </a:moveTo>
                    <a:lnTo>
                      <a:pt x="3193375" y="393699"/>
                    </a:lnTo>
                    <a:lnTo>
                      <a:pt x="3197696" y="397933"/>
                    </a:lnTo>
                    <a:lnTo>
                      <a:pt x="3197696" y="393699"/>
                    </a:lnTo>
                    <a:close/>
                  </a:path>
                  <a:path w="3439795" h="1447800">
                    <a:moveTo>
                      <a:pt x="3169703" y="393699"/>
                    </a:moveTo>
                    <a:lnTo>
                      <a:pt x="3165383" y="393699"/>
                    </a:lnTo>
                    <a:lnTo>
                      <a:pt x="3164597" y="396009"/>
                    </a:lnTo>
                    <a:lnTo>
                      <a:pt x="3167044" y="397607"/>
                    </a:lnTo>
                    <a:lnTo>
                      <a:pt x="3169703" y="393699"/>
                    </a:lnTo>
                    <a:close/>
                  </a:path>
                  <a:path w="3439795" h="1447800">
                    <a:moveTo>
                      <a:pt x="2392385" y="393699"/>
                    </a:moveTo>
                    <a:lnTo>
                      <a:pt x="2392817" y="396239"/>
                    </a:lnTo>
                    <a:lnTo>
                      <a:pt x="2393465" y="396874"/>
                    </a:lnTo>
                    <a:lnTo>
                      <a:pt x="2392385" y="393699"/>
                    </a:lnTo>
                    <a:close/>
                  </a:path>
                  <a:path w="3439795" h="1447800">
                    <a:moveTo>
                      <a:pt x="3163222" y="395111"/>
                    </a:moveTo>
                    <a:lnTo>
                      <a:pt x="3163222" y="396874"/>
                    </a:lnTo>
                    <a:lnTo>
                      <a:pt x="3164053" y="395653"/>
                    </a:lnTo>
                    <a:lnTo>
                      <a:pt x="3163222" y="395111"/>
                    </a:lnTo>
                    <a:close/>
                  </a:path>
                  <a:path w="3439795" h="1447800">
                    <a:moveTo>
                      <a:pt x="2392385" y="393699"/>
                    </a:moveTo>
                    <a:lnTo>
                      <a:pt x="2391222" y="394676"/>
                    </a:lnTo>
                    <a:lnTo>
                      <a:pt x="2392817" y="396239"/>
                    </a:lnTo>
                    <a:lnTo>
                      <a:pt x="2392385" y="393699"/>
                    </a:lnTo>
                    <a:close/>
                  </a:path>
                  <a:path w="3439795" h="1447800">
                    <a:moveTo>
                      <a:pt x="3165383" y="393699"/>
                    </a:moveTo>
                    <a:lnTo>
                      <a:pt x="3164053" y="395653"/>
                    </a:lnTo>
                    <a:lnTo>
                      <a:pt x="3164597" y="396009"/>
                    </a:lnTo>
                    <a:lnTo>
                      <a:pt x="3165383" y="393699"/>
                    </a:lnTo>
                    <a:close/>
                  </a:path>
                  <a:path w="3439795" h="1447800">
                    <a:moveTo>
                      <a:pt x="3165383" y="393699"/>
                    </a:moveTo>
                    <a:lnTo>
                      <a:pt x="3163222" y="393699"/>
                    </a:lnTo>
                    <a:lnTo>
                      <a:pt x="3163232" y="395117"/>
                    </a:lnTo>
                    <a:lnTo>
                      <a:pt x="3164053" y="395653"/>
                    </a:lnTo>
                    <a:lnTo>
                      <a:pt x="3165383" y="393699"/>
                    </a:lnTo>
                    <a:close/>
                  </a:path>
                  <a:path w="3439795" h="1447800">
                    <a:moveTo>
                      <a:pt x="3193375" y="393699"/>
                    </a:moveTo>
                    <a:lnTo>
                      <a:pt x="3191215" y="393699"/>
                    </a:lnTo>
                    <a:lnTo>
                      <a:pt x="3191650" y="395402"/>
                    </a:lnTo>
                    <a:lnTo>
                      <a:pt x="3193375" y="393699"/>
                    </a:lnTo>
                    <a:close/>
                  </a:path>
                  <a:path w="3439795" h="1447800">
                    <a:moveTo>
                      <a:pt x="2064212" y="393699"/>
                    </a:moveTo>
                    <a:lnTo>
                      <a:pt x="2062052" y="393699"/>
                    </a:lnTo>
                    <a:lnTo>
                      <a:pt x="2063971" y="395117"/>
                    </a:lnTo>
                    <a:lnTo>
                      <a:pt x="2064212" y="393699"/>
                    </a:lnTo>
                    <a:close/>
                  </a:path>
                  <a:path w="3439795" h="1447800">
                    <a:moveTo>
                      <a:pt x="3163222" y="393699"/>
                    </a:moveTo>
                    <a:lnTo>
                      <a:pt x="3162682" y="394758"/>
                    </a:lnTo>
                    <a:lnTo>
                      <a:pt x="3163222" y="395111"/>
                    </a:lnTo>
                    <a:lnTo>
                      <a:pt x="3163222" y="393699"/>
                    </a:lnTo>
                    <a:close/>
                  </a:path>
                  <a:path w="3439795" h="1447800">
                    <a:moveTo>
                      <a:pt x="2390225" y="393699"/>
                    </a:moveTo>
                    <a:lnTo>
                      <a:pt x="2390873" y="394969"/>
                    </a:lnTo>
                    <a:lnTo>
                      <a:pt x="2391222" y="394676"/>
                    </a:lnTo>
                    <a:lnTo>
                      <a:pt x="2390225" y="393699"/>
                    </a:lnTo>
                    <a:close/>
                  </a:path>
                  <a:path w="3439795" h="1447800">
                    <a:moveTo>
                      <a:pt x="2327579" y="380999"/>
                    </a:moveTo>
                    <a:lnTo>
                      <a:pt x="2316778" y="393699"/>
                    </a:lnTo>
                    <a:lnTo>
                      <a:pt x="2331899" y="393699"/>
                    </a:lnTo>
                    <a:lnTo>
                      <a:pt x="2332685" y="394854"/>
                    </a:lnTo>
                    <a:lnTo>
                      <a:pt x="2334226" y="388815"/>
                    </a:lnTo>
                    <a:lnTo>
                      <a:pt x="2327579" y="380999"/>
                    </a:lnTo>
                    <a:close/>
                  </a:path>
                  <a:path w="3439795" h="1447800">
                    <a:moveTo>
                      <a:pt x="3163222" y="393699"/>
                    </a:moveTo>
                    <a:lnTo>
                      <a:pt x="3161062" y="393699"/>
                    </a:lnTo>
                    <a:lnTo>
                      <a:pt x="3162682" y="394758"/>
                    </a:lnTo>
                    <a:lnTo>
                      <a:pt x="3163222" y="393699"/>
                    </a:lnTo>
                    <a:close/>
                  </a:path>
                  <a:path w="3439795" h="1447800">
                    <a:moveTo>
                      <a:pt x="2392385" y="393699"/>
                    </a:moveTo>
                    <a:lnTo>
                      <a:pt x="2390225" y="393699"/>
                    </a:lnTo>
                    <a:lnTo>
                      <a:pt x="2391222" y="394676"/>
                    </a:lnTo>
                    <a:lnTo>
                      <a:pt x="2392385" y="393699"/>
                    </a:lnTo>
                    <a:close/>
                  </a:path>
                  <a:path w="3439795" h="1447800">
                    <a:moveTo>
                      <a:pt x="362183" y="382154"/>
                    </a:moveTo>
                    <a:lnTo>
                      <a:pt x="356291" y="393699"/>
                    </a:lnTo>
                    <a:lnTo>
                      <a:pt x="377893" y="393699"/>
                    </a:lnTo>
                    <a:lnTo>
                      <a:pt x="362183" y="382154"/>
                    </a:lnTo>
                    <a:close/>
                  </a:path>
                  <a:path w="3439795" h="1447800">
                    <a:moveTo>
                      <a:pt x="362772" y="380999"/>
                    </a:moveTo>
                    <a:lnTo>
                      <a:pt x="362183" y="382154"/>
                    </a:lnTo>
                    <a:lnTo>
                      <a:pt x="377893" y="393699"/>
                    </a:lnTo>
                    <a:lnTo>
                      <a:pt x="362772" y="380999"/>
                    </a:lnTo>
                    <a:close/>
                  </a:path>
                  <a:path w="3439795" h="1447800">
                    <a:moveTo>
                      <a:pt x="388604" y="317499"/>
                    </a:moveTo>
                    <a:lnTo>
                      <a:pt x="371413" y="330199"/>
                    </a:lnTo>
                    <a:lnTo>
                      <a:pt x="371390" y="355733"/>
                    </a:lnTo>
                    <a:lnTo>
                      <a:pt x="369252" y="368299"/>
                    </a:lnTo>
                    <a:lnTo>
                      <a:pt x="362772" y="380999"/>
                    </a:lnTo>
                    <a:lnTo>
                      <a:pt x="377893" y="393699"/>
                    </a:lnTo>
                    <a:lnTo>
                      <a:pt x="380054" y="380999"/>
                    </a:lnTo>
                    <a:lnTo>
                      <a:pt x="386534" y="368299"/>
                    </a:lnTo>
                    <a:lnTo>
                      <a:pt x="388604" y="355599"/>
                    </a:lnTo>
                    <a:lnTo>
                      <a:pt x="390765" y="355599"/>
                    </a:lnTo>
                    <a:lnTo>
                      <a:pt x="390765" y="330199"/>
                    </a:lnTo>
                    <a:lnTo>
                      <a:pt x="375733" y="330199"/>
                    </a:lnTo>
                    <a:lnTo>
                      <a:pt x="388604" y="317499"/>
                    </a:lnTo>
                    <a:close/>
                  </a:path>
                  <a:path w="3439795" h="1447800">
                    <a:moveTo>
                      <a:pt x="429649" y="390071"/>
                    </a:moveTo>
                    <a:lnTo>
                      <a:pt x="429649" y="393699"/>
                    </a:lnTo>
                    <a:lnTo>
                      <a:pt x="430609" y="390877"/>
                    </a:lnTo>
                    <a:lnTo>
                      <a:pt x="429649" y="390071"/>
                    </a:lnTo>
                    <a:close/>
                  </a:path>
                  <a:path w="3439795" h="1447800">
                    <a:moveTo>
                      <a:pt x="432079" y="392112"/>
                    </a:moveTo>
                    <a:lnTo>
                      <a:pt x="431809" y="393699"/>
                    </a:lnTo>
                    <a:lnTo>
                      <a:pt x="433969" y="393699"/>
                    </a:lnTo>
                    <a:lnTo>
                      <a:pt x="432079" y="392112"/>
                    </a:lnTo>
                    <a:close/>
                  </a:path>
                  <a:path w="3439795" h="1447800">
                    <a:moveTo>
                      <a:pt x="425328" y="368299"/>
                    </a:moveTo>
                    <a:lnTo>
                      <a:pt x="423168" y="380999"/>
                    </a:lnTo>
                    <a:lnTo>
                      <a:pt x="433969" y="380999"/>
                    </a:lnTo>
                    <a:lnTo>
                      <a:pt x="432079" y="392112"/>
                    </a:lnTo>
                    <a:lnTo>
                      <a:pt x="433969" y="393699"/>
                    </a:lnTo>
                    <a:lnTo>
                      <a:pt x="438289" y="380999"/>
                    </a:lnTo>
                    <a:lnTo>
                      <a:pt x="425328" y="368299"/>
                    </a:lnTo>
                    <a:close/>
                  </a:path>
                  <a:path w="3439795" h="1447800">
                    <a:moveTo>
                      <a:pt x="438289" y="380999"/>
                    </a:moveTo>
                    <a:lnTo>
                      <a:pt x="433969" y="393699"/>
                    </a:lnTo>
                    <a:lnTo>
                      <a:pt x="438289" y="393699"/>
                    </a:lnTo>
                    <a:lnTo>
                      <a:pt x="438289" y="380999"/>
                    </a:lnTo>
                    <a:close/>
                  </a:path>
                  <a:path w="3439795" h="1447800">
                    <a:moveTo>
                      <a:pt x="436129" y="368299"/>
                    </a:moveTo>
                    <a:lnTo>
                      <a:pt x="427488" y="368299"/>
                    </a:lnTo>
                    <a:lnTo>
                      <a:pt x="440450" y="380999"/>
                    </a:lnTo>
                    <a:lnTo>
                      <a:pt x="446930" y="393699"/>
                    </a:lnTo>
                    <a:lnTo>
                      <a:pt x="446930" y="380999"/>
                    </a:lnTo>
                    <a:lnTo>
                      <a:pt x="449090" y="380999"/>
                    </a:lnTo>
                    <a:lnTo>
                      <a:pt x="436129" y="368299"/>
                    </a:lnTo>
                    <a:close/>
                  </a:path>
                  <a:path w="3439795" h="1447800">
                    <a:moveTo>
                      <a:pt x="2074923" y="380999"/>
                    </a:moveTo>
                    <a:lnTo>
                      <a:pt x="2068443" y="380999"/>
                    </a:lnTo>
                    <a:lnTo>
                      <a:pt x="2081404" y="393699"/>
                    </a:lnTo>
                    <a:lnTo>
                      <a:pt x="2085724" y="393699"/>
                    </a:lnTo>
                    <a:lnTo>
                      <a:pt x="2074923" y="380999"/>
                    </a:lnTo>
                    <a:close/>
                  </a:path>
                  <a:path w="3439795" h="1447800">
                    <a:moveTo>
                      <a:pt x="2090045" y="368299"/>
                    </a:moveTo>
                    <a:lnTo>
                      <a:pt x="2085724" y="368299"/>
                    </a:lnTo>
                    <a:lnTo>
                      <a:pt x="2074923" y="380999"/>
                    </a:lnTo>
                    <a:lnTo>
                      <a:pt x="2085724" y="393699"/>
                    </a:lnTo>
                    <a:lnTo>
                      <a:pt x="2092205" y="393699"/>
                    </a:lnTo>
                    <a:lnTo>
                      <a:pt x="2090045" y="368299"/>
                    </a:lnTo>
                    <a:close/>
                  </a:path>
                  <a:path w="3439795" h="1447800">
                    <a:moveTo>
                      <a:pt x="2090045" y="368299"/>
                    </a:moveTo>
                    <a:lnTo>
                      <a:pt x="2092205" y="393699"/>
                    </a:lnTo>
                    <a:lnTo>
                      <a:pt x="2096526" y="393699"/>
                    </a:lnTo>
                    <a:lnTo>
                      <a:pt x="2090045" y="368299"/>
                    </a:lnTo>
                    <a:close/>
                  </a:path>
                  <a:path w="3439795" h="1447800">
                    <a:moveTo>
                      <a:pt x="2100846" y="368299"/>
                    </a:moveTo>
                    <a:lnTo>
                      <a:pt x="2090045" y="368299"/>
                    </a:lnTo>
                    <a:lnTo>
                      <a:pt x="2096526" y="393699"/>
                    </a:lnTo>
                    <a:lnTo>
                      <a:pt x="2103006" y="393699"/>
                    </a:lnTo>
                    <a:lnTo>
                      <a:pt x="2100846" y="368299"/>
                    </a:lnTo>
                    <a:close/>
                  </a:path>
                  <a:path w="3439795" h="1447800">
                    <a:moveTo>
                      <a:pt x="2115968" y="368299"/>
                    </a:moveTo>
                    <a:lnTo>
                      <a:pt x="2100846" y="368299"/>
                    </a:lnTo>
                    <a:lnTo>
                      <a:pt x="2103006" y="393699"/>
                    </a:lnTo>
                    <a:lnTo>
                      <a:pt x="2118128" y="380999"/>
                    </a:lnTo>
                    <a:lnTo>
                      <a:pt x="2115968" y="380999"/>
                    </a:lnTo>
                    <a:lnTo>
                      <a:pt x="2115968" y="368299"/>
                    </a:lnTo>
                    <a:close/>
                  </a:path>
                  <a:path w="3439795" h="1447800">
                    <a:moveTo>
                      <a:pt x="2147651" y="389466"/>
                    </a:moveTo>
                    <a:lnTo>
                      <a:pt x="2148371" y="393699"/>
                    </a:lnTo>
                    <a:lnTo>
                      <a:pt x="2150531" y="393699"/>
                    </a:lnTo>
                    <a:lnTo>
                      <a:pt x="2147651" y="389466"/>
                    </a:lnTo>
                    <a:close/>
                  </a:path>
                  <a:path w="3439795" h="1447800">
                    <a:moveTo>
                      <a:pt x="2146211" y="380999"/>
                    </a:moveTo>
                    <a:lnTo>
                      <a:pt x="2147651" y="389466"/>
                    </a:lnTo>
                    <a:lnTo>
                      <a:pt x="2150531" y="393699"/>
                    </a:lnTo>
                    <a:lnTo>
                      <a:pt x="2146211" y="380999"/>
                    </a:lnTo>
                    <a:close/>
                  </a:path>
                  <a:path w="3439795" h="1447800">
                    <a:moveTo>
                      <a:pt x="2150531" y="368299"/>
                    </a:moveTo>
                    <a:lnTo>
                      <a:pt x="2146211" y="380999"/>
                    </a:lnTo>
                    <a:lnTo>
                      <a:pt x="2150531" y="393699"/>
                    </a:lnTo>
                    <a:lnTo>
                      <a:pt x="2150531" y="380999"/>
                    </a:lnTo>
                    <a:lnTo>
                      <a:pt x="2148371" y="380999"/>
                    </a:lnTo>
                    <a:lnTo>
                      <a:pt x="2150531" y="378883"/>
                    </a:lnTo>
                    <a:lnTo>
                      <a:pt x="2150531" y="368299"/>
                    </a:lnTo>
                    <a:close/>
                  </a:path>
                  <a:path w="3439795" h="1447800">
                    <a:moveTo>
                      <a:pt x="2153555" y="375919"/>
                    </a:moveTo>
                    <a:lnTo>
                      <a:pt x="2150531" y="378883"/>
                    </a:lnTo>
                    <a:lnTo>
                      <a:pt x="2150531" y="393699"/>
                    </a:lnTo>
                    <a:lnTo>
                      <a:pt x="2153555" y="375919"/>
                    </a:lnTo>
                    <a:close/>
                  </a:path>
                  <a:path w="3439795" h="1447800">
                    <a:moveTo>
                      <a:pt x="2161332" y="368299"/>
                    </a:moveTo>
                    <a:lnTo>
                      <a:pt x="2153555" y="375919"/>
                    </a:lnTo>
                    <a:lnTo>
                      <a:pt x="2150531" y="393699"/>
                    </a:lnTo>
                    <a:lnTo>
                      <a:pt x="2156703" y="386442"/>
                    </a:lnTo>
                    <a:lnTo>
                      <a:pt x="2161332" y="368299"/>
                    </a:lnTo>
                    <a:close/>
                  </a:path>
                  <a:path w="3439795" h="1447800">
                    <a:moveTo>
                      <a:pt x="2156703" y="386442"/>
                    </a:moveTo>
                    <a:lnTo>
                      <a:pt x="2150531" y="393699"/>
                    </a:lnTo>
                    <a:lnTo>
                      <a:pt x="2156030" y="389081"/>
                    </a:lnTo>
                    <a:lnTo>
                      <a:pt x="2156703" y="386442"/>
                    </a:lnTo>
                    <a:close/>
                  </a:path>
                  <a:path w="3439795" h="1447800">
                    <a:moveTo>
                      <a:pt x="2156030" y="389081"/>
                    </a:moveTo>
                    <a:lnTo>
                      <a:pt x="2150531" y="393699"/>
                    </a:lnTo>
                    <a:lnTo>
                      <a:pt x="2154851" y="393699"/>
                    </a:lnTo>
                    <a:lnTo>
                      <a:pt x="2156030" y="389081"/>
                    </a:lnTo>
                    <a:close/>
                  </a:path>
                  <a:path w="3439795" h="1447800">
                    <a:moveTo>
                      <a:pt x="2159172" y="386442"/>
                    </a:moveTo>
                    <a:lnTo>
                      <a:pt x="2156030" y="389081"/>
                    </a:lnTo>
                    <a:lnTo>
                      <a:pt x="2154851" y="393699"/>
                    </a:lnTo>
                    <a:lnTo>
                      <a:pt x="2159172" y="393699"/>
                    </a:lnTo>
                    <a:lnTo>
                      <a:pt x="2159172" y="386442"/>
                    </a:lnTo>
                    <a:close/>
                  </a:path>
                  <a:path w="3439795" h="1447800">
                    <a:moveTo>
                      <a:pt x="2165652" y="380999"/>
                    </a:moveTo>
                    <a:lnTo>
                      <a:pt x="2159172" y="386442"/>
                    </a:lnTo>
                    <a:lnTo>
                      <a:pt x="2159172" y="393699"/>
                    </a:lnTo>
                    <a:lnTo>
                      <a:pt x="2165652" y="380999"/>
                    </a:lnTo>
                    <a:close/>
                  </a:path>
                  <a:path w="3439795" h="1447800">
                    <a:moveTo>
                      <a:pt x="2169973" y="380999"/>
                    </a:moveTo>
                    <a:lnTo>
                      <a:pt x="2165652" y="380999"/>
                    </a:lnTo>
                    <a:lnTo>
                      <a:pt x="2159172" y="393699"/>
                    </a:lnTo>
                    <a:lnTo>
                      <a:pt x="2169973" y="380999"/>
                    </a:lnTo>
                    <a:close/>
                  </a:path>
                  <a:path w="3439795" h="1447800">
                    <a:moveTo>
                      <a:pt x="2169973" y="380999"/>
                    </a:moveTo>
                    <a:lnTo>
                      <a:pt x="2159172" y="393699"/>
                    </a:lnTo>
                    <a:lnTo>
                      <a:pt x="2168245" y="386079"/>
                    </a:lnTo>
                    <a:lnTo>
                      <a:pt x="2169973" y="380999"/>
                    </a:lnTo>
                    <a:close/>
                  </a:path>
                  <a:path w="3439795" h="1447800">
                    <a:moveTo>
                      <a:pt x="2168245" y="386079"/>
                    </a:moveTo>
                    <a:lnTo>
                      <a:pt x="2159172" y="393699"/>
                    </a:lnTo>
                    <a:lnTo>
                      <a:pt x="2161332" y="393699"/>
                    </a:lnTo>
                    <a:lnTo>
                      <a:pt x="2167813" y="387349"/>
                    </a:lnTo>
                    <a:lnTo>
                      <a:pt x="2168245" y="386079"/>
                    </a:lnTo>
                    <a:close/>
                  </a:path>
                  <a:path w="3439795" h="1447800">
                    <a:moveTo>
                      <a:pt x="2167813" y="387349"/>
                    </a:moveTo>
                    <a:lnTo>
                      <a:pt x="2161332" y="393699"/>
                    </a:lnTo>
                    <a:lnTo>
                      <a:pt x="2165652" y="393699"/>
                    </a:lnTo>
                    <a:lnTo>
                      <a:pt x="2167813" y="387349"/>
                    </a:lnTo>
                    <a:close/>
                  </a:path>
                  <a:path w="3439795" h="1447800">
                    <a:moveTo>
                      <a:pt x="2169973" y="385233"/>
                    </a:moveTo>
                    <a:lnTo>
                      <a:pt x="2167813" y="387349"/>
                    </a:lnTo>
                    <a:lnTo>
                      <a:pt x="2165652" y="393699"/>
                    </a:lnTo>
                    <a:lnTo>
                      <a:pt x="2169973" y="385233"/>
                    </a:lnTo>
                    <a:close/>
                  </a:path>
                  <a:path w="3439795" h="1447800">
                    <a:moveTo>
                      <a:pt x="2172133" y="383116"/>
                    </a:moveTo>
                    <a:lnTo>
                      <a:pt x="2169973" y="385233"/>
                    </a:lnTo>
                    <a:lnTo>
                      <a:pt x="2165652" y="393699"/>
                    </a:lnTo>
                    <a:lnTo>
                      <a:pt x="2172133" y="386079"/>
                    </a:lnTo>
                    <a:lnTo>
                      <a:pt x="2172133" y="383116"/>
                    </a:lnTo>
                    <a:close/>
                  </a:path>
                  <a:path w="3439795" h="1447800">
                    <a:moveTo>
                      <a:pt x="2172133" y="386079"/>
                    </a:moveTo>
                    <a:lnTo>
                      <a:pt x="2165652" y="393699"/>
                    </a:lnTo>
                    <a:lnTo>
                      <a:pt x="2169973" y="393699"/>
                    </a:lnTo>
                    <a:lnTo>
                      <a:pt x="2172133" y="391583"/>
                    </a:lnTo>
                    <a:lnTo>
                      <a:pt x="2172133" y="386079"/>
                    </a:lnTo>
                    <a:close/>
                  </a:path>
                  <a:path w="3439795" h="1447800">
                    <a:moveTo>
                      <a:pt x="2172133" y="391583"/>
                    </a:moveTo>
                    <a:lnTo>
                      <a:pt x="2169973" y="393699"/>
                    </a:lnTo>
                    <a:lnTo>
                      <a:pt x="2172133" y="393699"/>
                    </a:lnTo>
                    <a:lnTo>
                      <a:pt x="2172133" y="391583"/>
                    </a:lnTo>
                    <a:close/>
                  </a:path>
                  <a:path w="3439795" h="1447800">
                    <a:moveTo>
                      <a:pt x="2172565" y="391159"/>
                    </a:moveTo>
                    <a:lnTo>
                      <a:pt x="2172133" y="391583"/>
                    </a:lnTo>
                    <a:lnTo>
                      <a:pt x="2172133" y="393699"/>
                    </a:lnTo>
                    <a:lnTo>
                      <a:pt x="2172565" y="391159"/>
                    </a:lnTo>
                    <a:close/>
                  </a:path>
                  <a:path w="3439795" h="1447800">
                    <a:moveTo>
                      <a:pt x="2180774" y="383116"/>
                    </a:moveTo>
                    <a:lnTo>
                      <a:pt x="2172565" y="391159"/>
                    </a:lnTo>
                    <a:lnTo>
                      <a:pt x="2172133" y="393699"/>
                    </a:lnTo>
                    <a:lnTo>
                      <a:pt x="2180774" y="385233"/>
                    </a:lnTo>
                    <a:lnTo>
                      <a:pt x="2180774" y="383116"/>
                    </a:lnTo>
                    <a:close/>
                  </a:path>
                  <a:path w="3439795" h="1447800">
                    <a:moveTo>
                      <a:pt x="2180774" y="385233"/>
                    </a:moveTo>
                    <a:lnTo>
                      <a:pt x="2172133" y="393699"/>
                    </a:lnTo>
                    <a:lnTo>
                      <a:pt x="2176454" y="393699"/>
                    </a:lnTo>
                    <a:lnTo>
                      <a:pt x="2180774" y="385233"/>
                    </a:lnTo>
                    <a:close/>
                  </a:path>
                  <a:path w="3439795" h="1447800">
                    <a:moveTo>
                      <a:pt x="2215337" y="380999"/>
                    </a:moveTo>
                    <a:lnTo>
                      <a:pt x="2204536" y="380999"/>
                    </a:lnTo>
                    <a:lnTo>
                      <a:pt x="2215337" y="393699"/>
                    </a:lnTo>
                    <a:lnTo>
                      <a:pt x="2226139" y="393699"/>
                    </a:lnTo>
                    <a:lnTo>
                      <a:pt x="2215337" y="380999"/>
                    </a:lnTo>
                    <a:close/>
                  </a:path>
                  <a:path w="3439795" h="1447800">
                    <a:moveTo>
                      <a:pt x="2226139" y="368299"/>
                    </a:moveTo>
                    <a:lnTo>
                      <a:pt x="2223978" y="368299"/>
                    </a:lnTo>
                    <a:lnTo>
                      <a:pt x="2215337" y="380999"/>
                    </a:lnTo>
                    <a:lnTo>
                      <a:pt x="2226139" y="393699"/>
                    </a:lnTo>
                    <a:lnTo>
                      <a:pt x="2217498" y="380999"/>
                    </a:lnTo>
                    <a:lnTo>
                      <a:pt x="2234779" y="380999"/>
                    </a:lnTo>
                    <a:lnTo>
                      <a:pt x="2226139" y="368299"/>
                    </a:lnTo>
                    <a:close/>
                  </a:path>
                  <a:path w="3439795" h="1447800">
                    <a:moveTo>
                      <a:pt x="2234779" y="380999"/>
                    </a:moveTo>
                    <a:lnTo>
                      <a:pt x="2217498" y="380999"/>
                    </a:lnTo>
                    <a:lnTo>
                      <a:pt x="2226139" y="393699"/>
                    </a:lnTo>
                    <a:lnTo>
                      <a:pt x="2234779" y="380999"/>
                    </a:lnTo>
                    <a:close/>
                  </a:path>
                  <a:path w="3439795" h="1447800">
                    <a:moveTo>
                      <a:pt x="2239100" y="380999"/>
                    </a:moveTo>
                    <a:lnTo>
                      <a:pt x="2226139" y="393699"/>
                    </a:lnTo>
                    <a:lnTo>
                      <a:pt x="2247741" y="393699"/>
                    </a:lnTo>
                    <a:lnTo>
                      <a:pt x="2239100" y="380999"/>
                    </a:lnTo>
                    <a:close/>
                  </a:path>
                  <a:path w="3439795" h="1447800">
                    <a:moveTo>
                      <a:pt x="2252061" y="380999"/>
                    </a:moveTo>
                    <a:lnTo>
                      <a:pt x="2239100" y="380999"/>
                    </a:lnTo>
                    <a:lnTo>
                      <a:pt x="2249901" y="393699"/>
                    </a:lnTo>
                    <a:lnTo>
                      <a:pt x="2256292" y="393699"/>
                    </a:lnTo>
                    <a:lnTo>
                      <a:pt x="2252061" y="380999"/>
                    </a:lnTo>
                    <a:close/>
                  </a:path>
                  <a:path w="3439795" h="1447800">
                    <a:moveTo>
                      <a:pt x="2252061" y="380999"/>
                    </a:moveTo>
                    <a:lnTo>
                      <a:pt x="2256292" y="393699"/>
                    </a:lnTo>
                    <a:lnTo>
                      <a:pt x="2258452" y="393699"/>
                    </a:lnTo>
                    <a:lnTo>
                      <a:pt x="2252061" y="380999"/>
                    </a:lnTo>
                    <a:close/>
                  </a:path>
                  <a:path w="3439795" h="1447800">
                    <a:moveTo>
                      <a:pt x="2258452" y="380999"/>
                    </a:moveTo>
                    <a:lnTo>
                      <a:pt x="2252061" y="380999"/>
                    </a:lnTo>
                    <a:lnTo>
                      <a:pt x="2258452" y="393699"/>
                    </a:lnTo>
                    <a:lnTo>
                      <a:pt x="2262772" y="393699"/>
                    </a:lnTo>
                    <a:lnTo>
                      <a:pt x="2258452" y="380999"/>
                    </a:lnTo>
                    <a:close/>
                  </a:path>
                  <a:path w="3439795" h="1447800">
                    <a:moveTo>
                      <a:pt x="2262772" y="380999"/>
                    </a:moveTo>
                    <a:lnTo>
                      <a:pt x="2258452" y="380999"/>
                    </a:lnTo>
                    <a:lnTo>
                      <a:pt x="2262772" y="393699"/>
                    </a:lnTo>
                    <a:lnTo>
                      <a:pt x="2262772" y="380999"/>
                    </a:lnTo>
                    <a:close/>
                  </a:path>
                  <a:path w="3439795" h="1447800">
                    <a:moveTo>
                      <a:pt x="2262772" y="380999"/>
                    </a:moveTo>
                    <a:lnTo>
                      <a:pt x="2262772" y="393699"/>
                    </a:lnTo>
                    <a:lnTo>
                      <a:pt x="2269253" y="393699"/>
                    </a:lnTo>
                    <a:lnTo>
                      <a:pt x="2262772" y="380999"/>
                    </a:lnTo>
                    <a:close/>
                  </a:path>
                  <a:path w="3439795" h="1447800">
                    <a:moveTo>
                      <a:pt x="2262772" y="380999"/>
                    </a:moveTo>
                    <a:lnTo>
                      <a:pt x="2269253" y="393699"/>
                    </a:lnTo>
                    <a:lnTo>
                      <a:pt x="2269973" y="389466"/>
                    </a:lnTo>
                    <a:lnTo>
                      <a:pt x="2262772" y="380999"/>
                    </a:lnTo>
                    <a:close/>
                  </a:path>
                  <a:path w="3439795" h="1447800">
                    <a:moveTo>
                      <a:pt x="2269973" y="389466"/>
                    </a:moveTo>
                    <a:lnTo>
                      <a:pt x="2269253" y="393699"/>
                    </a:lnTo>
                    <a:lnTo>
                      <a:pt x="2273573" y="393699"/>
                    </a:lnTo>
                    <a:lnTo>
                      <a:pt x="2269973" y="389466"/>
                    </a:lnTo>
                    <a:close/>
                  </a:path>
                  <a:path w="3439795" h="1447800">
                    <a:moveTo>
                      <a:pt x="2273573" y="368299"/>
                    </a:moveTo>
                    <a:lnTo>
                      <a:pt x="2269973" y="389466"/>
                    </a:lnTo>
                    <a:lnTo>
                      <a:pt x="2273573" y="393699"/>
                    </a:lnTo>
                    <a:lnTo>
                      <a:pt x="2273573" y="368299"/>
                    </a:lnTo>
                    <a:close/>
                  </a:path>
                  <a:path w="3439795" h="1447800">
                    <a:moveTo>
                      <a:pt x="2273573" y="368299"/>
                    </a:moveTo>
                    <a:lnTo>
                      <a:pt x="2273573" y="393699"/>
                    </a:lnTo>
                    <a:lnTo>
                      <a:pt x="2275734" y="393699"/>
                    </a:lnTo>
                    <a:lnTo>
                      <a:pt x="2284374" y="380999"/>
                    </a:lnTo>
                    <a:lnTo>
                      <a:pt x="2277894" y="380999"/>
                    </a:lnTo>
                    <a:lnTo>
                      <a:pt x="2273573" y="368299"/>
                    </a:lnTo>
                    <a:close/>
                  </a:path>
                  <a:path w="3439795" h="1447800">
                    <a:moveTo>
                      <a:pt x="2284374" y="380999"/>
                    </a:moveTo>
                    <a:lnTo>
                      <a:pt x="2275734" y="393699"/>
                    </a:lnTo>
                    <a:lnTo>
                      <a:pt x="2277894" y="393699"/>
                    </a:lnTo>
                    <a:lnTo>
                      <a:pt x="2284374" y="380999"/>
                    </a:lnTo>
                    <a:close/>
                  </a:path>
                  <a:path w="3439795" h="1447800">
                    <a:moveTo>
                      <a:pt x="2290855" y="380999"/>
                    </a:moveTo>
                    <a:lnTo>
                      <a:pt x="2284374" y="380999"/>
                    </a:lnTo>
                    <a:lnTo>
                      <a:pt x="2277894" y="393699"/>
                    </a:lnTo>
                    <a:lnTo>
                      <a:pt x="2280054" y="393699"/>
                    </a:lnTo>
                    <a:lnTo>
                      <a:pt x="2290855" y="380999"/>
                    </a:lnTo>
                    <a:close/>
                  </a:path>
                  <a:path w="3439795" h="1447800">
                    <a:moveTo>
                      <a:pt x="2290855" y="380999"/>
                    </a:moveTo>
                    <a:lnTo>
                      <a:pt x="2280054" y="393699"/>
                    </a:lnTo>
                    <a:lnTo>
                      <a:pt x="2286535" y="393699"/>
                    </a:lnTo>
                    <a:lnTo>
                      <a:pt x="2290855" y="380999"/>
                    </a:lnTo>
                    <a:close/>
                  </a:path>
                  <a:path w="3439795" h="1447800">
                    <a:moveTo>
                      <a:pt x="2308137" y="368299"/>
                    </a:moveTo>
                    <a:lnTo>
                      <a:pt x="2303816" y="368299"/>
                    </a:lnTo>
                    <a:lnTo>
                      <a:pt x="2293015" y="380999"/>
                    </a:lnTo>
                    <a:lnTo>
                      <a:pt x="2293015" y="385233"/>
                    </a:lnTo>
                    <a:lnTo>
                      <a:pt x="2297336" y="393699"/>
                    </a:lnTo>
                    <a:lnTo>
                      <a:pt x="2301656" y="393699"/>
                    </a:lnTo>
                    <a:lnTo>
                      <a:pt x="2297336" y="380999"/>
                    </a:lnTo>
                    <a:lnTo>
                      <a:pt x="2308137" y="380999"/>
                    </a:lnTo>
                    <a:lnTo>
                      <a:pt x="2308137" y="368299"/>
                    </a:lnTo>
                    <a:close/>
                  </a:path>
                  <a:path w="3439795" h="1447800">
                    <a:moveTo>
                      <a:pt x="2301656" y="380999"/>
                    </a:moveTo>
                    <a:lnTo>
                      <a:pt x="2305977" y="393699"/>
                    </a:lnTo>
                    <a:lnTo>
                      <a:pt x="2306841" y="391159"/>
                    </a:lnTo>
                    <a:lnTo>
                      <a:pt x="2301656" y="380999"/>
                    </a:lnTo>
                    <a:close/>
                  </a:path>
                  <a:path w="3439795" h="1447800">
                    <a:moveTo>
                      <a:pt x="2308137" y="387349"/>
                    </a:moveTo>
                    <a:lnTo>
                      <a:pt x="2306841" y="391159"/>
                    </a:lnTo>
                    <a:lnTo>
                      <a:pt x="2308137" y="393699"/>
                    </a:lnTo>
                    <a:lnTo>
                      <a:pt x="2308137" y="387349"/>
                    </a:lnTo>
                    <a:close/>
                  </a:path>
                  <a:path w="3439795" h="1447800">
                    <a:moveTo>
                      <a:pt x="2314617" y="368299"/>
                    </a:moveTo>
                    <a:lnTo>
                      <a:pt x="2308137" y="387349"/>
                    </a:lnTo>
                    <a:lnTo>
                      <a:pt x="2308137" y="393699"/>
                    </a:lnTo>
                    <a:lnTo>
                      <a:pt x="2314617" y="368299"/>
                    </a:lnTo>
                    <a:close/>
                  </a:path>
                  <a:path w="3439795" h="1447800">
                    <a:moveTo>
                      <a:pt x="2314617" y="368299"/>
                    </a:moveTo>
                    <a:lnTo>
                      <a:pt x="2308137" y="393699"/>
                    </a:lnTo>
                    <a:lnTo>
                      <a:pt x="2311737" y="385233"/>
                    </a:lnTo>
                    <a:lnTo>
                      <a:pt x="2314617" y="368299"/>
                    </a:lnTo>
                    <a:close/>
                  </a:path>
                  <a:path w="3439795" h="1447800">
                    <a:moveTo>
                      <a:pt x="2318938" y="368299"/>
                    </a:moveTo>
                    <a:lnTo>
                      <a:pt x="2311737" y="385233"/>
                    </a:lnTo>
                    <a:lnTo>
                      <a:pt x="2310297" y="393699"/>
                    </a:lnTo>
                    <a:lnTo>
                      <a:pt x="2318938" y="368299"/>
                    </a:lnTo>
                    <a:close/>
                  </a:path>
                  <a:path w="3439795" h="1447800">
                    <a:moveTo>
                      <a:pt x="2396706" y="380999"/>
                    </a:moveTo>
                    <a:lnTo>
                      <a:pt x="2394545" y="380999"/>
                    </a:lnTo>
                    <a:lnTo>
                      <a:pt x="2392385" y="393699"/>
                    </a:lnTo>
                    <a:lnTo>
                      <a:pt x="2396706" y="380999"/>
                    </a:lnTo>
                    <a:close/>
                  </a:path>
                  <a:path w="3439795" h="1447800">
                    <a:moveTo>
                      <a:pt x="2435590" y="368299"/>
                    </a:moveTo>
                    <a:lnTo>
                      <a:pt x="2426949" y="380999"/>
                    </a:lnTo>
                    <a:lnTo>
                      <a:pt x="2437750" y="393699"/>
                    </a:lnTo>
                    <a:lnTo>
                      <a:pt x="2429109" y="380999"/>
                    </a:lnTo>
                    <a:lnTo>
                      <a:pt x="2444140" y="380999"/>
                    </a:lnTo>
                    <a:lnTo>
                      <a:pt x="2435590" y="368299"/>
                    </a:lnTo>
                    <a:close/>
                  </a:path>
                  <a:path w="3439795" h="1447800">
                    <a:moveTo>
                      <a:pt x="2435590" y="368299"/>
                    </a:moveTo>
                    <a:lnTo>
                      <a:pt x="2444140" y="380999"/>
                    </a:lnTo>
                    <a:lnTo>
                      <a:pt x="2429109" y="380999"/>
                    </a:lnTo>
                    <a:lnTo>
                      <a:pt x="2437750" y="393699"/>
                    </a:lnTo>
                    <a:lnTo>
                      <a:pt x="2446301" y="380999"/>
                    </a:lnTo>
                    <a:lnTo>
                      <a:pt x="2435590" y="368299"/>
                    </a:lnTo>
                    <a:close/>
                  </a:path>
                  <a:path w="3439795" h="1447800">
                    <a:moveTo>
                      <a:pt x="2457102" y="380999"/>
                    </a:moveTo>
                    <a:lnTo>
                      <a:pt x="2463582" y="393699"/>
                    </a:lnTo>
                    <a:lnTo>
                      <a:pt x="2467903" y="393699"/>
                    </a:lnTo>
                    <a:lnTo>
                      <a:pt x="2457102" y="380999"/>
                    </a:lnTo>
                    <a:close/>
                  </a:path>
                  <a:path w="3439795" h="1447800">
                    <a:moveTo>
                      <a:pt x="2467903" y="380999"/>
                    </a:moveTo>
                    <a:lnTo>
                      <a:pt x="2457102" y="380999"/>
                    </a:lnTo>
                    <a:lnTo>
                      <a:pt x="2467903" y="393699"/>
                    </a:lnTo>
                    <a:lnTo>
                      <a:pt x="2472223" y="393699"/>
                    </a:lnTo>
                    <a:lnTo>
                      <a:pt x="2467903" y="380999"/>
                    </a:lnTo>
                    <a:close/>
                  </a:path>
                  <a:path w="3439795" h="1447800">
                    <a:moveTo>
                      <a:pt x="2470063" y="380999"/>
                    </a:moveTo>
                    <a:lnTo>
                      <a:pt x="2467903" y="380999"/>
                    </a:lnTo>
                    <a:lnTo>
                      <a:pt x="2472223" y="393699"/>
                    </a:lnTo>
                    <a:lnTo>
                      <a:pt x="2478704" y="393699"/>
                    </a:lnTo>
                    <a:lnTo>
                      <a:pt x="2478164" y="390524"/>
                    </a:lnTo>
                    <a:lnTo>
                      <a:pt x="2470063" y="380999"/>
                    </a:lnTo>
                    <a:close/>
                  </a:path>
                  <a:path w="3439795" h="1447800">
                    <a:moveTo>
                      <a:pt x="2478164" y="390524"/>
                    </a:moveTo>
                    <a:lnTo>
                      <a:pt x="2478704" y="393699"/>
                    </a:lnTo>
                    <a:lnTo>
                      <a:pt x="2480864" y="393699"/>
                    </a:lnTo>
                    <a:lnTo>
                      <a:pt x="2478164" y="390524"/>
                    </a:lnTo>
                    <a:close/>
                  </a:path>
                  <a:path w="3439795" h="1447800">
                    <a:moveTo>
                      <a:pt x="2480864" y="380999"/>
                    </a:moveTo>
                    <a:lnTo>
                      <a:pt x="2476544" y="380999"/>
                    </a:lnTo>
                    <a:lnTo>
                      <a:pt x="2478164" y="390524"/>
                    </a:lnTo>
                    <a:lnTo>
                      <a:pt x="2480864" y="393699"/>
                    </a:lnTo>
                    <a:lnTo>
                      <a:pt x="2480864" y="380999"/>
                    </a:lnTo>
                    <a:close/>
                  </a:path>
                  <a:path w="3439795" h="1447800">
                    <a:moveTo>
                      <a:pt x="2474383" y="368299"/>
                    </a:moveTo>
                    <a:lnTo>
                      <a:pt x="2474383" y="380999"/>
                    </a:lnTo>
                    <a:lnTo>
                      <a:pt x="2480864" y="380999"/>
                    </a:lnTo>
                    <a:lnTo>
                      <a:pt x="2480864" y="393699"/>
                    </a:lnTo>
                    <a:lnTo>
                      <a:pt x="2489505" y="380999"/>
                    </a:lnTo>
                    <a:lnTo>
                      <a:pt x="2474383" y="368299"/>
                    </a:lnTo>
                    <a:close/>
                  </a:path>
                  <a:path w="3439795" h="1447800">
                    <a:moveTo>
                      <a:pt x="2489505" y="380999"/>
                    </a:moveTo>
                    <a:lnTo>
                      <a:pt x="2480864" y="393699"/>
                    </a:lnTo>
                    <a:lnTo>
                      <a:pt x="2489505" y="393699"/>
                    </a:lnTo>
                    <a:lnTo>
                      <a:pt x="2489505" y="380999"/>
                    </a:lnTo>
                    <a:close/>
                  </a:path>
                  <a:path w="3439795" h="1447800">
                    <a:moveTo>
                      <a:pt x="2914888" y="380999"/>
                    </a:moveTo>
                    <a:lnTo>
                      <a:pt x="2914888" y="393699"/>
                    </a:lnTo>
                    <a:lnTo>
                      <a:pt x="2923528" y="393699"/>
                    </a:lnTo>
                    <a:lnTo>
                      <a:pt x="2914888" y="380999"/>
                    </a:lnTo>
                    <a:close/>
                  </a:path>
                  <a:path w="3439795" h="1447800">
                    <a:moveTo>
                      <a:pt x="2927849" y="368299"/>
                    </a:moveTo>
                    <a:lnTo>
                      <a:pt x="2923528" y="368299"/>
                    </a:lnTo>
                    <a:lnTo>
                      <a:pt x="2914888" y="380999"/>
                    </a:lnTo>
                    <a:lnTo>
                      <a:pt x="2923528" y="393699"/>
                    </a:lnTo>
                    <a:lnTo>
                      <a:pt x="2927849" y="393699"/>
                    </a:lnTo>
                    <a:lnTo>
                      <a:pt x="2927849" y="368299"/>
                    </a:lnTo>
                    <a:close/>
                  </a:path>
                  <a:path w="3439795" h="1447800">
                    <a:moveTo>
                      <a:pt x="2927849" y="368299"/>
                    </a:moveTo>
                    <a:lnTo>
                      <a:pt x="2927849" y="393699"/>
                    </a:lnTo>
                    <a:lnTo>
                      <a:pt x="2932169" y="393699"/>
                    </a:lnTo>
                    <a:lnTo>
                      <a:pt x="2927849" y="368299"/>
                    </a:lnTo>
                    <a:close/>
                  </a:path>
                  <a:path w="3439795" h="1447800">
                    <a:moveTo>
                      <a:pt x="2929289" y="366183"/>
                    </a:moveTo>
                    <a:lnTo>
                      <a:pt x="2927849" y="368299"/>
                    </a:lnTo>
                    <a:lnTo>
                      <a:pt x="2932169" y="393699"/>
                    </a:lnTo>
                    <a:lnTo>
                      <a:pt x="2932169" y="368299"/>
                    </a:lnTo>
                    <a:lnTo>
                      <a:pt x="2929289" y="366183"/>
                    </a:lnTo>
                    <a:close/>
                  </a:path>
                  <a:path w="3439795" h="1447800">
                    <a:moveTo>
                      <a:pt x="2932169" y="368299"/>
                    </a:moveTo>
                    <a:lnTo>
                      <a:pt x="2932169" y="393699"/>
                    </a:lnTo>
                    <a:lnTo>
                      <a:pt x="2936490" y="380999"/>
                    </a:lnTo>
                    <a:lnTo>
                      <a:pt x="2938650" y="380999"/>
                    </a:lnTo>
                    <a:lnTo>
                      <a:pt x="2932169" y="368299"/>
                    </a:lnTo>
                    <a:close/>
                  </a:path>
                  <a:path w="3439795" h="1447800">
                    <a:moveTo>
                      <a:pt x="2936490" y="380999"/>
                    </a:moveTo>
                    <a:lnTo>
                      <a:pt x="2932169" y="393699"/>
                    </a:lnTo>
                    <a:lnTo>
                      <a:pt x="2935050" y="389466"/>
                    </a:lnTo>
                    <a:lnTo>
                      <a:pt x="2936490" y="380999"/>
                    </a:lnTo>
                    <a:close/>
                  </a:path>
                  <a:path w="3439795" h="1447800">
                    <a:moveTo>
                      <a:pt x="2935050" y="389466"/>
                    </a:moveTo>
                    <a:lnTo>
                      <a:pt x="2932169" y="393699"/>
                    </a:lnTo>
                    <a:lnTo>
                      <a:pt x="2934330" y="393699"/>
                    </a:lnTo>
                    <a:lnTo>
                      <a:pt x="2935050" y="389466"/>
                    </a:lnTo>
                    <a:close/>
                  </a:path>
                  <a:path w="3439795" h="1447800">
                    <a:moveTo>
                      <a:pt x="433969" y="380999"/>
                    </a:moveTo>
                    <a:lnTo>
                      <a:pt x="430609" y="390877"/>
                    </a:lnTo>
                    <a:lnTo>
                      <a:pt x="432079" y="392112"/>
                    </a:lnTo>
                    <a:lnTo>
                      <a:pt x="433969" y="380999"/>
                    </a:lnTo>
                    <a:close/>
                  </a:path>
                  <a:path w="3439795" h="1447800">
                    <a:moveTo>
                      <a:pt x="2173753" y="384174"/>
                    </a:moveTo>
                    <a:lnTo>
                      <a:pt x="2172133" y="386079"/>
                    </a:lnTo>
                    <a:lnTo>
                      <a:pt x="2172133" y="391583"/>
                    </a:lnTo>
                    <a:lnTo>
                      <a:pt x="2172565" y="391159"/>
                    </a:lnTo>
                    <a:lnTo>
                      <a:pt x="2173753" y="384174"/>
                    </a:lnTo>
                    <a:close/>
                  </a:path>
                  <a:path w="3439795" h="1447800">
                    <a:moveTo>
                      <a:pt x="2180774" y="380999"/>
                    </a:moveTo>
                    <a:lnTo>
                      <a:pt x="2176454" y="380999"/>
                    </a:lnTo>
                    <a:lnTo>
                      <a:pt x="2173753" y="384174"/>
                    </a:lnTo>
                    <a:lnTo>
                      <a:pt x="2172565" y="391159"/>
                    </a:lnTo>
                    <a:lnTo>
                      <a:pt x="2180774" y="383116"/>
                    </a:lnTo>
                    <a:lnTo>
                      <a:pt x="2180774" y="380999"/>
                    </a:lnTo>
                    <a:close/>
                  </a:path>
                  <a:path w="3439795" h="1447800">
                    <a:moveTo>
                      <a:pt x="2308137" y="380999"/>
                    </a:moveTo>
                    <a:lnTo>
                      <a:pt x="2301656" y="380999"/>
                    </a:lnTo>
                    <a:lnTo>
                      <a:pt x="2306841" y="391159"/>
                    </a:lnTo>
                    <a:lnTo>
                      <a:pt x="2308137" y="387349"/>
                    </a:lnTo>
                    <a:lnTo>
                      <a:pt x="2308137" y="380999"/>
                    </a:lnTo>
                    <a:close/>
                  </a:path>
                  <a:path w="3439795" h="1447800">
                    <a:moveTo>
                      <a:pt x="433969" y="380999"/>
                    </a:moveTo>
                    <a:lnTo>
                      <a:pt x="429649" y="380999"/>
                    </a:lnTo>
                    <a:lnTo>
                      <a:pt x="429649" y="390071"/>
                    </a:lnTo>
                    <a:lnTo>
                      <a:pt x="430609" y="390877"/>
                    </a:lnTo>
                    <a:lnTo>
                      <a:pt x="433969" y="380999"/>
                    </a:lnTo>
                    <a:close/>
                  </a:path>
                  <a:path w="3439795" h="1447800">
                    <a:moveTo>
                      <a:pt x="2476544" y="380999"/>
                    </a:moveTo>
                    <a:lnTo>
                      <a:pt x="2470063" y="380999"/>
                    </a:lnTo>
                    <a:lnTo>
                      <a:pt x="2478164" y="390524"/>
                    </a:lnTo>
                    <a:lnTo>
                      <a:pt x="2476544" y="380999"/>
                    </a:lnTo>
                    <a:close/>
                  </a:path>
                  <a:path w="3439795" h="1447800">
                    <a:moveTo>
                      <a:pt x="429649" y="380999"/>
                    </a:moveTo>
                    <a:lnTo>
                      <a:pt x="418847" y="380999"/>
                    </a:lnTo>
                    <a:lnTo>
                      <a:pt x="429649" y="390071"/>
                    </a:lnTo>
                    <a:lnTo>
                      <a:pt x="429649" y="380999"/>
                    </a:lnTo>
                    <a:close/>
                  </a:path>
                  <a:path w="3439795" h="1447800">
                    <a:moveTo>
                      <a:pt x="2150531" y="368299"/>
                    </a:moveTo>
                    <a:lnTo>
                      <a:pt x="2141890" y="380999"/>
                    </a:lnTo>
                    <a:lnTo>
                      <a:pt x="2147651" y="389466"/>
                    </a:lnTo>
                    <a:lnTo>
                      <a:pt x="2146211" y="380999"/>
                    </a:lnTo>
                    <a:lnTo>
                      <a:pt x="2150531" y="368299"/>
                    </a:lnTo>
                    <a:close/>
                  </a:path>
                  <a:path w="3439795" h="1447800">
                    <a:moveTo>
                      <a:pt x="2284374" y="355599"/>
                    </a:moveTo>
                    <a:lnTo>
                      <a:pt x="2271413" y="355599"/>
                    </a:lnTo>
                    <a:lnTo>
                      <a:pt x="2269253" y="368299"/>
                    </a:lnTo>
                    <a:lnTo>
                      <a:pt x="2262772" y="380999"/>
                    </a:lnTo>
                    <a:lnTo>
                      <a:pt x="2269973" y="389466"/>
                    </a:lnTo>
                    <a:lnTo>
                      <a:pt x="2273573" y="368299"/>
                    </a:lnTo>
                    <a:lnTo>
                      <a:pt x="2277894" y="368299"/>
                    </a:lnTo>
                    <a:lnTo>
                      <a:pt x="2284374" y="355599"/>
                    </a:lnTo>
                    <a:close/>
                  </a:path>
                  <a:path w="3439795" h="1447800">
                    <a:moveTo>
                      <a:pt x="2932169" y="368299"/>
                    </a:moveTo>
                    <a:lnTo>
                      <a:pt x="2938650" y="380999"/>
                    </a:lnTo>
                    <a:lnTo>
                      <a:pt x="2936490" y="380999"/>
                    </a:lnTo>
                    <a:lnTo>
                      <a:pt x="2935050" y="389466"/>
                    </a:lnTo>
                    <a:lnTo>
                      <a:pt x="2940810" y="380999"/>
                    </a:lnTo>
                    <a:lnTo>
                      <a:pt x="2932169" y="368299"/>
                    </a:lnTo>
                    <a:close/>
                  </a:path>
                  <a:path w="3439795" h="1447800">
                    <a:moveTo>
                      <a:pt x="2159172" y="383539"/>
                    </a:moveTo>
                    <a:lnTo>
                      <a:pt x="2156703" y="386442"/>
                    </a:lnTo>
                    <a:lnTo>
                      <a:pt x="2156030" y="389081"/>
                    </a:lnTo>
                    <a:lnTo>
                      <a:pt x="2159172" y="386442"/>
                    </a:lnTo>
                    <a:lnTo>
                      <a:pt x="2159172" y="383539"/>
                    </a:lnTo>
                    <a:close/>
                  </a:path>
                  <a:path w="3439795" h="1447800">
                    <a:moveTo>
                      <a:pt x="2170513" y="384174"/>
                    </a:moveTo>
                    <a:lnTo>
                      <a:pt x="2168245" y="386079"/>
                    </a:lnTo>
                    <a:lnTo>
                      <a:pt x="2167813" y="387349"/>
                    </a:lnTo>
                    <a:lnTo>
                      <a:pt x="2169973" y="385233"/>
                    </a:lnTo>
                    <a:lnTo>
                      <a:pt x="2170513" y="384174"/>
                    </a:lnTo>
                    <a:close/>
                  </a:path>
                  <a:path w="3439795" h="1447800">
                    <a:moveTo>
                      <a:pt x="2314617" y="368299"/>
                    </a:moveTo>
                    <a:lnTo>
                      <a:pt x="2308137" y="368299"/>
                    </a:lnTo>
                    <a:lnTo>
                      <a:pt x="2308137" y="387349"/>
                    </a:lnTo>
                    <a:lnTo>
                      <a:pt x="2314617" y="368299"/>
                    </a:lnTo>
                    <a:close/>
                  </a:path>
                  <a:path w="3439795" h="1447800">
                    <a:moveTo>
                      <a:pt x="2161332" y="368299"/>
                    </a:moveTo>
                    <a:lnTo>
                      <a:pt x="2156703" y="386442"/>
                    </a:lnTo>
                    <a:lnTo>
                      <a:pt x="2159172" y="383539"/>
                    </a:lnTo>
                    <a:lnTo>
                      <a:pt x="2159172" y="380999"/>
                    </a:lnTo>
                    <a:lnTo>
                      <a:pt x="2161332" y="380999"/>
                    </a:lnTo>
                    <a:lnTo>
                      <a:pt x="2161332" y="368299"/>
                    </a:lnTo>
                    <a:close/>
                  </a:path>
                  <a:path w="3439795" h="1447800">
                    <a:moveTo>
                      <a:pt x="2165652" y="380999"/>
                    </a:moveTo>
                    <a:lnTo>
                      <a:pt x="2161332" y="380999"/>
                    </a:lnTo>
                    <a:lnTo>
                      <a:pt x="2159172" y="383539"/>
                    </a:lnTo>
                    <a:lnTo>
                      <a:pt x="2159172" y="386442"/>
                    </a:lnTo>
                    <a:lnTo>
                      <a:pt x="2165652" y="380999"/>
                    </a:lnTo>
                    <a:close/>
                  </a:path>
                  <a:path w="3439795" h="1447800">
                    <a:moveTo>
                      <a:pt x="2172133" y="380999"/>
                    </a:moveTo>
                    <a:lnTo>
                      <a:pt x="2169973" y="380999"/>
                    </a:lnTo>
                    <a:lnTo>
                      <a:pt x="2168245" y="386079"/>
                    </a:lnTo>
                    <a:lnTo>
                      <a:pt x="2170513" y="384174"/>
                    </a:lnTo>
                    <a:lnTo>
                      <a:pt x="2172133" y="380999"/>
                    </a:lnTo>
                    <a:close/>
                  </a:path>
                  <a:path w="3439795" h="1447800">
                    <a:moveTo>
                      <a:pt x="2174293" y="380999"/>
                    </a:moveTo>
                    <a:lnTo>
                      <a:pt x="2172133" y="383116"/>
                    </a:lnTo>
                    <a:lnTo>
                      <a:pt x="2172133" y="386079"/>
                    </a:lnTo>
                    <a:lnTo>
                      <a:pt x="2173753" y="384174"/>
                    </a:lnTo>
                    <a:lnTo>
                      <a:pt x="2174293" y="380999"/>
                    </a:lnTo>
                    <a:close/>
                  </a:path>
                  <a:path w="3439795" h="1447800">
                    <a:moveTo>
                      <a:pt x="2172133" y="382814"/>
                    </a:moveTo>
                    <a:lnTo>
                      <a:pt x="2170513" y="384174"/>
                    </a:lnTo>
                    <a:lnTo>
                      <a:pt x="2169973" y="385233"/>
                    </a:lnTo>
                    <a:lnTo>
                      <a:pt x="2172133" y="383116"/>
                    </a:lnTo>
                    <a:lnTo>
                      <a:pt x="2172133" y="382814"/>
                    </a:lnTo>
                    <a:close/>
                  </a:path>
                  <a:path w="3439795" h="1447800">
                    <a:moveTo>
                      <a:pt x="2182934" y="380999"/>
                    </a:moveTo>
                    <a:lnTo>
                      <a:pt x="2180774" y="383116"/>
                    </a:lnTo>
                    <a:lnTo>
                      <a:pt x="2180774" y="385233"/>
                    </a:lnTo>
                    <a:lnTo>
                      <a:pt x="2182934" y="380999"/>
                    </a:lnTo>
                    <a:close/>
                  </a:path>
                  <a:path w="3439795" h="1447800">
                    <a:moveTo>
                      <a:pt x="2185094" y="380999"/>
                    </a:moveTo>
                    <a:lnTo>
                      <a:pt x="2182934" y="380999"/>
                    </a:lnTo>
                    <a:lnTo>
                      <a:pt x="2180774" y="385233"/>
                    </a:lnTo>
                    <a:lnTo>
                      <a:pt x="2185094" y="380999"/>
                    </a:lnTo>
                    <a:close/>
                  </a:path>
                  <a:path w="3439795" h="1447800">
                    <a:moveTo>
                      <a:pt x="2293015" y="380999"/>
                    </a:moveTo>
                    <a:lnTo>
                      <a:pt x="2292707" y="384628"/>
                    </a:lnTo>
                    <a:lnTo>
                      <a:pt x="2293015" y="385233"/>
                    </a:lnTo>
                    <a:lnTo>
                      <a:pt x="2293015" y="380999"/>
                    </a:lnTo>
                    <a:close/>
                  </a:path>
                  <a:path w="3439795" h="1447800">
                    <a:moveTo>
                      <a:pt x="2318938" y="368299"/>
                    </a:moveTo>
                    <a:lnTo>
                      <a:pt x="2314617" y="368299"/>
                    </a:lnTo>
                    <a:lnTo>
                      <a:pt x="2311737" y="385233"/>
                    </a:lnTo>
                    <a:lnTo>
                      <a:pt x="2318938" y="368299"/>
                    </a:lnTo>
                    <a:close/>
                  </a:path>
                  <a:path w="3439795" h="1447800">
                    <a:moveTo>
                      <a:pt x="2293015" y="380999"/>
                    </a:moveTo>
                    <a:lnTo>
                      <a:pt x="2290855" y="380999"/>
                    </a:lnTo>
                    <a:lnTo>
                      <a:pt x="2292707" y="384628"/>
                    </a:lnTo>
                    <a:lnTo>
                      <a:pt x="2293015" y="380999"/>
                    </a:lnTo>
                    <a:close/>
                  </a:path>
                  <a:path w="3439795" h="1447800">
                    <a:moveTo>
                      <a:pt x="2172133" y="380999"/>
                    </a:moveTo>
                    <a:lnTo>
                      <a:pt x="2170513" y="384174"/>
                    </a:lnTo>
                    <a:lnTo>
                      <a:pt x="2172133" y="382814"/>
                    </a:lnTo>
                    <a:lnTo>
                      <a:pt x="2172133" y="380999"/>
                    </a:lnTo>
                    <a:close/>
                  </a:path>
                  <a:path w="3439795" h="1447800">
                    <a:moveTo>
                      <a:pt x="2176454" y="380999"/>
                    </a:moveTo>
                    <a:lnTo>
                      <a:pt x="2174293" y="380999"/>
                    </a:lnTo>
                    <a:lnTo>
                      <a:pt x="2173753" y="384174"/>
                    </a:lnTo>
                    <a:lnTo>
                      <a:pt x="2176454" y="380999"/>
                    </a:lnTo>
                    <a:close/>
                  </a:path>
                  <a:path w="3439795" h="1447800">
                    <a:moveTo>
                      <a:pt x="2161332" y="380999"/>
                    </a:moveTo>
                    <a:lnTo>
                      <a:pt x="2159172" y="380999"/>
                    </a:lnTo>
                    <a:lnTo>
                      <a:pt x="2159172" y="383539"/>
                    </a:lnTo>
                    <a:lnTo>
                      <a:pt x="2161332" y="380999"/>
                    </a:lnTo>
                    <a:close/>
                  </a:path>
                  <a:path w="3439795" h="1447800">
                    <a:moveTo>
                      <a:pt x="2174293" y="380999"/>
                    </a:moveTo>
                    <a:lnTo>
                      <a:pt x="2172133" y="382814"/>
                    </a:lnTo>
                    <a:lnTo>
                      <a:pt x="2172133" y="383116"/>
                    </a:lnTo>
                    <a:lnTo>
                      <a:pt x="2174293" y="380999"/>
                    </a:lnTo>
                    <a:close/>
                  </a:path>
                  <a:path w="3439795" h="1447800">
                    <a:moveTo>
                      <a:pt x="2182934" y="380999"/>
                    </a:moveTo>
                    <a:lnTo>
                      <a:pt x="2180774" y="380999"/>
                    </a:lnTo>
                    <a:lnTo>
                      <a:pt x="2180774" y="383116"/>
                    </a:lnTo>
                    <a:lnTo>
                      <a:pt x="2182934" y="380999"/>
                    </a:lnTo>
                    <a:close/>
                  </a:path>
                  <a:path w="3439795" h="1447800">
                    <a:moveTo>
                      <a:pt x="2174293" y="380999"/>
                    </a:moveTo>
                    <a:lnTo>
                      <a:pt x="2172133" y="380999"/>
                    </a:lnTo>
                    <a:lnTo>
                      <a:pt x="2172133" y="382814"/>
                    </a:lnTo>
                    <a:lnTo>
                      <a:pt x="2174293" y="380999"/>
                    </a:lnTo>
                    <a:close/>
                  </a:path>
                  <a:path w="3439795" h="1447800">
                    <a:moveTo>
                      <a:pt x="362772" y="380999"/>
                    </a:moveTo>
                    <a:lnTo>
                      <a:pt x="360612" y="380999"/>
                    </a:lnTo>
                    <a:lnTo>
                      <a:pt x="362183" y="382154"/>
                    </a:lnTo>
                    <a:lnTo>
                      <a:pt x="362772" y="380999"/>
                    </a:lnTo>
                    <a:close/>
                  </a:path>
                  <a:path w="3439795" h="1447800">
                    <a:moveTo>
                      <a:pt x="120918" y="368299"/>
                    </a:moveTo>
                    <a:lnTo>
                      <a:pt x="120918" y="380999"/>
                    </a:lnTo>
                    <a:lnTo>
                      <a:pt x="129558" y="380999"/>
                    </a:lnTo>
                    <a:lnTo>
                      <a:pt x="120918" y="368299"/>
                    </a:lnTo>
                    <a:close/>
                  </a:path>
                  <a:path w="3439795" h="1447800">
                    <a:moveTo>
                      <a:pt x="136039" y="355599"/>
                    </a:moveTo>
                    <a:lnTo>
                      <a:pt x="120918" y="355599"/>
                    </a:lnTo>
                    <a:lnTo>
                      <a:pt x="120918" y="368299"/>
                    </a:lnTo>
                    <a:lnTo>
                      <a:pt x="129558" y="380999"/>
                    </a:lnTo>
                    <a:lnTo>
                      <a:pt x="136039" y="380999"/>
                    </a:lnTo>
                    <a:lnTo>
                      <a:pt x="133879" y="368299"/>
                    </a:lnTo>
                    <a:lnTo>
                      <a:pt x="136039" y="355599"/>
                    </a:lnTo>
                    <a:close/>
                  </a:path>
                  <a:path w="3439795" h="1447800">
                    <a:moveTo>
                      <a:pt x="136039" y="355599"/>
                    </a:moveTo>
                    <a:lnTo>
                      <a:pt x="133879" y="368299"/>
                    </a:lnTo>
                    <a:lnTo>
                      <a:pt x="136039" y="380999"/>
                    </a:lnTo>
                    <a:lnTo>
                      <a:pt x="138199" y="378883"/>
                    </a:lnTo>
                    <a:lnTo>
                      <a:pt x="138199" y="357716"/>
                    </a:lnTo>
                    <a:lnTo>
                      <a:pt x="136039" y="355599"/>
                    </a:lnTo>
                    <a:close/>
                  </a:path>
                  <a:path w="3439795" h="1447800">
                    <a:moveTo>
                      <a:pt x="138199" y="378883"/>
                    </a:moveTo>
                    <a:lnTo>
                      <a:pt x="136039" y="380999"/>
                    </a:lnTo>
                    <a:lnTo>
                      <a:pt x="138199" y="379185"/>
                    </a:lnTo>
                    <a:lnTo>
                      <a:pt x="138199" y="378883"/>
                    </a:lnTo>
                    <a:close/>
                  </a:path>
                  <a:path w="3439795" h="1447800">
                    <a:moveTo>
                      <a:pt x="138199" y="379185"/>
                    </a:moveTo>
                    <a:lnTo>
                      <a:pt x="136039" y="380999"/>
                    </a:lnTo>
                    <a:lnTo>
                      <a:pt x="138199" y="380999"/>
                    </a:lnTo>
                    <a:lnTo>
                      <a:pt x="138199" y="379185"/>
                    </a:lnTo>
                    <a:close/>
                  </a:path>
                  <a:path w="3439795" h="1447800">
                    <a:moveTo>
                      <a:pt x="144680" y="373742"/>
                    </a:moveTo>
                    <a:lnTo>
                      <a:pt x="138199" y="379185"/>
                    </a:lnTo>
                    <a:lnTo>
                      <a:pt x="138199" y="380999"/>
                    </a:lnTo>
                    <a:lnTo>
                      <a:pt x="144680" y="380999"/>
                    </a:lnTo>
                    <a:lnTo>
                      <a:pt x="144680" y="373742"/>
                    </a:lnTo>
                    <a:close/>
                  </a:path>
                  <a:path w="3439795" h="1447800">
                    <a:moveTo>
                      <a:pt x="151161" y="368299"/>
                    </a:moveTo>
                    <a:lnTo>
                      <a:pt x="144680" y="373742"/>
                    </a:lnTo>
                    <a:lnTo>
                      <a:pt x="144680" y="380999"/>
                    </a:lnTo>
                    <a:lnTo>
                      <a:pt x="151161" y="368299"/>
                    </a:lnTo>
                    <a:close/>
                  </a:path>
                  <a:path w="3439795" h="1447800">
                    <a:moveTo>
                      <a:pt x="151161" y="368299"/>
                    </a:moveTo>
                    <a:lnTo>
                      <a:pt x="144680" y="380999"/>
                    </a:lnTo>
                    <a:lnTo>
                      <a:pt x="166282" y="380999"/>
                    </a:lnTo>
                    <a:lnTo>
                      <a:pt x="151161" y="368299"/>
                    </a:lnTo>
                    <a:close/>
                  </a:path>
                  <a:path w="3439795" h="1447800">
                    <a:moveTo>
                      <a:pt x="440450" y="355599"/>
                    </a:moveTo>
                    <a:lnTo>
                      <a:pt x="436129" y="368299"/>
                    </a:lnTo>
                    <a:lnTo>
                      <a:pt x="449090" y="380999"/>
                    </a:lnTo>
                    <a:lnTo>
                      <a:pt x="438289" y="368299"/>
                    </a:lnTo>
                    <a:lnTo>
                      <a:pt x="457731" y="368299"/>
                    </a:lnTo>
                    <a:lnTo>
                      <a:pt x="440450" y="355599"/>
                    </a:lnTo>
                    <a:close/>
                  </a:path>
                  <a:path w="3439795" h="1447800">
                    <a:moveTo>
                      <a:pt x="451251" y="368299"/>
                    </a:moveTo>
                    <a:lnTo>
                      <a:pt x="438289" y="368299"/>
                    </a:lnTo>
                    <a:lnTo>
                      <a:pt x="449090" y="380999"/>
                    </a:lnTo>
                    <a:lnTo>
                      <a:pt x="451251" y="368299"/>
                    </a:lnTo>
                    <a:close/>
                  </a:path>
                  <a:path w="3439795" h="1447800">
                    <a:moveTo>
                      <a:pt x="2115968" y="368299"/>
                    </a:moveTo>
                    <a:lnTo>
                      <a:pt x="2115968" y="380999"/>
                    </a:lnTo>
                    <a:lnTo>
                      <a:pt x="2118128" y="380999"/>
                    </a:lnTo>
                    <a:lnTo>
                      <a:pt x="2115968" y="368299"/>
                    </a:lnTo>
                    <a:close/>
                  </a:path>
                  <a:path w="3439795" h="1447800">
                    <a:moveTo>
                      <a:pt x="2131089" y="368299"/>
                    </a:moveTo>
                    <a:lnTo>
                      <a:pt x="2115968" y="368299"/>
                    </a:lnTo>
                    <a:lnTo>
                      <a:pt x="2118128" y="380999"/>
                    </a:lnTo>
                    <a:lnTo>
                      <a:pt x="2131089" y="380999"/>
                    </a:lnTo>
                    <a:lnTo>
                      <a:pt x="2131089" y="368299"/>
                    </a:lnTo>
                    <a:close/>
                  </a:path>
                  <a:path w="3439795" h="1447800">
                    <a:moveTo>
                      <a:pt x="2150531" y="368299"/>
                    </a:moveTo>
                    <a:lnTo>
                      <a:pt x="2131089" y="368299"/>
                    </a:lnTo>
                    <a:lnTo>
                      <a:pt x="2131089" y="380999"/>
                    </a:lnTo>
                    <a:lnTo>
                      <a:pt x="2141890" y="380999"/>
                    </a:lnTo>
                    <a:lnTo>
                      <a:pt x="2150531" y="368299"/>
                    </a:lnTo>
                    <a:close/>
                  </a:path>
                  <a:path w="3439795" h="1447800">
                    <a:moveTo>
                      <a:pt x="2150531" y="378883"/>
                    </a:moveTo>
                    <a:lnTo>
                      <a:pt x="2148371" y="380999"/>
                    </a:lnTo>
                    <a:lnTo>
                      <a:pt x="2150531" y="380999"/>
                    </a:lnTo>
                    <a:lnTo>
                      <a:pt x="2150531" y="378883"/>
                    </a:lnTo>
                    <a:close/>
                  </a:path>
                  <a:path w="3439795" h="1447800">
                    <a:moveTo>
                      <a:pt x="2239100" y="355599"/>
                    </a:moveTo>
                    <a:lnTo>
                      <a:pt x="2236940" y="355599"/>
                    </a:lnTo>
                    <a:lnTo>
                      <a:pt x="2226139" y="368299"/>
                    </a:lnTo>
                    <a:lnTo>
                      <a:pt x="2234779" y="380999"/>
                    </a:lnTo>
                    <a:lnTo>
                      <a:pt x="2243420" y="380999"/>
                    </a:lnTo>
                    <a:lnTo>
                      <a:pt x="2239100" y="355599"/>
                    </a:lnTo>
                    <a:close/>
                  </a:path>
                  <a:path w="3439795" h="1447800">
                    <a:moveTo>
                      <a:pt x="2239100" y="355599"/>
                    </a:moveTo>
                    <a:lnTo>
                      <a:pt x="2243420" y="380999"/>
                    </a:lnTo>
                    <a:lnTo>
                      <a:pt x="2244963" y="379185"/>
                    </a:lnTo>
                    <a:lnTo>
                      <a:pt x="2244932" y="378459"/>
                    </a:lnTo>
                    <a:lnTo>
                      <a:pt x="2239100" y="355599"/>
                    </a:lnTo>
                    <a:close/>
                  </a:path>
                  <a:path w="3439795" h="1447800">
                    <a:moveTo>
                      <a:pt x="2245082" y="379046"/>
                    </a:moveTo>
                    <a:lnTo>
                      <a:pt x="2243420" y="380999"/>
                    </a:lnTo>
                    <a:lnTo>
                      <a:pt x="2245580" y="380999"/>
                    </a:lnTo>
                    <a:lnTo>
                      <a:pt x="2245082" y="379046"/>
                    </a:lnTo>
                    <a:close/>
                  </a:path>
                  <a:path w="3439795" h="1447800">
                    <a:moveTo>
                      <a:pt x="2267093" y="355599"/>
                    </a:moveTo>
                    <a:lnTo>
                      <a:pt x="2258452" y="355599"/>
                    </a:lnTo>
                    <a:lnTo>
                      <a:pt x="2264932" y="368299"/>
                    </a:lnTo>
                    <a:lnTo>
                      <a:pt x="2262772" y="380999"/>
                    </a:lnTo>
                    <a:lnTo>
                      <a:pt x="2269253" y="368299"/>
                    </a:lnTo>
                    <a:lnTo>
                      <a:pt x="2267093" y="368299"/>
                    </a:lnTo>
                    <a:lnTo>
                      <a:pt x="2267093" y="355599"/>
                    </a:lnTo>
                    <a:close/>
                  </a:path>
                  <a:path w="3439795" h="1447800">
                    <a:moveTo>
                      <a:pt x="2275734" y="368299"/>
                    </a:moveTo>
                    <a:lnTo>
                      <a:pt x="2273573" y="368299"/>
                    </a:lnTo>
                    <a:lnTo>
                      <a:pt x="2277894" y="380999"/>
                    </a:lnTo>
                    <a:lnTo>
                      <a:pt x="2275734" y="368299"/>
                    </a:lnTo>
                    <a:close/>
                  </a:path>
                  <a:path w="3439795" h="1447800">
                    <a:moveTo>
                      <a:pt x="2295175" y="355599"/>
                    </a:moveTo>
                    <a:lnTo>
                      <a:pt x="2284374" y="368299"/>
                    </a:lnTo>
                    <a:lnTo>
                      <a:pt x="2293015" y="380999"/>
                    </a:lnTo>
                    <a:lnTo>
                      <a:pt x="2303816" y="368299"/>
                    </a:lnTo>
                    <a:lnTo>
                      <a:pt x="2286535" y="368299"/>
                    </a:lnTo>
                    <a:lnTo>
                      <a:pt x="2295175" y="355599"/>
                    </a:lnTo>
                    <a:close/>
                  </a:path>
                  <a:path w="3439795" h="1447800">
                    <a:moveTo>
                      <a:pt x="2441980" y="368299"/>
                    </a:moveTo>
                    <a:lnTo>
                      <a:pt x="2435590" y="368299"/>
                    </a:lnTo>
                    <a:lnTo>
                      <a:pt x="2446301" y="380999"/>
                    </a:lnTo>
                    <a:lnTo>
                      <a:pt x="2452781" y="380999"/>
                    </a:lnTo>
                    <a:lnTo>
                      <a:pt x="2441980" y="368299"/>
                    </a:lnTo>
                    <a:close/>
                  </a:path>
                  <a:path w="3439795" h="1447800">
                    <a:moveTo>
                      <a:pt x="2444140" y="368299"/>
                    </a:moveTo>
                    <a:lnTo>
                      <a:pt x="2441980" y="368299"/>
                    </a:lnTo>
                    <a:lnTo>
                      <a:pt x="2452781" y="380999"/>
                    </a:lnTo>
                    <a:lnTo>
                      <a:pt x="2444140" y="368299"/>
                    </a:lnTo>
                    <a:close/>
                  </a:path>
                  <a:path w="3439795" h="1447800">
                    <a:moveTo>
                      <a:pt x="2444140" y="368299"/>
                    </a:moveTo>
                    <a:lnTo>
                      <a:pt x="2452781" y="380999"/>
                    </a:lnTo>
                    <a:lnTo>
                      <a:pt x="2461422" y="380999"/>
                    </a:lnTo>
                    <a:lnTo>
                      <a:pt x="2444140" y="368299"/>
                    </a:lnTo>
                    <a:close/>
                  </a:path>
                  <a:path w="3439795" h="1447800">
                    <a:moveTo>
                      <a:pt x="2457102" y="342899"/>
                    </a:moveTo>
                    <a:lnTo>
                      <a:pt x="2444140" y="355599"/>
                    </a:lnTo>
                    <a:lnTo>
                      <a:pt x="2446301" y="355599"/>
                    </a:lnTo>
                    <a:lnTo>
                      <a:pt x="2446301" y="368299"/>
                    </a:lnTo>
                    <a:lnTo>
                      <a:pt x="2444140" y="368299"/>
                    </a:lnTo>
                    <a:lnTo>
                      <a:pt x="2461422" y="380999"/>
                    </a:lnTo>
                    <a:lnTo>
                      <a:pt x="2448461" y="368299"/>
                    </a:lnTo>
                    <a:lnTo>
                      <a:pt x="2448461" y="355599"/>
                    </a:lnTo>
                    <a:lnTo>
                      <a:pt x="2457102" y="342899"/>
                    </a:lnTo>
                    <a:close/>
                  </a:path>
                  <a:path w="3439795" h="1447800">
                    <a:moveTo>
                      <a:pt x="2448461" y="355599"/>
                    </a:moveTo>
                    <a:lnTo>
                      <a:pt x="2448461" y="368299"/>
                    </a:lnTo>
                    <a:lnTo>
                      <a:pt x="2461422" y="380999"/>
                    </a:lnTo>
                    <a:lnTo>
                      <a:pt x="2463582" y="368299"/>
                    </a:lnTo>
                    <a:lnTo>
                      <a:pt x="2465743" y="368299"/>
                    </a:lnTo>
                    <a:lnTo>
                      <a:pt x="2448461" y="355599"/>
                    </a:lnTo>
                    <a:close/>
                  </a:path>
                  <a:path w="3439795" h="1447800">
                    <a:moveTo>
                      <a:pt x="2474383" y="368299"/>
                    </a:moveTo>
                    <a:lnTo>
                      <a:pt x="2472223" y="380999"/>
                    </a:lnTo>
                    <a:lnTo>
                      <a:pt x="2474383" y="380999"/>
                    </a:lnTo>
                    <a:lnTo>
                      <a:pt x="2474383" y="368299"/>
                    </a:lnTo>
                    <a:close/>
                  </a:path>
                  <a:path w="3439795" h="1447800">
                    <a:moveTo>
                      <a:pt x="2474383" y="368299"/>
                    </a:moveTo>
                    <a:lnTo>
                      <a:pt x="2489505" y="380999"/>
                    </a:lnTo>
                    <a:lnTo>
                      <a:pt x="2491665" y="380999"/>
                    </a:lnTo>
                    <a:lnTo>
                      <a:pt x="2474383" y="368299"/>
                    </a:lnTo>
                    <a:close/>
                  </a:path>
                  <a:path w="3439795" h="1447800">
                    <a:moveTo>
                      <a:pt x="2489505" y="317499"/>
                    </a:moveTo>
                    <a:lnTo>
                      <a:pt x="2472223" y="330199"/>
                    </a:lnTo>
                    <a:lnTo>
                      <a:pt x="2474383" y="330199"/>
                    </a:lnTo>
                    <a:lnTo>
                      <a:pt x="2474383" y="368299"/>
                    </a:lnTo>
                    <a:lnTo>
                      <a:pt x="2491665" y="380999"/>
                    </a:lnTo>
                    <a:lnTo>
                      <a:pt x="2491665" y="330199"/>
                    </a:lnTo>
                    <a:lnTo>
                      <a:pt x="2489505" y="317499"/>
                    </a:lnTo>
                    <a:close/>
                  </a:path>
                  <a:path w="3439795" h="1447800">
                    <a:moveTo>
                      <a:pt x="2914888" y="355599"/>
                    </a:moveTo>
                    <a:lnTo>
                      <a:pt x="2914888" y="380999"/>
                    </a:lnTo>
                    <a:lnTo>
                      <a:pt x="2923528" y="368299"/>
                    </a:lnTo>
                    <a:lnTo>
                      <a:pt x="2927849" y="368299"/>
                    </a:lnTo>
                    <a:lnTo>
                      <a:pt x="2926852" y="364392"/>
                    </a:lnTo>
                    <a:lnTo>
                      <a:pt x="2914888" y="355599"/>
                    </a:lnTo>
                    <a:close/>
                  </a:path>
                  <a:path w="3439795" h="1447800">
                    <a:moveTo>
                      <a:pt x="2955932" y="368299"/>
                    </a:moveTo>
                    <a:lnTo>
                      <a:pt x="2932169" y="368299"/>
                    </a:lnTo>
                    <a:lnTo>
                      <a:pt x="2940810" y="380999"/>
                    </a:lnTo>
                    <a:lnTo>
                      <a:pt x="2964573" y="380999"/>
                    </a:lnTo>
                    <a:lnTo>
                      <a:pt x="2955932" y="368299"/>
                    </a:lnTo>
                    <a:close/>
                  </a:path>
                  <a:path w="3439795" h="1447800">
                    <a:moveTo>
                      <a:pt x="2958092" y="368299"/>
                    </a:moveTo>
                    <a:lnTo>
                      <a:pt x="2955932" y="368299"/>
                    </a:lnTo>
                    <a:lnTo>
                      <a:pt x="2964573" y="380999"/>
                    </a:lnTo>
                    <a:lnTo>
                      <a:pt x="2958092" y="368299"/>
                    </a:lnTo>
                    <a:close/>
                  </a:path>
                  <a:path w="3439795" h="1447800">
                    <a:moveTo>
                      <a:pt x="2958092" y="368299"/>
                    </a:moveTo>
                    <a:lnTo>
                      <a:pt x="2964573" y="380999"/>
                    </a:lnTo>
                    <a:lnTo>
                      <a:pt x="2968893" y="380999"/>
                    </a:lnTo>
                    <a:lnTo>
                      <a:pt x="2958092" y="368299"/>
                    </a:lnTo>
                    <a:close/>
                  </a:path>
                  <a:path w="3439795" h="1447800">
                    <a:moveTo>
                      <a:pt x="2960252" y="355599"/>
                    </a:moveTo>
                    <a:lnTo>
                      <a:pt x="2958092" y="368299"/>
                    </a:lnTo>
                    <a:lnTo>
                      <a:pt x="2968893" y="380999"/>
                    </a:lnTo>
                    <a:lnTo>
                      <a:pt x="2971053" y="380999"/>
                    </a:lnTo>
                    <a:lnTo>
                      <a:pt x="2960252" y="368299"/>
                    </a:lnTo>
                    <a:lnTo>
                      <a:pt x="2960252" y="355599"/>
                    </a:lnTo>
                    <a:close/>
                  </a:path>
                  <a:path w="3439795" h="1447800">
                    <a:moveTo>
                      <a:pt x="2966733" y="342899"/>
                    </a:moveTo>
                    <a:lnTo>
                      <a:pt x="2962412" y="342899"/>
                    </a:lnTo>
                    <a:lnTo>
                      <a:pt x="2960252" y="355599"/>
                    </a:lnTo>
                    <a:lnTo>
                      <a:pt x="2960252" y="368299"/>
                    </a:lnTo>
                    <a:lnTo>
                      <a:pt x="2971053" y="380999"/>
                    </a:lnTo>
                    <a:lnTo>
                      <a:pt x="2966733" y="355599"/>
                    </a:lnTo>
                    <a:lnTo>
                      <a:pt x="2975374" y="355599"/>
                    </a:lnTo>
                    <a:lnTo>
                      <a:pt x="2966733" y="342899"/>
                    </a:lnTo>
                    <a:close/>
                  </a:path>
                  <a:path w="3439795" h="1447800">
                    <a:moveTo>
                      <a:pt x="2977534" y="355599"/>
                    </a:moveTo>
                    <a:lnTo>
                      <a:pt x="2966733" y="355599"/>
                    </a:lnTo>
                    <a:lnTo>
                      <a:pt x="2971053" y="380999"/>
                    </a:lnTo>
                    <a:lnTo>
                      <a:pt x="2977534" y="368299"/>
                    </a:lnTo>
                    <a:lnTo>
                      <a:pt x="2977534" y="355599"/>
                    </a:lnTo>
                    <a:close/>
                  </a:path>
                  <a:path w="3439795" h="1447800">
                    <a:moveTo>
                      <a:pt x="3076814" y="368299"/>
                    </a:moveTo>
                    <a:lnTo>
                      <a:pt x="3066013" y="368299"/>
                    </a:lnTo>
                    <a:lnTo>
                      <a:pt x="3068173" y="380999"/>
                    </a:lnTo>
                    <a:lnTo>
                      <a:pt x="3071953" y="377824"/>
                    </a:lnTo>
                    <a:lnTo>
                      <a:pt x="3076814" y="368299"/>
                    </a:lnTo>
                    <a:close/>
                  </a:path>
                  <a:path w="3439795" h="1447800">
                    <a:moveTo>
                      <a:pt x="3071953" y="377824"/>
                    </a:moveTo>
                    <a:lnTo>
                      <a:pt x="3068173" y="380999"/>
                    </a:lnTo>
                    <a:lnTo>
                      <a:pt x="3070333" y="380999"/>
                    </a:lnTo>
                    <a:lnTo>
                      <a:pt x="3071953" y="377824"/>
                    </a:lnTo>
                    <a:close/>
                  </a:path>
                  <a:path w="3439795" h="1447800">
                    <a:moveTo>
                      <a:pt x="3080270" y="370839"/>
                    </a:moveTo>
                    <a:lnTo>
                      <a:pt x="3071953" y="377824"/>
                    </a:lnTo>
                    <a:lnTo>
                      <a:pt x="3070333" y="380999"/>
                    </a:lnTo>
                    <a:lnTo>
                      <a:pt x="3079406" y="373379"/>
                    </a:lnTo>
                    <a:lnTo>
                      <a:pt x="3080270" y="370839"/>
                    </a:lnTo>
                    <a:close/>
                  </a:path>
                  <a:path w="3439795" h="1447800">
                    <a:moveTo>
                      <a:pt x="3079406" y="373379"/>
                    </a:moveTo>
                    <a:lnTo>
                      <a:pt x="3070333" y="380999"/>
                    </a:lnTo>
                    <a:lnTo>
                      <a:pt x="3076814" y="380999"/>
                    </a:lnTo>
                    <a:lnTo>
                      <a:pt x="3079406" y="373379"/>
                    </a:lnTo>
                    <a:close/>
                  </a:path>
                  <a:path w="3439795" h="1447800">
                    <a:moveTo>
                      <a:pt x="3081134" y="371928"/>
                    </a:moveTo>
                    <a:lnTo>
                      <a:pt x="3079406" y="373379"/>
                    </a:lnTo>
                    <a:lnTo>
                      <a:pt x="3076814" y="380999"/>
                    </a:lnTo>
                    <a:lnTo>
                      <a:pt x="3078974" y="380999"/>
                    </a:lnTo>
                    <a:lnTo>
                      <a:pt x="3081134" y="376766"/>
                    </a:lnTo>
                    <a:lnTo>
                      <a:pt x="3081134" y="371928"/>
                    </a:lnTo>
                    <a:close/>
                  </a:path>
                  <a:path w="3439795" h="1447800">
                    <a:moveTo>
                      <a:pt x="3081134" y="376766"/>
                    </a:moveTo>
                    <a:lnTo>
                      <a:pt x="3078974" y="380999"/>
                    </a:lnTo>
                    <a:lnTo>
                      <a:pt x="3081134" y="378459"/>
                    </a:lnTo>
                    <a:lnTo>
                      <a:pt x="3081134" y="376766"/>
                    </a:lnTo>
                    <a:close/>
                  </a:path>
                  <a:path w="3439795" h="1447800">
                    <a:moveTo>
                      <a:pt x="3081134" y="378459"/>
                    </a:moveTo>
                    <a:lnTo>
                      <a:pt x="3078974" y="380999"/>
                    </a:lnTo>
                    <a:lnTo>
                      <a:pt x="3081134" y="380999"/>
                    </a:lnTo>
                    <a:lnTo>
                      <a:pt x="3081134" y="378459"/>
                    </a:lnTo>
                    <a:close/>
                  </a:path>
                  <a:path w="3439795" h="1447800">
                    <a:moveTo>
                      <a:pt x="3098416" y="368299"/>
                    </a:moveTo>
                    <a:lnTo>
                      <a:pt x="3089775" y="368299"/>
                    </a:lnTo>
                    <a:lnTo>
                      <a:pt x="3081134" y="378459"/>
                    </a:lnTo>
                    <a:lnTo>
                      <a:pt x="3081134" y="380999"/>
                    </a:lnTo>
                    <a:lnTo>
                      <a:pt x="3096256" y="380999"/>
                    </a:lnTo>
                    <a:lnTo>
                      <a:pt x="3098416" y="368299"/>
                    </a:lnTo>
                    <a:close/>
                  </a:path>
                  <a:path w="3439795" h="1447800">
                    <a:moveTo>
                      <a:pt x="3104897" y="368299"/>
                    </a:moveTo>
                    <a:lnTo>
                      <a:pt x="3098416" y="368299"/>
                    </a:lnTo>
                    <a:lnTo>
                      <a:pt x="3096256" y="380999"/>
                    </a:lnTo>
                    <a:lnTo>
                      <a:pt x="3109217" y="380999"/>
                    </a:lnTo>
                    <a:lnTo>
                      <a:pt x="3104897" y="368299"/>
                    </a:lnTo>
                    <a:close/>
                  </a:path>
                  <a:path w="3439795" h="1447800">
                    <a:moveTo>
                      <a:pt x="3107057" y="368299"/>
                    </a:moveTo>
                    <a:lnTo>
                      <a:pt x="3104897" y="368299"/>
                    </a:lnTo>
                    <a:lnTo>
                      <a:pt x="3109217" y="380999"/>
                    </a:lnTo>
                    <a:lnTo>
                      <a:pt x="3109217" y="371474"/>
                    </a:lnTo>
                    <a:lnTo>
                      <a:pt x="3107057" y="368299"/>
                    </a:lnTo>
                    <a:close/>
                  </a:path>
                  <a:path w="3439795" h="1447800">
                    <a:moveTo>
                      <a:pt x="3109217" y="371474"/>
                    </a:moveTo>
                    <a:lnTo>
                      <a:pt x="3109217" y="380999"/>
                    </a:lnTo>
                    <a:lnTo>
                      <a:pt x="3115698" y="380999"/>
                    </a:lnTo>
                    <a:lnTo>
                      <a:pt x="3109217" y="371474"/>
                    </a:lnTo>
                    <a:close/>
                  </a:path>
                  <a:path w="3439795" h="1447800">
                    <a:moveTo>
                      <a:pt x="3109217" y="370416"/>
                    </a:moveTo>
                    <a:lnTo>
                      <a:pt x="3109217" y="371474"/>
                    </a:lnTo>
                    <a:lnTo>
                      <a:pt x="3115698" y="380999"/>
                    </a:lnTo>
                    <a:lnTo>
                      <a:pt x="3120018" y="380999"/>
                    </a:lnTo>
                    <a:lnTo>
                      <a:pt x="3109217" y="370416"/>
                    </a:lnTo>
                    <a:close/>
                  </a:path>
                  <a:path w="3439795" h="1447800">
                    <a:moveTo>
                      <a:pt x="3117858" y="368299"/>
                    </a:moveTo>
                    <a:lnTo>
                      <a:pt x="3109217" y="368299"/>
                    </a:lnTo>
                    <a:lnTo>
                      <a:pt x="3109217" y="370416"/>
                    </a:lnTo>
                    <a:lnTo>
                      <a:pt x="3120018" y="380999"/>
                    </a:lnTo>
                    <a:lnTo>
                      <a:pt x="3117858" y="368299"/>
                    </a:lnTo>
                    <a:close/>
                  </a:path>
                  <a:path w="3439795" h="1447800">
                    <a:moveTo>
                      <a:pt x="3117858" y="368299"/>
                    </a:moveTo>
                    <a:lnTo>
                      <a:pt x="3120018" y="380999"/>
                    </a:lnTo>
                    <a:lnTo>
                      <a:pt x="3120738" y="376766"/>
                    </a:lnTo>
                    <a:lnTo>
                      <a:pt x="3117858" y="368299"/>
                    </a:lnTo>
                    <a:close/>
                  </a:path>
                  <a:path w="3439795" h="1447800">
                    <a:moveTo>
                      <a:pt x="3120738" y="376766"/>
                    </a:moveTo>
                    <a:lnTo>
                      <a:pt x="3120018" y="380999"/>
                    </a:lnTo>
                    <a:lnTo>
                      <a:pt x="3122178" y="380999"/>
                    </a:lnTo>
                    <a:lnTo>
                      <a:pt x="3120738" y="376766"/>
                    </a:lnTo>
                    <a:close/>
                  </a:path>
                  <a:path w="3439795" h="1447800">
                    <a:moveTo>
                      <a:pt x="3122178" y="368299"/>
                    </a:moveTo>
                    <a:lnTo>
                      <a:pt x="3120738" y="376766"/>
                    </a:lnTo>
                    <a:lnTo>
                      <a:pt x="3122178" y="380999"/>
                    </a:lnTo>
                    <a:lnTo>
                      <a:pt x="3122178" y="368299"/>
                    </a:lnTo>
                    <a:close/>
                  </a:path>
                  <a:path w="3439795" h="1447800">
                    <a:moveTo>
                      <a:pt x="3128659" y="368299"/>
                    </a:moveTo>
                    <a:lnTo>
                      <a:pt x="3122178" y="368299"/>
                    </a:lnTo>
                    <a:lnTo>
                      <a:pt x="3122178" y="380999"/>
                    </a:lnTo>
                    <a:lnTo>
                      <a:pt x="3126499" y="380999"/>
                    </a:lnTo>
                    <a:lnTo>
                      <a:pt x="3128659" y="368299"/>
                    </a:lnTo>
                    <a:close/>
                  </a:path>
                  <a:path w="3439795" h="1447800">
                    <a:moveTo>
                      <a:pt x="3128659" y="368299"/>
                    </a:moveTo>
                    <a:lnTo>
                      <a:pt x="3126499" y="380999"/>
                    </a:lnTo>
                    <a:lnTo>
                      <a:pt x="3129955" y="370839"/>
                    </a:lnTo>
                    <a:lnTo>
                      <a:pt x="3128659" y="368299"/>
                    </a:lnTo>
                    <a:close/>
                  </a:path>
                  <a:path w="3439795" h="1447800">
                    <a:moveTo>
                      <a:pt x="3129955" y="370839"/>
                    </a:moveTo>
                    <a:lnTo>
                      <a:pt x="3126499" y="380999"/>
                    </a:lnTo>
                    <a:lnTo>
                      <a:pt x="3130819" y="380999"/>
                    </a:lnTo>
                    <a:lnTo>
                      <a:pt x="3130819" y="372533"/>
                    </a:lnTo>
                    <a:lnTo>
                      <a:pt x="3129955" y="370839"/>
                    </a:lnTo>
                    <a:close/>
                  </a:path>
                  <a:path w="3439795" h="1447800">
                    <a:moveTo>
                      <a:pt x="3130819" y="372533"/>
                    </a:moveTo>
                    <a:lnTo>
                      <a:pt x="3130819" y="380999"/>
                    </a:lnTo>
                    <a:lnTo>
                      <a:pt x="3135140" y="380999"/>
                    </a:lnTo>
                    <a:lnTo>
                      <a:pt x="3130819" y="372533"/>
                    </a:lnTo>
                    <a:close/>
                  </a:path>
                  <a:path w="3439795" h="1447800">
                    <a:moveTo>
                      <a:pt x="3130819" y="371474"/>
                    </a:moveTo>
                    <a:lnTo>
                      <a:pt x="3130819" y="372533"/>
                    </a:lnTo>
                    <a:lnTo>
                      <a:pt x="3135140" y="380999"/>
                    </a:lnTo>
                    <a:lnTo>
                      <a:pt x="3137300" y="380999"/>
                    </a:lnTo>
                    <a:lnTo>
                      <a:pt x="3130819" y="371474"/>
                    </a:lnTo>
                    <a:close/>
                  </a:path>
                  <a:path w="3439795" h="1447800">
                    <a:moveTo>
                      <a:pt x="3137300" y="368299"/>
                    </a:moveTo>
                    <a:lnTo>
                      <a:pt x="3130819" y="368299"/>
                    </a:lnTo>
                    <a:lnTo>
                      <a:pt x="3130819" y="371474"/>
                    </a:lnTo>
                    <a:lnTo>
                      <a:pt x="3137300" y="380999"/>
                    </a:lnTo>
                    <a:lnTo>
                      <a:pt x="3137300" y="368299"/>
                    </a:lnTo>
                    <a:close/>
                  </a:path>
                  <a:path w="3439795" h="1447800">
                    <a:moveTo>
                      <a:pt x="3145941" y="368299"/>
                    </a:moveTo>
                    <a:lnTo>
                      <a:pt x="3137300" y="368299"/>
                    </a:lnTo>
                    <a:lnTo>
                      <a:pt x="3137300" y="380999"/>
                    </a:lnTo>
                    <a:lnTo>
                      <a:pt x="3145941" y="368299"/>
                    </a:lnTo>
                    <a:close/>
                  </a:path>
                  <a:path w="3439795" h="1447800">
                    <a:moveTo>
                      <a:pt x="3145941" y="368299"/>
                    </a:moveTo>
                    <a:lnTo>
                      <a:pt x="3137300" y="380999"/>
                    </a:lnTo>
                    <a:lnTo>
                      <a:pt x="3143780" y="380999"/>
                    </a:lnTo>
                    <a:lnTo>
                      <a:pt x="3145941" y="376766"/>
                    </a:lnTo>
                    <a:lnTo>
                      <a:pt x="3145941" y="368299"/>
                    </a:lnTo>
                    <a:close/>
                  </a:path>
                  <a:path w="3439795" h="1447800">
                    <a:moveTo>
                      <a:pt x="3145941" y="376766"/>
                    </a:moveTo>
                    <a:lnTo>
                      <a:pt x="3143780" y="380999"/>
                    </a:lnTo>
                    <a:lnTo>
                      <a:pt x="3145941" y="380999"/>
                    </a:lnTo>
                    <a:lnTo>
                      <a:pt x="3145941" y="376766"/>
                    </a:lnTo>
                    <a:close/>
                  </a:path>
                  <a:path w="3439795" h="1447800">
                    <a:moveTo>
                      <a:pt x="3150261" y="368299"/>
                    </a:moveTo>
                    <a:lnTo>
                      <a:pt x="3145941" y="376766"/>
                    </a:lnTo>
                    <a:lnTo>
                      <a:pt x="3145941" y="380999"/>
                    </a:lnTo>
                    <a:lnTo>
                      <a:pt x="3148101" y="380999"/>
                    </a:lnTo>
                    <a:lnTo>
                      <a:pt x="3150261" y="368299"/>
                    </a:lnTo>
                    <a:close/>
                  </a:path>
                  <a:path w="3439795" h="1447800">
                    <a:moveTo>
                      <a:pt x="3158902" y="368299"/>
                    </a:moveTo>
                    <a:lnTo>
                      <a:pt x="3150261" y="368299"/>
                    </a:lnTo>
                    <a:lnTo>
                      <a:pt x="3148101" y="380999"/>
                    </a:lnTo>
                    <a:lnTo>
                      <a:pt x="3158902" y="368299"/>
                    </a:lnTo>
                    <a:close/>
                  </a:path>
                  <a:path w="3439795" h="1447800">
                    <a:moveTo>
                      <a:pt x="3163222" y="368299"/>
                    </a:moveTo>
                    <a:lnTo>
                      <a:pt x="3158902" y="368299"/>
                    </a:lnTo>
                    <a:lnTo>
                      <a:pt x="3152421" y="380999"/>
                    </a:lnTo>
                    <a:lnTo>
                      <a:pt x="3165383" y="380999"/>
                    </a:lnTo>
                    <a:lnTo>
                      <a:pt x="3163222" y="368299"/>
                    </a:lnTo>
                    <a:close/>
                  </a:path>
                  <a:path w="3439795" h="1447800">
                    <a:moveTo>
                      <a:pt x="3191215" y="368299"/>
                    </a:moveTo>
                    <a:lnTo>
                      <a:pt x="3193375" y="380999"/>
                    </a:lnTo>
                    <a:lnTo>
                      <a:pt x="3197696" y="380999"/>
                    </a:lnTo>
                    <a:lnTo>
                      <a:pt x="3197696" y="377824"/>
                    </a:lnTo>
                    <a:lnTo>
                      <a:pt x="3191215" y="368299"/>
                    </a:lnTo>
                    <a:close/>
                  </a:path>
                  <a:path w="3439795" h="1447800">
                    <a:moveTo>
                      <a:pt x="3199856" y="368299"/>
                    </a:moveTo>
                    <a:lnTo>
                      <a:pt x="3197696" y="368299"/>
                    </a:lnTo>
                    <a:lnTo>
                      <a:pt x="3197696" y="377824"/>
                    </a:lnTo>
                    <a:lnTo>
                      <a:pt x="3199856" y="380999"/>
                    </a:lnTo>
                    <a:lnTo>
                      <a:pt x="3199856" y="368299"/>
                    </a:lnTo>
                    <a:close/>
                  </a:path>
                  <a:path w="3439795" h="1447800">
                    <a:moveTo>
                      <a:pt x="3202016" y="368299"/>
                    </a:moveTo>
                    <a:lnTo>
                      <a:pt x="3199856" y="368299"/>
                    </a:lnTo>
                    <a:lnTo>
                      <a:pt x="3199856" y="380999"/>
                    </a:lnTo>
                    <a:lnTo>
                      <a:pt x="3202016" y="377824"/>
                    </a:lnTo>
                    <a:lnTo>
                      <a:pt x="3202016" y="368299"/>
                    </a:lnTo>
                    <a:close/>
                  </a:path>
                  <a:path w="3439795" h="1447800">
                    <a:moveTo>
                      <a:pt x="3202016" y="377824"/>
                    </a:moveTo>
                    <a:lnTo>
                      <a:pt x="3199856" y="380999"/>
                    </a:lnTo>
                    <a:lnTo>
                      <a:pt x="3202016" y="380999"/>
                    </a:lnTo>
                    <a:lnTo>
                      <a:pt x="3202016" y="377824"/>
                    </a:lnTo>
                    <a:close/>
                  </a:path>
                  <a:path w="3439795" h="1447800">
                    <a:moveTo>
                      <a:pt x="3214978" y="368299"/>
                    </a:moveTo>
                    <a:lnTo>
                      <a:pt x="3208497" y="368299"/>
                    </a:lnTo>
                    <a:lnTo>
                      <a:pt x="3202016" y="377824"/>
                    </a:lnTo>
                    <a:lnTo>
                      <a:pt x="3202016" y="380999"/>
                    </a:lnTo>
                    <a:lnTo>
                      <a:pt x="3206337" y="380999"/>
                    </a:lnTo>
                    <a:lnTo>
                      <a:pt x="3214978" y="368299"/>
                    </a:lnTo>
                    <a:close/>
                  </a:path>
                  <a:path w="3439795" h="1447800">
                    <a:moveTo>
                      <a:pt x="3214978" y="368299"/>
                    </a:moveTo>
                    <a:lnTo>
                      <a:pt x="3206337" y="380999"/>
                    </a:lnTo>
                    <a:lnTo>
                      <a:pt x="3214978" y="380999"/>
                    </a:lnTo>
                    <a:lnTo>
                      <a:pt x="3214978" y="368299"/>
                    </a:lnTo>
                    <a:close/>
                  </a:path>
                  <a:path w="3439795" h="1447800">
                    <a:moveTo>
                      <a:pt x="144680" y="372533"/>
                    </a:moveTo>
                    <a:lnTo>
                      <a:pt x="138199" y="378883"/>
                    </a:lnTo>
                    <a:lnTo>
                      <a:pt x="138199" y="379185"/>
                    </a:lnTo>
                    <a:lnTo>
                      <a:pt x="144680" y="373742"/>
                    </a:lnTo>
                    <a:lnTo>
                      <a:pt x="144680" y="372533"/>
                    </a:lnTo>
                    <a:close/>
                  </a:path>
                  <a:path w="3439795" h="1447800">
                    <a:moveTo>
                      <a:pt x="2245580" y="355599"/>
                    </a:moveTo>
                    <a:lnTo>
                      <a:pt x="2239100" y="355599"/>
                    </a:lnTo>
                    <a:lnTo>
                      <a:pt x="2245082" y="379046"/>
                    </a:lnTo>
                    <a:lnTo>
                      <a:pt x="2254221" y="368299"/>
                    </a:lnTo>
                    <a:lnTo>
                      <a:pt x="2256292" y="368299"/>
                    </a:lnTo>
                    <a:lnTo>
                      <a:pt x="2245580" y="355599"/>
                    </a:lnTo>
                    <a:close/>
                  </a:path>
                  <a:path w="3439795" h="1447800">
                    <a:moveTo>
                      <a:pt x="138199" y="357716"/>
                    </a:moveTo>
                    <a:lnTo>
                      <a:pt x="138199" y="378883"/>
                    </a:lnTo>
                    <a:lnTo>
                      <a:pt x="144680" y="372533"/>
                    </a:lnTo>
                    <a:lnTo>
                      <a:pt x="144680" y="368299"/>
                    </a:lnTo>
                    <a:lnTo>
                      <a:pt x="149000" y="368299"/>
                    </a:lnTo>
                    <a:lnTo>
                      <a:pt x="138199" y="357716"/>
                    </a:lnTo>
                    <a:close/>
                  </a:path>
                  <a:path w="3439795" h="1447800">
                    <a:moveTo>
                      <a:pt x="2154851" y="368299"/>
                    </a:moveTo>
                    <a:lnTo>
                      <a:pt x="2150531" y="368299"/>
                    </a:lnTo>
                    <a:lnTo>
                      <a:pt x="2150531" y="378883"/>
                    </a:lnTo>
                    <a:lnTo>
                      <a:pt x="2153555" y="375919"/>
                    </a:lnTo>
                    <a:lnTo>
                      <a:pt x="2154851" y="368299"/>
                    </a:lnTo>
                    <a:close/>
                  </a:path>
                  <a:path w="3439795" h="1447800">
                    <a:moveTo>
                      <a:pt x="3089775" y="368299"/>
                    </a:moveTo>
                    <a:lnTo>
                      <a:pt x="3085455" y="368299"/>
                    </a:lnTo>
                    <a:lnTo>
                      <a:pt x="3081134" y="376766"/>
                    </a:lnTo>
                    <a:lnTo>
                      <a:pt x="3081134" y="378459"/>
                    </a:lnTo>
                    <a:lnTo>
                      <a:pt x="3089775" y="368299"/>
                    </a:lnTo>
                    <a:close/>
                  </a:path>
                  <a:path w="3439795" h="1447800">
                    <a:moveTo>
                      <a:pt x="3081134" y="355599"/>
                    </a:moveTo>
                    <a:lnTo>
                      <a:pt x="3063852" y="368299"/>
                    </a:lnTo>
                    <a:lnTo>
                      <a:pt x="3076814" y="368299"/>
                    </a:lnTo>
                    <a:lnTo>
                      <a:pt x="3071953" y="377824"/>
                    </a:lnTo>
                    <a:lnTo>
                      <a:pt x="3080270" y="370839"/>
                    </a:lnTo>
                    <a:lnTo>
                      <a:pt x="3081134" y="368299"/>
                    </a:lnTo>
                    <a:lnTo>
                      <a:pt x="3081134" y="355599"/>
                    </a:lnTo>
                    <a:close/>
                  </a:path>
                  <a:path w="3439795" h="1447800">
                    <a:moveTo>
                      <a:pt x="3193735" y="366183"/>
                    </a:moveTo>
                    <a:lnTo>
                      <a:pt x="3191215" y="368299"/>
                    </a:lnTo>
                    <a:lnTo>
                      <a:pt x="3197696" y="377824"/>
                    </a:lnTo>
                    <a:lnTo>
                      <a:pt x="3197696" y="368299"/>
                    </a:lnTo>
                    <a:lnTo>
                      <a:pt x="3193375" y="368299"/>
                    </a:lnTo>
                    <a:lnTo>
                      <a:pt x="3193735" y="366183"/>
                    </a:lnTo>
                    <a:close/>
                  </a:path>
                  <a:path w="3439795" h="1447800">
                    <a:moveTo>
                      <a:pt x="3206337" y="355599"/>
                    </a:moveTo>
                    <a:lnTo>
                      <a:pt x="3193735" y="366183"/>
                    </a:lnTo>
                    <a:lnTo>
                      <a:pt x="3193375" y="368299"/>
                    </a:lnTo>
                    <a:lnTo>
                      <a:pt x="3202016" y="368299"/>
                    </a:lnTo>
                    <a:lnTo>
                      <a:pt x="3202016" y="377824"/>
                    </a:lnTo>
                    <a:lnTo>
                      <a:pt x="3208497" y="368299"/>
                    </a:lnTo>
                    <a:lnTo>
                      <a:pt x="3206337" y="355599"/>
                    </a:lnTo>
                    <a:close/>
                  </a:path>
                  <a:path w="3439795" h="1447800">
                    <a:moveTo>
                      <a:pt x="3085455" y="368299"/>
                    </a:moveTo>
                    <a:lnTo>
                      <a:pt x="3081134" y="371928"/>
                    </a:lnTo>
                    <a:lnTo>
                      <a:pt x="3081134" y="376766"/>
                    </a:lnTo>
                    <a:lnTo>
                      <a:pt x="3085455" y="368299"/>
                    </a:lnTo>
                    <a:close/>
                  </a:path>
                  <a:path w="3439795" h="1447800">
                    <a:moveTo>
                      <a:pt x="3122178" y="368299"/>
                    </a:moveTo>
                    <a:lnTo>
                      <a:pt x="3117858" y="368299"/>
                    </a:lnTo>
                    <a:lnTo>
                      <a:pt x="3120738" y="376766"/>
                    </a:lnTo>
                    <a:lnTo>
                      <a:pt x="3122178" y="368299"/>
                    </a:lnTo>
                    <a:close/>
                  </a:path>
                  <a:path w="3439795" h="1447800">
                    <a:moveTo>
                      <a:pt x="3150261" y="368299"/>
                    </a:moveTo>
                    <a:lnTo>
                      <a:pt x="3145941" y="368299"/>
                    </a:lnTo>
                    <a:lnTo>
                      <a:pt x="3145941" y="376766"/>
                    </a:lnTo>
                    <a:lnTo>
                      <a:pt x="3150261" y="368299"/>
                    </a:lnTo>
                    <a:close/>
                  </a:path>
                  <a:path w="3439795" h="1447800">
                    <a:moveTo>
                      <a:pt x="2161332" y="368299"/>
                    </a:moveTo>
                    <a:lnTo>
                      <a:pt x="2154851" y="368299"/>
                    </a:lnTo>
                    <a:lnTo>
                      <a:pt x="2153555" y="375919"/>
                    </a:lnTo>
                    <a:lnTo>
                      <a:pt x="2161332" y="368299"/>
                    </a:lnTo>
                    <a:close/>
                  </a:path>
                  <a:path w="3439795" h="1447800">
                    <a:moveTo>
                      <a:pt x="138199" y="357187"/>
                    </a:moveTo>
                    <a:lnTo>
                      <a:pt x="138199" y="357716"/>
                    </a:lnTo>
                    <a:lnTo>
                      <a:pt x="149000" y="368299"/>
                    </a:lnTo>
                    <a:lnTo>
                      <a:pt x="144680" y="372533"/>
                    </a:lnTo>
                    <a:lnTo>
                      <a:pt x="144680" y="373742"/>
                    </a:lnTo>
                    <a:lnTo>
                      <a:pt x="151161" y="368299"/>
                    </a:lnTo>
                    <a:lnTo>
                      <a:pt x="153321" y="368299"/>
                    </a:lnTo>
                    <a:lnTo>
                      <a:pt x="138199" y="357187"/>
                    </a:lnTo>
                    <a:close/>
                  </a:path>
                  <a:path w="3439795" h="1447800">
                    <a:moveTo>
                      <a:pt x="3081134" y="370114"/>
                    </a:moveTo>
                    <a:lnTo>
                      <a:pt x="3080270" y="370839"/>
                    </a:lnTo>
                    <a:lnTo>
                      <a:pt x="3079406" y="373379"/>
                    </a:lnTo>
                    <a:lnTo>
                      <a:pt x="3081134" y="371928"/>
                    </a:lnTo>
                    <a:lnTo>
                      <a:pt x="3081134" y="370114"/>
                    </a:lnTo>
                    <a:close/>
                  </a:path>
                  <a:path w="3439795" h="1447800">
                    <a:moveTo>
                      <a:pt x="149000" y="368299"/>
                    </a:moveTo>
                    <a:lnTo>
                      <a:pt x="144680" y="368299"/>
                    </a:lnTo>
                    <a:lnTo>
                      <a:pt x="144680" y="372533"/>
                    </a:lnTo>
                    <a:lnTo>
                      <a:pt x="149000" y="368299"/>
                    </a:lnTo>
                    <a:close/>
                  </a:path>
                  <a:path w="3439795" h="1447800">
                    <a:moveTo>
                      <a:pt x="3130099" y="370416"/>
                    </a:moveTo>
                    <a:lnTo>
                      <a:pt x="3129955" y="370839"/>
                    </a:lnTo>
                    <a:lnTo>
                      <a:pt x="3130819" y="372533"/>
                    </a:lnTo>
                    <a:lnTo>
                      <a:pt x="3130819" y="371474"/>
                    </a:lnTo>
                    <a:lnTo>
                      <a:pt x="3130099" y="370416"/>
                    </a:lnTo>
                    <a:close/>
                  </a:path>
                  <a:path w="3439795" h="1447800">
                    <a:moveTo>
                      <a:pt x="3085455" y="368299"/>
                    </a:moveTo>
                    <a:lnTo>
                      <a:pt x="3083294" y="368299"/>
                    </a:lnTo>
                    <a:lnTo>
                      <a:pt x="3081134" y="370114"/>
                    </a:lnTo>
                    <a:lnTo>
                      <a:pt x="3081134" y="371928"/>
                    </a:lnTo>
                    <a:lnTo>
                      <a:pt x="3085455" y="368299"/>
                    </a:lnTo>
                    <a:close/>
                  </a:path>
                  <a:path w="3439795" h="1447800">
                    <a:moveTo>
                      <a:pt x="3107057" y="368299"/>
                    </a:moveTo>
                    <a:lnTo>
                      <a:pt x="3109217" y="371474"/>
                    </a:lnTo>
                    <a:lnTo>
                      <a:pt x="3109217" y="370416"/>
                    </a:lnTo>
                    <a:lnTo>
                      <a:pt x="3107057" y="368299"/>
                    </a:lnTo>
                    <a:close/>
                  </a:path>
                  <a:path w="3439795" h="1447800">
                    <a:moveTo>
                      <a:pt x="3130819" y="368299"/>
                    </a:moveTo>
                    <a:lnTo>
                      <a:pt x="3130099" y="370416"/>
                    </a:lnTo>
                    <a:lnTo>
                      <a:pt x="3130819" y="371474"/>
                    </a:lnTo>
                    <a:lnTo>
                      <a:pt x="3130819" y="368299"/>
                    </a:lnTo>
                    <a:close/>
                  </a:path>
                  <a:path w="3439795" h="1447800">
                    <a:moveTo>
                      <a:pt x="3081134" y="368299"/>
                    </a:moveTo>
                    <a:lnTo>
                      <a:pt x="3080270" y="370839"/>
                    </a:lnTo>
                    <a:lnTo>
                      <a:pt x="3081134" y="370114"/>
                    </a:lnTo>
                    <a:lnTo>
                      <a:pt x="3081134" y="368299"/>
                    </a:lnTo>
                    <a:close/>
                  </a:path>
                  <a:path w="3439795" h="1447800">
                    <a:moveTo>
                      <a:pt x="3128659" y="368299"/>
                    </a:moveTo>
                    <a:lnTo>
                      <a:pt x="3129955" y="370839"/>
                    </a:lnTo>
                    <a:lnTo>
                      <a:pt x="3130099" y="370416"/>
                    </a:lnTo>
                    <a:lnTo>
                      <a:pt x="3128659" y="368299"/>
                    </a:lnTo>
                    <a:close/>
                  </a:path>
                  <a:path w="3439795" h="1447800">
                    <a:moveTo>
                      <a:pt x="3109217" y="368299"/>
                    </a:moveTo>
                    <a:lnTo>
                      <a:pt x="3107057" y="368299"/>
                    </a:lnTo>
                    <a:lnTo>
                      <a:pt x="3109217" y="370416"/>
                    </a:lnTo>
                    <a:lnTo>
                      <a:pt x="3109217" y="368299"/>
                    </a:lnTo>
                    <a:close/>
                  </a:path>
                  <a:path w="3439795" h="1447800">
                    <a:moveTo>
                      <a:pt x="3130819" y="368299"/>
                    </a:moveTo>
                    <a:lnTo>
                      <a:pt x="3128659" y="368299"/>
                    </a:lnTo>
                    <a:lnTo>
                      <a:pt x="3130099" y="370416"/>
                    </a:lnTo>
                    <a:lnTo>
                      <a:pt x="3130819" y="368299"/>
                    </a:lnTo>
                    <a:close/>
                  </a:path>
                  <a:path w="3439795" h="1447800">
                    <a:moveTo>
                      <a:pt x="3083294" y="368299"/>
                    </a:moveTo>
                    <a:lnTo>
                      <a:pt x="3081134" y="368299"/>
                    </a:lnTo>
                    <a:lnTo>
                      <a:pt x="3081134" y="370114"/>
                    </a:lnTo>
                    <a:lnTo>
                      <a:pt x="3083294" y="368299"/>
                    </a:lnTo>
                    <a:close/>
                  </a:path>
                  <a:path w="3439795" h="1447800">
                    <a:moveTo>
                      <a:pt x="151161" y="355599"/>
                    </a:moveTo>
                    <a:lnTo>
                      <a:pt x="138199" y="355599"/>
                    </a:lnTo>
                    <a:lnTo>
                      <a:pt x="138199" y="357187"/>
                    </a:lnTo>
                    <a:lnTo>
                      <a:pt x="153321" y="368299"/>
                    </a:lnTo>
                    <a:lnTo>
                      <a:pt x="151161" y="355599"/>
                    </a:lnTo>
                    <a:close/>
                  </a:path>
                  <a:path w="3439795" h="1447800">
                    <a:moveTo>
                      <a:pt x="151161" y="355599"/>
                    </a:moveTo>
                    <a:lnTo>
                      <a:pt x="153321" y="368299"/>
                    </a:lnTo>
                    <a:lnTo>
                      <a:pt x="155481" y="368299"/>
                    </a:lnTo>
                    <a:lnTo>
                      <a:pt x="155481" y="364066"/>
                    </a:lnTo>
                    <a:lnTo>
                      <a:pt x="151161" y="355599"/>
                    </a:lnTo>
                    <a:close/>
                  </a:path>
                  <a:path w="3439795" h="1447800">
                    <a:moveTo>
                      <a:pt x="155481" y="364066"/>
                    </a:moveTo>
                    <a:lnTo>
                      <a:pt x="155481" y="368299"/>
                    </a:lnTo>
                    <a:lnTo>
                      <a:pt x="157641" y="368299"/>
                    </a:lnTo>
                    <a:lnTo>
                      <a:pt x="155481" y="364066"/>
                    </a:lnTo>
                    <a:close/>
                  </a:path>
                  <a:path w="3439795" h="1447800">
                    <a:moveTo>
                      <a:pt x="155481" y="355599"/>
                    </a:moveTo>
                    <a:lnTo>
                      <a:pt x="155481" y="364066"/>
                    </a:lnTo>
                    <a:lnTo>
                      <a:pt x="157641" y="368299"/>
                    </a:lnTo>
                    <a:lnTo>
                      <a:pt x="157641" y="358774"/>
                    </a:lnTo>
                    <a:lnTo>
                      <a:pt x="155481" y="355599"/>
                    </a:lnTo>
                    <a:close/>
                  </a:path>
                  <a:path w="3439795" h="1447800">
                    <a:moveTo>
                      <a:pt x="157641" y="358774"/>
                    </a:moveTo>
                    <a:lnTo>
                      <a:pt x="157641" y="368299"/>
                    </a:lnTo>
                    <a:lnTo>
                      <a:pt x="159802" y="368299"/>
                    </a:lnTo>
                    <a:lnTo>
                      <a:pt x="159802" y="361949"/>
                    </a:lnTo>
                    <a:lnTo>
                      <a:pt x="157641" y="358774"/>
                    </a:lnTo>
                    <a:close/>
                  </a:path>
                  <a:path w="3439795" h="1447800">
                    <a:moveTo>
                      <a:pt x="159802" y="361949"/>
                    </a:moveTo>
                    <a:lnTo>
                      <a:pt x="159802" y="368299"/>
                    </a:lnTo>
                    <a:lnTo>
                      <a:pt x="164122" y="368299"/>
                    </a:lnTo>
                    <a:lnTo>
                      <a:pt x="159802" y="361949"/>
                    </a:lnTo>
                    <a:close/>
                  </a:path>
                  <a:path w="3439795" h="1447800">
                    <a:moveTo>
                      <a:pt x="164122" y="355599"/>
                    </a:moveTo>
                    <a:lnTo>
                      <a:pt x="159802" y="355599"/>
                    </a:lnTo>
                    <a:lnTo>
                      <a:pt x="159802" y="361949"/>
                    </a:lnTo>
                    <a:lnTo>
                      <a:pt x="164122" y="368299"/>
                    </a:lnTo>
                    <a:lnTo>
                      <a:pt x="164122" y="355599"/>
                    </a:lnTo>
                    <a:close/>
                  </a:path>
                  <a:path w="3439795" h="1447800">
                    <a:moveTo>
                      <a:pt x="170603" y="355599"/>
                    </a:moveTo>
                    <a:lnTo>
                      <a:pt x="164122" y="355599"/>
                    </a:lnTo>
                    <a:lnTo>
                      <a:pt x="164122" y="368299"/>
                    </a:lnTo>
                    <a:lnTo>
                      <a:pt x="170603" y="368299"/>
                    </a:lnTo>
                    <a:lnTo>
                      <a:pt x="170603" y="355599"/>
                    </a:lnTo>
                    <a:close/>
                  </a:path>
                  <a:path w="3439795" h="1447800">
                    <a:moveTo>
                      <a:pt x="174923" y="355599"/>
                    </a:moveTo>
                    <a:lnTo>
                      <a:pt x="170603" y="355599"/>
                    </a:lnTo>
                    <a:lnTo>
                      <a:pt x="170603" y="368299"/>
                    </a:lnTo>
                    <a:lnTo>
                      <a:pt x="174923" y="368299"/>
                    </a:lnTo>
                    <a:lnTo>
                      <a:pt x="174923" y="355599"/>
                    </a:lnTo>
                    <a:close/>
                  </a:path>
                  <a:path w="3439795" h="1447800">
                    <a:moveTo>
                      <a:pt x="190045" y="355599"/>
                    </a:moveTo>
                    <a:lnTo>
                      <a:pt x="174923" y="355599"/>
                    </a:lnTo>
                    <a:lnTo>
                      <a:pt x="174923" y="368299"/>
                    </a:lnTo>
                    <a:lnTo>
                      <a:pt x="190045" y="368299"/>
                    </a:lnTo>
                    <a:lnTo>
                      <a:pt x="190045" y="355599"/>
                    </a:lnTo>
                    <a:close/>
                  </a:path>
                  <a:path w="3439795" h="1447800">
                    <a:moveTo>
                      <a:pt x="196525" y="355599"/>
                    </a:moveTo>
                    <a:lnTo>
                      <a:pt x="190045" y="355599"/>
                    </a:lnTo>
                    <a:lnTo>
                      <a:pt x="190045" y="368299"/>
                    </a:lnTo>
                    <a:lnTo>
                      <a:pt x="202916" y="368299"/>
                    </a:lnTo>
                    <a:lnTo>
                      <a:pt x="196525" y="355599"/>
                    </a:lnTo>
                    <a:close/>
                  </a:path>
                  <a:path w="3439795" h="1447800">
                    <a:moveTo>
                      <a:pt x="200756" y="342899"/>
                    </a:moveTo>
                    <a:lnTo>
                      <a:pt x="196525" y="355599"/>
                    </a:lnTo>
                    <a:lnTo>
                      <a:pt x="202916" y="368299"/>
                    </a:lnTo>
                    <a:lnTo>
                      <a:pt x="202916" y="355599"/>
                    </a:lnTo>
                    <a:lnTo>
                      <a:pt x="213717" y="355599"/>
                    </a:lnTo>
                    <a:lnTo>
                      <a:pt x="200756" y="342899"/>
                    </a:lnTo>
                    <a:close/>
                  </a:path>
                  <a:path w="3439795" h="1447800">
                    <a:moveTo>
                      <a:pt x="200756" y="342899"/>
                    </a:moveTo>
                    <a:lnTo>
                      <a:pt x="213717" y="355599"/>
                    </a:lnTo>
                    <a:lnTo>
                      <a:pt x="202916" y="355599"/>
                    </a:lnTo>
                    <a:lnTo>
                      <a:pt x="202916" y="368299"/>
                    </a:lnTo>
                    <a:lnTo>
                      <a:pt x="209396" y="368299"/>
                    </a:lnTo>
                    <a:lnTo>
                      <a:pt x="215877" y="355599"/>
                    </a:lnTo>
                    <a:lnTo>
                      <a:pt x="200756" y="342899"/>
                    </a:lnTo>
                    <a:close/>
                  </a:path>
                  <a:path w="3439795" h="1447800">
                    <a:moveTo>
                      <a:pt x="440450" y="342899"/>
                    </a:moveTo>
                    <a:lnTo>
                      <a:pt x="440450" y="355599"/>
                    </a:lnTo>
                    <a:lnTo>
                      <a:pt x="457731" y="368299"/>
                    </a:lnTo>
                    <a:lnTo>
                      <a:pt x="457731" y="355599"/>
                    </a:lnTo>
                    <a:lnTo>
                      <a:pt x="453411" y="355599"/>
                    </a:lnTo>
                    <a:lnTo>
                      <a:pt x="440450" y="342899"/>
                    </a:lnTo>
                    <a:close/>
                  </a:path>
                  <a:path w="3439795" h="1447800">
                    <a:moveTo>
                      <a:pt x="2249901" y="355599"/>
                    </a:moveTo>
                    <a:lnTo>
                      <a:pt x="2245580" y="355599"/>
                    </a:lnTo>
                    <a:lnTo>
                      <a:pt x="2256292" y="368299"/>
                    </a:lnTo>
                    <a:lnTo>
                      <a:pt x="2249901" y="355599"/>
                    </a:lnTo>
                    <a:close/>
                  </a:path>
                  <a:path w="3439795" h="1447800">
                    <a:moveTo>
                      <a:pt x="2258452" y="355599"/>
                    </a:moveTo>
                    <a:lnTo>
                      <a:pt x="2249901" y="355599"/>
                    </a:lnTo>
                    <a:lnTo>
                      <a:pt x="2256292" y="368299"/>
                    </a:lnTo>
                    <a:lnTo>
                      <a:pt x="2258452" y="368299"/>
                    </a:lnTo>
                    <a:lnTo>
                      <a:pt x="2258452" y="355599"/>
                    </a:lnTo>
                    <a:close/>
                  </a:path>
                  <a:path w="3439795" h="1447800">
                    <a:moveTo>
                      <a:pt x="2258452" y="355599"/>
                    </a:moveTo>
                    <a:lnTo>
                      <a:pt x="2258452" y="368299"/>
                    </a:lnTo>
                    <a:lnTo>
                      <a:pt x="2264932" y="368299"/>
                    </a:lnTo>
                    <a:lnTo>
                      <a:pt x="2258452" y="355599"/>
                    </a:lnTo>
                    <a:close/>
                  </a:path>
                  <a:path w="3439795" h="1447800">
                    <a:moveTo>
                      <a:pt x="2271413" y="355599"/>
                    </a:moveTo>
                    <a:lnTo>
                      <a:pt x="2267093" y="355599"/>
                    </a:lnTo>
                    <a:lnTo>
                      <a:pt x="2267093" y="368299"/>
                    </a:lnTo>
                    <a:lnTo>
                      <a:pt x="2269253" y="368299"/>
                    </a:lnTo>
                    <a:lnTo>
                      <a:pt x="2271413" y="355599"/>
                    </a:lnTo>
                    <a:close/>
                  </a:path>
                  <a:path w="3439795" h="1447800">
                    <a:moveTo>
                      <a:pt x="2284374" y="355599"/>
                    </a:moveTo>
                    <a:lnTo>
                      <a:pt x="2277894" y="368299"/>
                    </a:lnTo>
                    <a:lnTo>
                      <a:pt x="2280054" y="368299"/>
                    </a:lnTo>
                    <a:lnTo>
                      <a:pt x="2284374" y="355599"/>
                    </a:lnTo>
                    <a:close/>
                  </a:path>
                  <a:path w="3439795" h="1447800">
                    <a:moveTo>
                      <a:pt x="2295175" y="355599"/>
                    </a:moveTo>
                    <a:lnTo>
                      <a:pt x="2284374" y="355599"/>
                    </a:lnTo>
                    <a:lnTo>
                      <a:pt x="2280054" y="368299"/>
                    </a:lnTo>
                    <a:lnTo>
                      <a:pt x="2284374" y="368299"/>
                    </a:lnTo>
                    <a:lnTo>
                      <a:pt x="2295175" y="355599"/>
                    </a:lnTo>
                    <a:close/>
                  </a:path>
                  <a:path w="3439795" h="1447800">
                    <a:moveTo>
                      <a:pt x="2295175" y="355599"/>
                    </a:moveTo>
                    <a:lnTo>
                      <a:pt x="2286535" y="368299"/>
                    </a:lnTo>
                    <a:lnTo>
                      <a:pt x="2303816" y="368299"/>
                    </a:lnTo>
                    <a:lnTo>
                      <a:pt x="2295175" y="355599"/>
                    </a:lnTo>
                    <a:close/>
                  </a:path>
                  <a:path w="3439795" h="1447800">
                    <a:moveTo>
                      <a:pt x="2457102" y="342899"/>
                    </a:moveTo>
                    <a:lnTo>
                      <a:pt x="2448461" y="355599"/>
                    </a:lnTo>
                    <a:lnTo>
                      <a:pt x="2465743" y="368299"/>
                    </a:lnTo>
                    <a:lnTo>
                      <a:pt x="2465743" y="355599"/>
                    </a:lnTo>
                    <a:lnTo>
                      <a:pt x="2463582" y="355599"/>
                    </a:lnTo>
                    <a:lnTo>
                      <a:pt x="2457102" y="342899"/>
                    </a:lnTo>
                    <a:close/>
                  </a:path>
                  <a:path w="3439795" h="1447800">
                    <a:moveTo>
                      <a:pt x="2926852" y="364392"/>
                    </a:moveTo>
                    <a:lnTo>
                      <a:pt x="2927849" y="368299"/>
                    </a:lnTo>
                    <a:lnTo>
                      <a:pt x="2929289" y="366183"/>
                    </a:lnTo>
                    <a:lnTo>
                      <a:pt x="2926852" y="364392"/>
                    </a:lnTo>
                    <a:close/>
                  </a:path>
                  <a:path w="3439795" h="1447800">
                    <a:moveTo>
                      <a:pt x="2933609" y="359833"/>
                    </a:moveTo>
                    <a:lnTo>
                      <a:pt x="2929289" y="366183"/>
                    </a:lnTo>
                    <a:lnTo>
                      <a:pt x="2932169" y="368299"/>
                    </a:lnTo>
                    <a:lnTo>
                      <a:pt x="2933609" y="359833"/>
                    </a:lnTo>
                    <a:close/>
                  </a:path>
                  <a:path w="3439795" h="1447800">
                    <a:moveTo>
                      <a:pt x="2960252" y="355599"/>
                    </a:moveTo>
                    <a:lnTo>
                      <a:pt x="2958092" y="355599"/>
                    </a:lnTo>
                    <a:lnTo>
                      <a:pt x="2958092" y="368299"/>
                    </a:lnTo>
                    <a:lnTo>
                      <a:pt x="2960252" y="355599"/>
                    </a:lnTo>
                    <a:close/>
                  </a:path>
                  <a:path w="3439795" h="1447800">
                    <a:moveTo>
                      <a:pt x="3067741" y="350519"/>
                    </a:moveTo>
                    <a:lnTo>
                      <a:pt x="3061692" y="355599"/>
                    </a:lnTo>
                    <a:lnTo>
                      <a:pt x="3063852" y="368299"/>
                    </a:lnTo>
                    <a:lnTo>
                      <a:pt x="3063852" y="355599"/>
                    </a:lnTo>
                    <a:lnTo>
                      <a:pt x="3067093" y="352424"/>
                    </a:lnTo>
                    <a:lnTo>
                      <a:pt x="3067741" y="350519"/>
                    </a:lnTo>
                    <a:close/>
                  </a:path>
                  <a:path w="3439795" h="1447800">
                    <a:moveTo>
                      <a:pt x="3067093" y="352424"/>
                    </a:moveTo>
                    <a:lnTo>
                      <a:pt x="3063852" y="355599"/>
                    </a:lnTo>
                    <a:lnTo>
                      <a:pt x="3063852" y="368299"/>
                    </a:lnTo>
                    <a:lnTo>
                      <a:pt x="3081134" y="355599"/>
                    </a:lnTo>
                    <a:lnTo>
                      <a:pt x="3066013" y="355599"/>
                    </a:lnTo>
                    <a:lnTo>
                      <a:pt x="3067093" y="352424"/>
                    </a:lnTo>
                    <a:close/>
                  </a:path>
                  <a:path w="3439795" h="1447800">
                    <a:moveTo>
                      <a:pt x="3186985" y="347074"/>
                    </a:moveTo>
                    <a:lnTo>
                      <a:pt x="3178344" y="355599"/>
                    </a:lnTo>
                    <a:lnTo>
                      <a:pt x="3182664" y="368299"/>
                    </a:lnTo>
                    <a:lnTo>
                      <a:pt x="3186985" y="368299"/>
                    </a:lnTo>
                    <a:lnTo>
                      <a:pt x="3186985" y="347074"/>
                    </a:lnTo>
                    <a:close/>
                  </a:path>
                  <a:path w="3439795" h="1447800">
                    <a:moveTo>
                      <a:pt x="3186985" y="355599"/>
                    </a:moveTo>
                    <a:lnTo>
                      <a:pt x="3186985" y="368299"/>
                    </a:lnTo>
                    <a:lnTo>
                      <a:pt x="3188395" y="359833"/>
                    </a:lnTo>
                    <a:lnTo>
                      <a:pt x="3186985" y="355599"/>
                    </a:lnTo>
                    <a:close/>
                  </a:path>
                  <a:path w="3439795" h="1447800">
                    <a:moveTo>
                      <a:pt x="3188395" y="359833"/>
                    </a:moveTo>
                    <a:lnTo>
                      <a:pt x="3186985" y="368299"/>
                    </a:lnTo>
                    <a:lnTo>
                      <a:pt x="3191215" y="368299"/>
                    </a:lnTo>
                    <a:lnTo>
                      <a:pt x="3188395" y="359833"/>
                    </a:lnTo>
                    <a:close/>
                  </a:path>
                  <a:path w="3439795" h="1447800">
                    <a:moveTo>
                      <a:pt x="3189078" y="355733"/>
                    </a:moveTo>
                    <a:lnTo>
                      <a:pt x="3188395" y="359833"/>
                    </a:lnTo>
                    <a:lnTo>
                      <a:pt x="3191215" y="368299"/>
                    </a:lnTo>
                    <a:lnTo>
                      <a:pt x="3189078" y="355733"/>
                    </a:lnTo>
                    <a:close/>
                  </a:path>
                  <a:path w="3439795" h="1447800">
                    <a:moveTo>
                      <a:pt x="3197696" y="342899"/>
                    </a:moveTo>
                    <a:lnTo>
                      <a:pt x="3189621" y="352474"/>
                    </a:lnTo>
                    <a:lnTo>
                      <a:pt x="3189078" y="355733"/>
                    </a:lnTo>
                    <a:lnTo>
                      <a:pt x="3191215" y="368299"/>
                    </a:lnTo>
                    <a:lnTo>
                      <a:pt x="3193735" y="366183"/>
                    </a:lnTo>
                    <a:lnTo>
                      <a:pt x="3197696" y="342899"/>
                    </a:lnTo>
                    <a:close/>
                  </a:path>
                  <a:path w="3439795" h="1447800">
                    <a:moveTo>
                      <a:pt x="2921368" y="342899"/>
                    </a:moveTo>
                    <a:lnTo>
                      <a:pt x="2926852" y="364392"/>
                    </a:lnTo>
                    <a:lnTo>
                      <a:pt x="2929289" y="366183"/>
                    </a:lnTo>
                    <a:lnTo>
                      <a:pt x="2933609" y="359833"/>
                    </a:lnTo>
                    <a:lnTo>
                      <a:pt x="2934330" y="355599"/>
                    </a:lnTo>
                    <a:lnTo>
                      <a:pt x="2921368" y="342899"/>
                    </a:lnTo>
                    <a:close/>
                  </a:path>
                  <a:path w="3439795" h="1447800">
                    <a:moveTo>
                      <a:pt x="3197696" y="342899"/>
                    </a:moveTo>
                    <a:lnTo>
                      <a:pt x="3193735" y="366183"/>
                    </a:lnTo>
                    <a:lnTo>
                      <a:pt x="3206337" y="355599"/>
                    </a:lnTo>
                    <a:lnTo>
                      <a:pt x="3197696" y="342899"/>
                    </a:lnTo>
                    <a:close/>
                  </a:path>
                  <a:path w="3439795" h="1447800">
                    <a:moveTo>
                      <a:pt x="2921368" y="342899"/>
                    </a:moveTo>
                    <a:lnTo>
                      <a:pt x="2917048" y="355599"/>
                    </a:lnTo>
                    <a:lnTo>
                      <a:pt x="2914888" y="355599"/>
                    </a:lnTo>
                    <a:lnTo>
                      <a:pt x="2926852" y="364392"/>
                    </a:lnTo>
                    <a:lnTo>
                      <a:pt x="2921368" y="342899"/>
                    </a:lnTo>
                    <a:close/>
                  </a:path>
                  <a:path w="3439795" h="1447800">
                    <a:moveTo>
                      <a:pt x="155481" y="355599"/>
                    </a:moveTo>
                    <a:lnTo>
                      <a:pt x="151161" y="355599"/>
                    </a:lnTo>
                    <a:lnTo>
                      <a:pt x="155481" y="364066"/>
                    </a:lnTo>
                    <a:lnTo>
                      <a:pt x="155481" y="355599"/>
                    </a:lnTo>
                    <a:close/>
                  </a:path>
                  <a:path w="3439795" h="1447800">
                    <a:moveTo>
                      <a:pt x="159802" y="355599"/>
                    </a:moveTo>
                    <a:lnTo>
                      <a:pt x="157641" y="355599"/>
                    </a:lnTo>
                    <a:lnTo>
                      <a:pt x="157641" y="358774"/>
                    </a:lnTo>
                    <a:lnTo>
                      <a:pt x="159802" y="361949"/>
                    </a:lnTo>
                    <a:lnTo>
                      <a:pt x="159802" y="355599"/>
                    </a:lnTo>
                    <a:close/>
                  </a:path>
                  <a:path w="3439795" h="1447800">
                    <a:moveTo>
                      <a:pt x="2925689" y="342899"/>
                    </a:moveTo>
                    <a:lnTo>
                      <a:pt x="2921368" y="342899"/>
                    </a:lnTo>
                    <a:lnTo>
                      <a:pt x="2934330" y="355599"/>
                    </a:lnTo>
                    <a:lnTo>
                      <a:pt x="2933609" y="359833"/>
                    </a:lnTo>
                    <a:lnTo>
                      <a:pt x="2936490" y="355599"/>
                    </a:lnTo>
                    <a:lnTo>
                      <a:pt x="2938650" y="355599"/>
                    </a:lnTo>
                    <a:lnTo>
                      <a:pt x="2925689" y="342899"/>
                    </a:lnTo>
                    <a:close/>
                  </a:path>
                  <a:path w="3439795" h="1447800">
                    <a:moveTo>
                      <a:pt x="3189621" y="352474"/>
                    </a:moveTo>
                    <a:lnTo>
                      <a:pt x="3186985" y="355599"/>
                    </a:lnTo>
                    <a:lnTo>
                      <a:pt x="3188395" y="359833"/>
                    </a:lnTo>
                    <a:lnTo>
                      <a:pt x="3189621" y="352474"/>
                    </a:lnTo>
                    <a:close/>
                  </a:path>
                  <a:path w="3439795" h="1447800">
                    <a:moveTo>
                      <a:pt x="157641" y="355599"/>
                    </a:moveTo>
                    <a:lnTo>
                      <a:pt x="155481" y="355599"/>
                    </a:lnTo>
                    <a:lnTo>
                      <a:pt x="157641" y="358774"/>
                    </a:lnTo>
                    <a:lnTo>
                      <a:pt x="157641" y="355599"/>
                    </a:lnTo>
                    <a:close/>
                  </a:path>
                  <a:path w="3439795" h="1447800">
                    <a:moveTo>
                      <a:pt x="136039" y="355599"/>
                    </a:moveTo>
                    <a:lnTo>
                      <a:pt x="138199" y="357716"/>
                    </a:lnTo>
                    <a:lnTo>
                      <a:pt x="138199" y="357187"/>
                    </a:lnTo>
                    <a:lnTo>
                      <a:pt x="136039" y="355599"/>
                    </a:lnTo>
                    <a:close/>
                  </a:path>
                  <a:path w="3439795" h="1447800">
                    <a:moveTo>
                      <a:pt x="133879" y="349249"/>
                    </a:moveTo>
                    <a:lnTo>
                      <a:pt x="133879" y="355599"/>
                    </a:lnTo>
                    <a:lnTo>
                      <a:pt x="136039" y="355599"/>
                    </a:lnTo>
                    <a:lnTo>
                      <a:pt x="138199" y="357187"/>
                    </a:lnTo>
                    <a:lnTo>
                      <a:pt x="138199" y="355599"/>
                    </a:lnTo>
                    <a:lnTo>
                      <a:pt x="133879" y="349249"/>
                    </a:lnTo>
                    <a:close/>
                  </a:path>
                  <a:path w="3439795" h="1447800">
                    <a:moveTo>
                      <a:pt x="3189100" y="355599"/>
                    </a:moveTo>
                    <a:lnTo>
                      <a:pt x="3189078" y="355733"/>
                    </a:lnTo>
                    <a:lnTo>
                      <a:pt x="3189100" y="355599"/>
                    </a:lnTo>
                    <a:close/>
                  </a:path>
                  <a:path w="3439795" h="1447800">
                    <a:moveTo>
                      <a:pt x="125238" y="330199"/>
                    </a:moveTo>
                    <a:lnTo>
                      <a:pt x="120918" y="330199"/>
                    </a:lnTo>
                    <a:lnTo>
                      <a:pt x="116597" y="342899"/>
                    </a:lnTo>
                    <a:lnTo>
                      <a:pt x="116597" y="355599"/>
                    </a:lnTo>
                    <a:lnTo>
                      <a:pt x="125238" y="342899"/>
                    </a:lnTo>
                    <a:lnTo>
                      <a:pt x="131719" y="342899"/>
                    </a:lnTo>
                    <a:lnTo>
                      <a:pt x="125238" y="330199"/>
                    </a:lnTo>
                    <a:close/>
                  </a:path>
                  <a:path w="3439795" h="1447800">
                    <a:moveTo>
                      <a:pt x="129558" y="342899"/>
                    </a:moveTo>
                    <a:lnTo>
                      <a:pt x="125238" y="342899"/>
                    </a:lnTo>
                    <a:lnTo>
                      <a:pt x="116597" y="355599"/>
                    </a:lnTo>
                    <a:lnTo>
                      <a:pt x="118757" y="355599"/>
                    </a:lnTo>
                    <a:lnTo>
                      <a:pt x="129558" y="342899"/>
                    </a:lnTo>
                    <a:close/>
                  </a:path>
                  <a:path w="3439795" h="1447800">
                    <a:moveTo>
                      <a:pt x="129558" y="342899"/>
                    </a:moveTo>
                    <a:lnTo>
                      <a:pt x="118757" y="355599"/>
                    </a:lnTo>
                    <a:lnTo>
                      <a:pt x="129558" y="355599"/>
                    </a:lnTo>
                    <a:lnTo>
                      <a:pt x="129558" y="342899"/>
                    </a:lnTo>
                    <a:close/>
                  </a:path>
                  <a:path w="3439795" h="1447800">
                    <a:moveTo>
                      <a:pt x="129558" y="342899"/>
                    </a:moveTo>
                    <a:lnTo>
                      <a:pt x="129558" y="355599"/>
                    </a:lnTo>
                    <a:lnTo>
                      <a:pt x="133879" y="355599"/>
                    </a:lnTo>
                    <a:lnTo>
                      <a:pt x="133879" y="349249"/>
                    </a:lnTo>
                    <a:lnTo>
                      <a:pt x="129558" y="342899"/>
                    </a:lnTo>
                    <a:close/>
                  </a:path>
                  <a:path w="3439795" h="1447800">
                    <a:moveTo>
                      <a:pt x="125238" y="330199"/>
                    </a:moveTo>
                    <a:lnTo>
                      <a:pt x="136039" y="342899"/>
                    </a:lnTo>
                    <a:lnTo>
                      <a:pt x="133879" y="342899"/>
                    </a:lnTo>
                    <a:lnTo>
                      <a:pt x="133879" y="349249"/>
                    </a:lnTo>
                    <a:lnTo>
                      <a:pt x="138199" y="355599"/>
                    </a:lnTo>
                    <a:lnTo>
                      <a:pt x="138199" y="342899"/>
                    </a:lnTo>
                    <a:lnTo>
                      <a:pt x="125238" y="330199"/>
                    </a:lnTo>
                    <a:close/>
                  </a:path>
                  <a:path w="3439795" h="1447800">
                    <a:moveTo>
                      <a:pt x="209396" y="342899"/>
                    </a:moveTo>
                    <a:lnTo>
                      <a:pt x="200756" y="342899"/>
                    </a:lnTo>
                    <a:lnTo>
                      <a:pt x="215877" y="355599"/>
                    </a:lnTo>
                    <a:lnTo>
                      <a:pt x="224518" y="355599"/>
                    </a:lnTo>
                    <a:lnTo>
                      <a:pt x="209396" y="342899"/>
                    </a:lnTo>
                    <a:close/>
                  </a:path>
                  <a:path w="3439795" h="1447800">
                    <a:moveTo>
                      <a:pt x="209396" y="304799"/>
                    </a:moveTo>
                    <a:lnTo>
                      <a:pt x="209396" y="342899"/>
                    </a:lnTo>
                    <a:lnTo>
                      <a:pt x="224518" y="355599"/>
                    </a:lnTo>
                    <a:lnTo>
                      <a:pt x="213717" y="342899"/>
                    </a:lnTo>
                    <a:lnTo>
                      <a:pt x="226678" y="342899"/>
                    </a:lnTo>
                    <a:lnTo>
                      <a:pt x="226678" y="317499"/>
                    </a:lnTo>
                    <a:lnTo>
                      <a:pt x="220198" y="317499"/>
                    </a:lnTo>
                    <a:lnTo>
                      <a:pt x="209396" y="304799"/>
                    </a:lnTo>
                    <a:close/>
                  </a:path>
                  <a:path w="3439795" h="1447800">
                    <a:moveTo>
                      <a:pt x="226678" y="342899"/>
                    </a:moveTo>
                    <a:lnTo>
                      <a:pt x="213717" y="342899"/>
                    </a:lnTo>
                    <a:lnTo>
                      <a:pt x="224518" y="355599"/>
                    </a:lnTo>
                    <a:lnTo>
                      <a:pt x="226678" y="342899"/>
                    </a:lnTo>
                    <a:close/>
                  </a:path>
                  <a:path w="3439795" h="1447800">
                    <a:moveTo>
                      <a:pt x="449090" y="336549"/>
                    </a:moveTo>
                    <a:lnTo>
                      <a:pt x="444770" y="342899"/>
                    </a:lnTo>
                    <a:lnTo>
                      <a:pt x="440450" y="342899"/>
                    </a:lnTo>
                    <a:lnTo>
                      <a:pt x="453411" y="355599"/>
                    </a:lnTo>
                    <a:lnTo>
                      <a:pt x="457731" y="355599"/>
                    </a:lnTo>
                    <a:lnTo>
                      <a:pt x="457731" y="353483"/>
                    </a:lnTo>
                    <a:lnTo>
                      <a:pt x="446930" y="342899"/>
                    </a:lnTo>
                    <a:lnTo>
                      <a:pt x="449090" y="336549"/>
                    </a:lnTo>
                    <a:close/>
                  </a:path>
                  <a:path w="3439795" h="1447800">
                    <a:moveTo>
                      <a:pt x="457731" y="353483"/>
                    </a:moveTo>
                    <a:lnTo>
                      <a:pt x="457731" y="355599"/>
                    </a:lnTo>
                    <a:lnTo>
                      <a:pt x="459892" y="355599"/>
                    </a:lnTo>
                    <a:lnTo>
                      <a:pt x="457731" y="353483"/>
                    </a:lnTo>
                    <a:close/>
                  </a:path>
                  <a:path w="3439795" h="1447800">
                    <a:moveTo>
                      <a:pt x="457731" y="347133"/>
                    </a:moveTo>
                    <a:lnTo>
                      <a:pt x="457731" y="353483"/>
                    </a:lnTo>
                    <a:lnTo>
                      <a:pt x="459892" y="355599"/>
                    </a:lnTo>
                    <a:lnTo>
                      <a:pt x="457731" y="347133"/>
                    </a:lnTo>
                    <a:close/>
                  </a:path>
                  <a:path w="3439795" h="1447800">
                    <a:moveTo>
                      <a:pt x="464212" y="342899"/>
                    </a:moveTo>
                    <a:lnTo>
                      <a:pt x="457731" y="342899"/>
                    </a:lnTo>
                    <a:lnTo>
                      <a:pt x="457731" y="347133"/>
                    </a:lnTo>
                    <a:lnTo>
                      <a:pt x="459892" y="355599"/>
                    </a:lnTo>
                    <a:lnTo>
                      <a:pt x="464212" y="342899"/>
                    </a:lnTo>
                    <a:close/>
                  </a:path>
                  <a:path w="3439795" h="1447800">
                    <a:moveTo>
                      <a:pt x="2452781" y="342899"/>
                    </a:moveTo>
                    <a:lnTo>
                      <a:pt x="2437750" y="342899"/>
                    </a:lnTo>
                    <a:lnTo>
                      <a:pt x="2439910" y="355599"/>
                    </a:lnTo>
                    <a:lnTo>
                      <a:pt x="2452781" y="342899"/>
                    </a:lnTo>
                    <a:close/>
                  </a:path>
                  <a:path w="3439795" h="1447800">
                    <a:moveTo>
                      <a:pt x="2457102" y="342899"/>
                    </a:moveTo>
                    <a:lnTo>
                      <a:pt x="2452781" y="342899"/>
                    </a:lnTo>
                    <a:lnTo>
                      <a:pt x="2439910" y="355599"/>
                    </a:lnTo>
                    <a:lnTo>
                      <a:pt x="2457102" y="342899"/>
                    </a:lnTo>
                    <a:close/>
                  </a:path>
                  <a:path w="3439795" h="1447800">
                    <a:moveTo>
                      <a:pt x="2457102" y="342899"/>
                    </a:moveTo>
                    <a:lnTo>
                      <a:pt x="2439910" y="355599"/>
                    </a:lnTo>
                    <a:lnTo>
                      <a:pt x="2444140" y="355599"/>
                    </a:lnTo>
                    <a:lnTo>
                      <a:pt x="2457102" y="342899"/>
                    </a:lnTo>
                    <a:close/>
                  </a:path>
                  <a:path w="3439795" h="1447800">
                    <a:moveTo>
                      <a:pt x="2927849" y="342899"/>
                    </a:moveTo>
                    <a:lnTo>
                      <a:pt x="2925689" y="342899"/>
                    </a:lnTo>
                    <a:lnTo>
                      <a:pt x="2938650" y="355599"/>
                    </a:lnTo>
                    <a:lnTo>
                      <a:pt x="2932169" y="346074"/>
                    </a:lnTo>
                    <a:lnTo>
                      <a:pt x="2927849" y="342899"/>
                    </a:lnTo>
                    <a:close/>
                  </a:path>
                  <a:path w="3439795" h="1447800">
                    <a:moveTo>
                      <a:pt x="2932169" y="346074"/>
                    </a:moveTo>
                    <a:lnTo>
                      <a:pt x="2938650" y="355599"/>
                    </a:lnTo>
                    <a:lnTo>
                      <a:pt x="2945131" y="355599"/>
                    </a:lnTo>
                    <a:lnTo>
                      <a:pt x="2932169" y="346074"/>
                    </a:lnTo>
                    <a:close/>
                  </a:path>
                  <a:path w="3439795" h="1447800">
                    <a:moveTo>
                      <a:pt x="2930009" y="342899"/>
                    </a:moveTo>
                    <a:lnTo>
                      <a:pt x="2932169" y="346074"/>
                    </a:lnTo>
                    <a:lnTo>
                      <a:pt x="2945131" y="355599"/>
                    </a:lnTo>
                    <a:lnTo>
                      <a:pt x="2930009" y="342899"/>
                    </a:lnTo>
                    <a:close/>
                  </a:path>
                  <a:path w="3439795" h="1447800">
                    <a:moveTo>
                      <a:pt x="2947291" y="304799"/>
                    </a:moveTo>
                    <a:lnTo>
                      <a:pt x="2932169" y="317499"/>
                    </a:lnTo>
                    <a:lnTo>
                      <a:pt x="2932169" y="330199"/>
                    </a:lnTo>
                    <a:lnTo>
                      <a:pt x="2930009" y="342899"/>
                    </a:lnTo>
                    <a:lnTo>
                      <a:pt x="2945131" y="355599"/>
                    </a:lnTo>
                    <a:lnTo>
                      <a:pt x="2947291" y="342899"/>
                    </a:lnTo>
                    <a:lnTo>
                      <a:pt x="2949451" y="342899"/>
                    </a:lnTo>
                    <a:lnTo>
                      <a:pt x="2951611" y="330199"/>
                    </a:lnTo>
                    <a:lnTo>
                      <a:pt x="2951611" y="317499"/>
                    </a:lnTo>
                    <a:lnTo>
                      <a:pt x="2949451" y="317499"/>
                    </a:lnTo>
                    <a:lnTo>
                      <a:pt x="2947291" y="304799"/>
                    </a:lnTo>
                    <a:close/>
                  </a:path>
                  <a:path w="3439795" h="1447800">
                    <a:moveTo>
                      <a:pt x="2962412" y="342899"/>
                    </a:moveTo>
                    <a:lnTo>
                      <a:pt x="2960252" y="342899"/>
                    </a:lnTo>
                    <a:lnTo>
                      <a:pt x="2960252" y="355599"/>
                    </a:lnTo>
                    <a:lnTo>
                      <a:pt x="2962412" y="342899"/>
                    </a:lnTo>
                    <a:close/>
                  </a:path>
                  <a:path w="3439795" h="1447800">
                    <a:moveTo>
                      <a:pt x="2966733" y="342899"/>
                    </a:moveTo>
                    <a:lnTo>
                      <a:pt x="2975374" y="355599"/>
                    </a:lnTo>
                    <a:lnTo>
                      <a:pt x="2979694" y="355599"/>
                    </a:lnTo>
                    <a:lnTo>
                      <a:pt x="2966733" y="342899"/>
                    </a:lnTo>
                    <a:close/>
                  </a:path>
                  <a:path w="3439795" h="1447800">
                    <a:moveTo>
                      <a:pt x="2974510" y="335279"/>
                    </a:moveTo>
                    <a:lnTo>
                      <a:pt x="2966733" y="342899"/>
                    </a:lnTo>
                    <a:lnTo>
                      <a:pt x="2979694" y="355599"/>
                    </a:lnTo>
                    <a:lnTo>
                      <a:pt x="2984014" y="355599"/>
                    </a:lnTo>
                    <a:lnTo>
                      <a:pt x="2973213" y="342899"/>
                    </a:lnTo>
                    <a:lnTo>
                      <a:pt x="2974510" y="335279"/>
                    </a:lnTo>
                    <a:close/>
                  </a:path>
                  <a:path w="3439795" h="1447800">
                    <a:moveTo>
                      <a:pt x="2977700" y="332153"/>
                    </a:moveTo>
                    <a:lnTo>
                      <a:pt x="2974510" y="335279"/>
                    </a:lnTo>
                    <a:lnTo>
                      <a:pt x="2973213" y="342899"/>
                    </a:lnTo>
                    <a:lnTo>
                      <a:pt x="2984014" y="355599"/>
                    </a:lnTo>
                    <a:lnTo>
                      <a:pt x="2980414" y="334433"/>
                    </a:lnTo>
                    <a:lnTo>
                      <a:pt x="2977700" y="332153"/>
                    </a:lnTo>
                    <a:close/>
                  </a:path>
                  <a:path w="3439795" h="1447800">
                    <a:moveTo>
                      <a:pt x="2980414" y="334433"/>
                    </a:moveTo>
                    <a:lnTo>
                      <a:pt x="2984014" y="355599"/>
                    </a:lnTo>
                    <a:lnTo>
                      <a:pt x="2990495" y="342899"/>
                    </a:lnTo>
                    <a:lnTo>
                      <a:pt x="2980414" y="334433"/>
                    </a:lnTo>
                    <a:close/>
                  </a:path>
                  <a:path w="3439795" h="1447800">
                    <a:moveTo>
                      <a:pt x="2990495" y="342899"/>
                    </a:moveTo>
                    <a:lnTo>
                      <a:pt x="2984014" y="355599"/>
                    </a:lnTo>
                    <a:lnTo>
                      <a:pt x="2988335" y="355599"/>
                    </a:lnTo>
                    <a:lnTo>
                      <a:pt x="2990495" y="342899"/>
                    </a:lnTo>
                    <a:close/>
                  </a:path>
                  <a:path w="3439795" h="1447800">
                    <a:moveTo>
                      <a:pt x="3035770" y="330199"/>
                    </a:moveTo>
                    <a:lnTo>
                      <a:pt x="3024969" y="342899"/>
                    </a:lnTo>
                    <a:lnTo>
                      <a:pt x="3037930" y="355599"/>
                    </a:lnTo>
                    <a:lnTo>
                      <a:pt x="3044411" y="342899"/>
                    </a:lnTo>
                    <a:lnTo>
                      <a:pt x="3027129" y="342899"/>
                    </a:lnTo>
                    <a:lnTo>
                      <a:pt x="3035770" y="330199"/>
                    </a:lnTo>
                    <a:close/>
                  </a:path>
                  <a:path w="3439795" h="1447800">
                    <a:moveTo>
                      <a:pt x="3035770" y="330199"/>
                    </a:moveTo>
                    <a:lnTo>
                      <a:pt x="3027129" y="342899"/>
                    </a:lnTo>
                    <a:lnTo>
                      <a:pt x="3044411" y="342899"/>
                    </a:lnTo>
                    <a:lnTo>
                      <a:pt x="3037930" y="355599"/>
                    </a:lnTo>
                    <a:lnTo>
                      <a:pt x="3048731" y="342899"/>
                    </a:lnTo>
                    <a:lnTo>
                      <a:pt x="3035770" y="330199"/>
                    </a:lnTo>
                    <a:close/>
                  </a:path>
                  <a:path w="3439795" h="1447800">
                    <a:moveTo>
                      <a:pt x="3055212" y="342899"/>
                    </a:moveTo>
                    <a:lnTo>
                      <a:pt x="3048731" y="342899"/>
                    </a:lnTo>
                    <a:lnTo>
                      <a:pt x="3037930" y="355599"/>
                    </a:lnTo>
                    <a:lnTo>
                      <a:pt x="3055212" y="355599"/>
                    </a:lnTo>
                    <a:lnTo>
                      <a:pt x="3055212" y="342899"/>
                    </a:lnTo>
                    <a:close/>
                  </a:path>
                  <a:path w="3439795" h="1447800">
                    <a:moveTo>
                      <a:pt x="3070333" y="342899"/>
                    </a:moveTo>
                    <a:lnTo>
                      <a:pt x="3055212" y="342899"/>
                    </a:lnTo>
                    <a:lnTo>
                      <a:pt x="3055212" y="355599"/>
                    </a:lnTo>
                    <a:lnTo>
                      <a:pt x="3061692" y="355599"/>
                    </a:lnTo>
                    <a:lnTo>
                      <a:pt x="3070333" y="342899"/>
                    </a:lnTo>
                    <a:close/>
                  </a:path>
                  <a:path w="3439795" h="1447800">
                    <a:moveTo>
                      <a:pt x="3070333" y="342899"/>
                    </a:moveTo>
                    <a:lnTo>
                      <a:pt x="3061692" y="355599"/>
                    </a:lnTo>
                    <a:lnTo>
                      <a:pt x="3067741" y="350519"/>
                    </a:lnTo>
                    <a:lnTo>
                      <a:pt x="3070333" y="342899"/>
                    </a:lnTo>
                    <a:close/>
                  </a:path>
                  <a:path w="3439795" h="1447800">
                    <a:moveTo>
                      <a:pt x="3076814" y="342899"/>
                    </a:moveTo>
                    <a:lnTo>
                      <a:pt x="3067093" y="352424"/>
                    </a:lnTo>
                    <a:lnTo>
                      <a:pt x="3066013" y="355599"/>
                    </a:lnTo>
                    <a:lnTo>
                      <a:pt x="3078974" y="355599"/>
                    </a:lnTo>
                    <a:lnTo>
                      <a:pt x="3076814" y="342899"/>
                    </a:lnTo>
                    <a:close/>
                  </a:path>
                  <a:path w="3439795" h="1447800">
                    <a:moveTo>
                      <a:pt x="3167543" y="349249"/>
                    </a:moveTo>
                    <a:lnTo>
                      <a:pt x="3167543" y="355599"/>
                    </a:lnTo>
                    <a:lnTo>
                      <a:pt x="3169703" y="355599"/>
                    </a:lnTo>
                    <a:lnTo>
                      <a:pt x="3167543" y="349249"/>
                    </a:lnTo>
                    <a:close/>
                  </a:path>
                  <a:path w="3439795" h="1447800">
                    <a:moveTo>
                      <a:pt x="3167543" y="342899"/>
                    </a:moveTo>
                    <a:lnTo>
                      <a:pt x="3167543" y="349249"/>
                    </a:lnTo>
                    <a:lnTo>
                      <a:pt x="3169703" y="355599"/>
                    </a:lnTo>
                    <a:lnTo>
                      <a:pt x="3167543" y="342899"/>
                    </a:lnTo>
                    <a:close/>
                  </a:path>
                  <a:path w="3439795" h="1447800">
                    <a:moveTo>
                      <a:pt x="3176184" y="330199"/>
                    </a:moveTo>
                    <a:lnTo>
                      <a:pt x="3161062" y="342899"/>
                    </a:lnTo>
                    <a:lnTo>
                      <a:pt x="3167543" y="342899"/>
                    </a:lnTo>
                    <a:lnTo>
                      <a:pt x="3169703" y="355599"/>
                    </a:lnTo>
                    <a:lnTo>
                      <a:pt x="3180504" y="342899"/>
                    </a:lnTo>
                    <a:lnTo>
                      <a:pt x="3176184" y="330199"/>
                    </a:lnTo>
                    <a:close/>
                  </a:path>
                  <a:path w="3439795" h="1447800">
                    <a:moveTo>
                      <a:pt x="3182664" y="342899"/>
                    </a:moveTo>
                    <a:lnTo>
                      <a:pt x="3180504" y="342899"/>
                    </a:lnTo>
                    <a:lnTo>
                      <a:pt x="3169703" y="355599"/>
                    </a:lnTo>
                    <a:lnTo>
                      <a:pt x="3182664" y="342899"/>
                    </a:lnTo>
                    <a:close/>
                  </a:path>
                  <a:path w="3439795" h="1447800">
                    <a:moveTo>
                      <a:pt x="3186985" y="342899"/>
                    </a:moveTo>
                    <a:lnTo>
                      <a:pt x="3182664" y="342899"/>
                    </a:lnTo>
                    <a:lnTo>
                      <a:pt x="3169703" y="355599"/>
                    </a:lnTo>
                    <a:lnTo>
                      <a:pt x="3174024" y="355599"/>
                    </a:lnTo>
                    <a:lnTo>
                      <a:pt x="3186985" y="342899"/>
                    </a:lnTo>
                    <a:close/>
                  </a:path>
                  <a:path w="3439795" h="1447800">
                    <a:moveTo>
                      <a:pt x="3186985" y="342899"/>
                    </a:moveTo>
                    <a:lnTo>
                      <a:pt x="3174024" y="355599"/>
                    </a:lnTo>
                    <a:lnTo>
                      <a:pt x="3178344" y="355599"/>
                    </a:lnTo>
                    <a:lnTo>
                      <a:pt x="3186985" y="345354"/>
                    </a:lnTo>
                    <a:lnTo>
                      <a:pt x="3186985" y="342899"/>
                    </a:lnTo>
                    <a:close/>
                  </a:path>
                  <a:path w="3439795" h="1447800">
                    <a:moveTo>
                      <a:pt x="3186985" y="345354"/>
                    </a:moveTo>
                    <a:lnTo>
                      <a:pt x="3178344" y="355599"/>
                    </a:lnTo>
                    <a:lnTo>
                      <a:pt x="3186925" y="347133"/>
                    </a:lnTo>
                    <a:lnTo>
                      <a:pt x="3186985" y="345354"/>
                    </a:lnTo>
                    <a:close/>
                  </a:path>
                  <a:path w="3439795" h="1447800">
                    <a:moveTo>
                      <a:pt x="3191215" y="342899"/>
                    </a:moveTo>
                    <a:lnTo>
                      <a:pt x="3186985" y="347074"/>
                    </a:lnTo>
                    <a:lnTo>
                      <a:pt x="3186985" y="355599"/>
                    </a:lnTo>
                    <a:lnTo>
                      <a:pt x="3189621" y="352474"/>
                    </a:lnTo>
                    <a:lnTo>
                      <a:pt x="3191215" y="342899"/>
                    </a:lnTo>
                    <a:close/>
                  </a:path>
                  <a:path w="3439795" h="1447800">
                    <a:moveTo>
                      <a:pt x="453411" y="330199"/>
                    </a:moveTo>
                    <a:lnTo>
                      <a:pt x="449090" y="336549"/>
                    </a:lnTo>
                    <a:lnTo>
                      <a:pt x="446930" y="342899"/>
                    </a:lnTo>
                    <a:lnTo>
                      <a:pt x="457731" y="353483"/>
                    </a:lnTo>
                    <a:lnTo>
                      <a:pt x="457716" y="347074"/>
                    </a:lnTo>
                    <a:lnTo>
                      <a:pt x="453411" y="330199"/>
                    </a:lnTo>
                    <a:close/>
                  </a:path>
                  <a:path w="3439795" h="1447800">
                    <a:moveTo>
                      <a:pt x="3197696" y="342899"/>
                    </a:moveTo>
                    <a:lnTo>
                      <a:pt x="3191215" y="342899"/>
                    </a:lnTo>
                    <a:lnTo>
                      <a:pt x="3189621" y="352474"/>
                    </a:lnTo>
                    <a:lnTo>
                      <a:pt x="3197696" y="342899"/>
                    </a:lnTo>
                    <a:close/>
                  </a:path>
                  <a:path w="3439795" h="1447800">
                    <a:moveTo>
                      <a:pt x="3076814" y="342899"/>
                    </a:moveTo>
                    <a:lnTo>
                      <a:pt x="3067741" y="350519"/>
                    </a:lnTo>
                    <a:lnTo>
                      <a:pt x="3067093" y="352424"/>
                    </a:lnTo>
                    <a:lnTo>
                      <a:pt x="3076814" y="342899"/>
                    </a:lnTo>
                    <a:close/>
                  </a:path>
                  <a:path w="3439795" h="1447800">
                    <a:moveTo>
                      <a:pt x="3076814" y="342899"/>
                    </a:moveTo>
                    <a:lnTo>
                      <a:pt x="3070333" y="342899"/>
                    </a:lnTo>
                    <a:lnTo>
                      <a:pt x="3067741" y="350519"/>
                    </a:lnTo>
                    <a:lnTo>
                      <a:pt x="3076814" y="342899"/>
                    </a:lnTo>
                    <a:close/>
                  </a:path>
                  <a:path w="3439795" h="1447800">
                    <a:moveTo>
                      <a:pt x="133879" y="342899"/>
                    </a:moveTo>
                    <a:lnTo>
                      <a:pt x="129558" y="342899"/>
                    </a:lnTo>
                    <a:lnTo>
                      <a:pt x="133879" y="349249"/>
                    </a:lnTo>
                    <a:lnTo>
                      <a:pt x="133879" y="342899"/>
                    </a:lnTo>
                    <a:close/>
                  </a:path>
                  <a:path w="3439795" h="1447800">
                    <a:moveTo>
                      <a:pt x="3167543" y="342899"/>
                    </a:moveTo>
                    <a:lnTo>
                      <a:pt x="3165383" y="342899"/>
                    </a:lnTo>
                    <a:lnTo>
                      <a:pt x="3167543" y="349249"/>
                    </a:lnTo>
                    <a:lnTo>
                      <a:pt x="3167543" y="342899"/>
                    </a:lnTo>
                    <a:close/>
                  </a:path>
                  <a:path w="3439795" h="1447800">
                    <a:moveTo>
                      <a:pt x="466372" y="304799"/>
                    </a:moveTo>
                    <a:lnTo>
                      <a:pt x="464212" y="304799"/>
                    </a:lnTo>
                    <a:lnTo>
                      <a:pt x="455571" y="317499"/>
                    </a:lnTo>
                    <a:lnTo>
                      <a:pt x="464212" y="330199"/>
                    </a:lnTo>
                    <a:lnTo>
                      <a:pt x="453411" y="330199"/>
                    </a:lnTo>
                    <a:lnTo>
                      <a:pt x="457731" y="347133"/>
                    </a:lnTo>
                    <a:lnTo>
                      <a:pt x="457731" y="342899"/>
                    </a:lnTo>
                    <a:lnTo>
                      <a:pt x="464212" y="342899"/>
                    </a:lnTo>
                    <a:lnTo>
                      <a:pt x="468532" y="330199"/>
                    </a:lnTo>
                    <a:lnTo>
                      <a:pt x="462052" y="317499"/>
                    </a:lnTo>
                    <a:lnTo>
                      <a:pt x="466372" y="304799"/>
                    </a:lnTo>
                    <a:close/>
                  </a:path>
                  <a:path w="3439795" h="1447800">
                    <a:moveTo>
                      <a:pt x="3191215" y="342899"/>
                    </a:moveTo>
                    <a:lnTo>
                      <a:pt x="3189055" y="342899"/>
                    </a:lnTo>
                    <a:lnTo>
                      <a:pt x="3186985" y="345354"/>
                    </a:lnTo>
                    <a:lnTo>
                      <a:pt x="3186985" y="347074"/>
                    </a:lnTo>
                    <a:lnTo>
                      <a:pt x="3191215" y="342899"/>
                    </a:lnTo>
                    <a:close/>
                  </a:path>
                  <a:path w="3439795" h="1447800">
                    <a:moveTo>
                      <a:pt x="2930009" y="342899"/>
                    </a:moveTo>
                    <a:lnTo>
                      <a:pt x="2927849" y="342899"/>
                    </a:lnTo>
                    <a:lnTo>
                      <a:pt x="2932169" y="346074"/>
                    </a:lnTo>
                    <a:lnTo>
                      <a:pt x="2930009" y="342899"/>
                    </a:lnTo>
                    <a:close/>
                  </a:path>
                  <a:path w="3439795" h="1447800">
                    <a:moveTo>
                      <a:pt x="3189055" y="342899"/>
                    </a:moveTo>
                    <a:lnTo>
                      <a:pt x="3186985" y="342899"/>
                    </a:lnTo>
                    <a:lnTo>
                      <a:pt x="3186985" y="345354"/>
                    </a:lnTo>
                    <a:lnTo>
                      <a:pt x="3189055" y="342899"/>
                    </a:lnTo>
                    <a:close/>
                  </a:path>
                  <a:path w="3439795" h="1447800">
                    <a:moveTo>
                      <a:pt x="125238" y="330199"/>
                    </a:moveTo>
                    <a:lnTo>
                      <a:pt x="131719" y="342899"/>
                    </a:lnTo>
                    <a:lnTo>
                      <a:pt x="136039" y="342899"/>
                    </a:lnTo>
                    <a:lnTo>
                      <a:pt x="125238" y="330199"/>
                    </a:lnTo>
                    <a:close/>
                  </a:path>
                  <a:path w="3439795" h="1447800">
                    <a:moveTo>
                      <a:pt x="136039" y="317499"/>
                    </a:moveTo>
                    <a:lnTo>
                      <a:pt x="131719" y="317499"/>
                    </a:lnTo>
                    <a:lnTo>
                      <a:pt x="125238" y="330199"/>
                    </a:lnTo>
                    <a:lnTo>
                      <a:pt x="138199" y="342899"/>
                    </a:lnTo>
                    <a:lnTo>
                      <a:pt x="129558" y="330199"/>
                    </a:lnTo>
                    <a:lnTo>
                      <a:pt x="138199" y="330199"/>
                    </a:lnTo>
                    <a:lnTo>
                      <a:pt x="136039" y="317499"/>
                    </a:lnTo>
                    <a:close/>
                  </a:path>
                  <a:path w="3439795" h="1447800">
                    <a:moveTo>
                      <a:pt x="138199" y="330199"/>
                    </a:moveTo>
                    <a:lnTo>
                      <a:pt x="129558" y="330199"/>
                    </a:lnTo>
                    <a:lnTo>
                      <a:pt x="138199" y="342899"/>
                    </a:lnTo>
                    <a:lnTo>
                      <a:pt x="139820" y="339724"/>
                    </a:lnTo>
                    <a:lnTo>
                      <a:pt x="138199" y="330199"/>
                    </a:lnTo>
                    <a:close/>
                  </a:path>
                  <a:path w="3439795" h="1447800">
                    <a:moveTo>
                      <a:pt x="142520" y="317499"/>
                    </a:moveTo>
                    <a:lnTo>
                      <a:pt x="136039" y="317499"/>
                    </a:lnTo>
                    <a:lnTo>
                      <a:pt x="144680" y="330199"/>
                    </a:lnTo>
                    <a:lnTo>
                      <a:pt x="139820" y="339724"/>
                    </a:lnTo>
                    <a:lnTo>
                      <a:pt x="140360" y="342899"/>
                    </a:lnTo>
                    <a:lnTo>
                      <a:pt x="146840" y="342899"/>
                    </a:lnTo>
                    <a:lnTo>
                      <a:pt x="146840" y="330199"/>
                    </a:lnTo>
                    <a:lnTo>
                      <a:pt x="142520" y="317499"/>
                    </a:lnTo>
                    <a:close/>
                  </a:path>
                  <a:path w="3439795" h="1447800">
                    <a:moveTo>
                      <a:pt x="2448461" y="317499"/>
                    </a:moveTo>
                    <a:lnTo>
                      <a:pt x="2431269" y="330199"/>
                    </a:lnTo>
                    <a:lnTo>
                      <a:pt x="2435590" y="342899"/>
                    </a:lnTo>
                    <a:lnTo>
                      <a:pt x="2452781" y="330199"/>
                    </a:lnTo>
                    <a:lnTo>
                      <a:pt x="2448461" y="330199"/>
                    </a:lnTo>
                    <a:lnTo>
                      <a:pt x="2448461" y="317499"/>
                    </a:lnTo>
                    <a:close/>
                  </a:path>
                  <a:path w="3439795" h="1447800">
                    <a:moveTo>
                      <a:pt x="2452781" y="330199"/>
                    </a:moveTo>
                    <a:lnTo>
                      <a:pt x="2435590" y="342899"/>
                    </a:lnTo>
                    <a:lnTo>
                      <a:pt x="2454941" y="342899"/>
                    </a:lnTo>
                    <a:lnTo>
                      <a:pt x="2452781" y="330199"/>
                    </a:lnTo>
                    <a:close/>
                  </a:path>
                  <a:path w="3439795" h="1447800">
                    <a:moveTo>
                      <a:pt x="2980311" y="333828"/>
                    </a:moveTo>
                    <a:lnTo>
                      <a:pt x="2980414" y="334433"/>
                    </a:lnTo>
                    <a:lnTo>
                      <a:pt x="2990495" y="342899"/>
                    </a:lnTo>
                    <a:lnTo>
                      <a:pt x="2992655" y="342899"/>
                    </a:lnTo>
                    <a:lnTo>
                      <a:pt x="2980311" y="333828"/>
                    </a:lnTo>
                    <a:close/>
                  </a:path>
                  <a:path w="3439795" h="1447800">
                    <a:moveTo>
                      <a:pt x="2980054" y="332316"/>
                    </a:moveTo>
                    <a:lnTo>
                      <a:pt x="2980311" y="333828"/>
                    </a:lnTo>
                    <a:lnTo>
                      <a:pt x="2992655" y="342899"/>
                    </a:lnTo>
                    <a:lnTo>
                      <a:pt x="2980054" y="332316"/>
                    </a:lnTo>
                    <a:close/>
                  </a:path>
                  <a:path w="3439795" h="1447800">
                    <a:moveTo>
                      <a:pt x="2979694" y="330199"/>
                    </a:moveTo>
                    <a:lnTo>
                      <a:pt x="2980054" y="332316"/>
                    </a:lnTo>
                    <a:lnTo>
                      <a:pt x="2992655" y="342899"/>
                    </a:lnTo>
                    <a:lnTo>
                      <a:pt x="2979694" y="330199"/>
                    </a:lnTo>
                    <a:close/>
                  </a:path>
                  <a:path w="3439795" h="1447800">
                    <a:moveTo>
                      <a:pt x="2992655" y="323849"/>
                    </a:moveTo>
                    <a:lnTo>
                      <a:pt x="2994816" y="330199"/>
                    </a:lnTo>
                    <a:lnTo>
                      <a:pt x="2979694" y="330199"/>
                    </a:lnTo>
                    <a:lnTo>
                      <a:pt x="2992655" y="342899"/>
                    </a:lnTo>
                    <a:lnTo>
                      <a:pt x="2996976" y="330199"/>
                    </a:lnTo>
                    <a:lnTo>
                      <a:pt x="2992655" y="323849"/>
                    </a:lnTo>
                    <a:close/>
                  </a:path>
                  <a:path w="3439795" h="1447800">
                    <a:moveTo>
                      <a:pt x="2996976" y="330199"/>
                    </a:moveTo>
                    <a:lnTo>
                      <a:pt x="2992655" y="342899"/>
                    </a:lnTo>
                    <a:lnTo>
                      <a:pt x="2996976" y="342899"/>
                    </a:lnTo>
                    <a:lnTo>
                      <a:pt x="2996976" y="330199"/>
                    </a:lnTo>
                    <a:close/>
                  </a:path>
                  <a:path w="3439795" h="1447800">
                    <a:moveTo>
                      <a:pt x="3035770" y="330199"/>
                    </a:moveTo>
                    <a:lnTo>
                      <a:pt x="3012007" y="330199"/>
                    </a:lnTo>
                    <a:lnTo>
                      <a:pt x="3016328" y="342899"/>
                    </a:lnTo>
                    <a:lnTo>
                      <a:pt x="3024969" y="342899"/>
                    </a:lnTo>
                    <a:lnTo>
                      <a:pt x="3035770" y="330199"/>
                    </a:lnTo>
                    <a:close/>
                  </a:path>
                  <a:path w="3439795" h="1447800">
                    <a:moveTo>
                      <a:pt x="3163222" y="323849"/>
                    </a:moveTo>
                    <a:lnTo>
                      <a:pt x="3156742" y="330199"/>
                    </a:lnTo>
                    <a:lnTo>
                      <a:pt x="3161062" y="342899"/>
                    </a:lnTo>
                    <a:lnTo>
                      <a:pt x="3176184" y="330199"/>
                    </a:lnTo>
                    <a:lnTo>
                      <a:pt x="3158902" y="330199"/>
                    </a:lnTo>
                    <a:lnTo>
                      <a:pt x="3163222" y="323849"/>
                    </a:lnTo>
                    <a:close/>
                  </a:path>
                  <a:path w="3439795" h="1447800">
                    <a:moveTo>
                      <a:pt x="136039" y="317499"/>
                    </a:moveTo>
                    <a:lnTo>
                      <a:pt x="139820" y="339724"/>
                    </a:lnTo>
                    <a:lnTo>
                      <a:pt x="144680" y="330199"/>
                    </a:lnTo>
                    <a:lnTo>
                      <a:pt x="136039" y="317499"/>
                    </a:lnTo>
                    <a:close/>
                  </a:path>
                  <a:path w="3439795" h="1447800">
                    <a:moveTo>
                      <a:pt x="455571" y="317499"/>
                    </a:moveTo>
                    <a:lnTo>
                      <a:pt x="449090" y="336549"/>
                    </a:lnTo>
                    <a:lnTo>
                      <a:pt x="453411" y="330199"/>
                    </a:lnTo>
                    <a:lnTo>
                      <a:pt x="464212" y="330199"/>
                    </a:lnTo>
                    <a:lnTo>
                      <a:pt x="455571" y="317499"/>
                    </a:lnTo>
                    <a:close/>
                  </a:path>
                  <a:path w="3439795" h="1447800">
                    <a:moveTo>
                      <a:pt x="2975374" y="330199"/>
                    </a:moveTo>
                    <a:lnTo>
                      <a:pt x="2974510" y="335279"/>
                    </a:lnTo>
                    <a:lnTo>
                      <a:pt x="2977700" y="332153"/>
                    </a:lnTo>
                    <a:lnTo>
                      <a:pt x="2975374" y="330199"/>
                    </a:lnTo>
                    <a:close/>
                  </a:path>
                  <a:path w="3439795" h="1447800">
                    <a:moveTo>
                      <a:pt x="2977842" y="332014"/>
                    </a:moveTo>
                    <a:lnTo>
                      <a:pt x="2977700" y="332153"/>
                    </a:lnTo>
                    <a:lnTo>
                      <a:pt x="2980414" y="334433"/>
                    </a:lnTo>
                    <a:lnTo>
                      <a:pt x="2980311" y="333828"/>
                    </a:lnTo>
                    <a:lnTo>
                      <a:pt x="2977842" y="332014"/>
                    </a:lnTo>
                    <a:close/>
                  </a:path>
                  <a:path w="3439795" h="1447800">
                    <a:moveTo>
                      <a:pt x="2978697" y="331176"/>
                    </a:moveTo>
                    <a:lnTo>
                      <a:pt x="2977842" y="332014"/>
                    </a:lnTo>
                    <a:lnTo>
                      <a:pt x="2980311" y="333828"/>
                    </a:lnTo>
                    <a:lnTo>
                      <a:pt x="2980054" y="332316"/>
                    </a:lnTo>
                    <a:lnTo>
                      <a:pt x="2978697" y="331176"/>
                    </a:lnTo>
                    <a:close/>
                  </a:path>
                  <a:path w="3439795" h="1447800">
                    <a:moveTo>
                      <a:pt x="2979694" y="330199"/>
                    </a:moveTo>
                    <a:lnTo>
                      <a:pt x="2978697" y="331176"/>
                    </a:lnTo>
                    <a:lnTo>
                      <a:pt x="2980054" y="332316"/>
                    </a:lnTo>
                    <a:lnTo>
                      <a:pt x="2979694" y="330199"/>
                    </a:lnTo>
                    <a:close/>
                  </a:path>
                  <a:path w="3439795" h="1447800">
                    <a:moveTo>
                      <a:pt x="2975374" y="330199"/>
                    </a:moveTo>
                    <a:lnTo>
                      <a:pt x="2977700" y="332153"/>
                    </a:lnTo>
                    <a:lnTo>
                      <a:pt x="2977842" y="332014"/>
                    </a:lnTo>
                    <a:lnTo>
                      <a:pt x="2975374" y="330199"/>
                    </a:lnTo>
                    <a:close/>
                  </a:path>
                  <a:path w="3439795" h="1447800">
                    <a:moveTo>
                      <a:pt x="2977534" y="330199"/>
                    </a:moveTo>
                    <a:lnTo>
                      <a:pt x="2975374" y="330199"/>
                    </a:lnTo>
                    <a:lnTo>
                      <a:pt x="2977842" y="332014"/>
                    </a:lnTo>
                    <a:lnTo>
                      <a:pt x="2978697" y="331176"/>
                    </a:lnTo>
                    <a:lnTo>
                      <a:pt x="2977534" y="330199"/>
                    </a:lnTo>
                    <a:close/>
                  </a:path>
                  <a:path w="3439795" h="1447800">
                    <a:moveTo>
                      <a:pt x="2988335" y="317499"/>
                    </a:moveTo>
                    <a:lnTo>
                      <a:pt x="2984014" y="317499"/>
                    </a:lnTo>
                    <a:lnTo>
                      <a:pt x="2977534" y="330199"/>
                    </a:lnTo>
                    <a:lnTo>
                      <a:pt x="2978697" y="331176"/>
                    </a:lnTo>
                    <a:lnTo>
                      <a:pt x="2979694" y="330199"/>
                    </a:lnTo>
                    <a:lnTo>
                      <a:pt x="2992655" y="330199"/>
                    </a:lnTo>
                    <a:lnTo>
                      <a:pt x="2991215" y="321733"/>
                    </a:lnTo>
                    <a:lnTo>
                      <a:pt x="2988335" y="317499"/>
                    </a:lnTo>
                    <a:close/>
                  </a:path>
                  <a:path w="3439795" h="1447800">
                    <a:moveTo>
                      <a:pt x="151161" y="317499"/>
                    </a:moveTo>
                    <a:lnTo>
                      <a:pt x="142520" y="317499"/>
                    </a:lnTo>
                    <a:lnTo>
                      <a:pt x="146840" y="330199"/>
                    </a:lnTo>
                    <a:lnTo>
                      <a:pt x="151161" y="330199"/>
                    </a:lnTo>
                    <a:lnTo>
                      <a:pt x="151161" y="317499"/>
                    </a:lnTo>
                    <a:close/>
                  </a:path>
                  <a:path w="3439795" h="1447800">
                    <a:moveTo>
                      <a:pt x="151161" y="317499"/>
                    </a:moveTo>
                    <a:lnTo>
                      <a:pt x="151161" y="330199"/>
                    </a:lnTo>
                    <a:lnTo>
                      <a:pt x="153321" y="330199"/>
                    </a:lnTo>
                    <a:lnTo>
                      <a:pt x="151161" y="317499"/>
                    </a:lnTo>
                    <a:close/>
                  </a:path>
                  <a:path w="3439795" h="1447800">
                    <a:moveTo>
                      <a:pt x="157641" y="317499"/>
                    </a:moveTo>
                    <a:lnTo>
                      <a:pt x="151161" y="317499"/>
                    </a:lnTo>
                    <a:lnTo>
                      <a:pt x="153321" y="330199"/>
                    </a:lnTo>
                    <a:lnTo>
                      <a:pt x="157641" y="330199"/>
                    </a:lnTo>
                    <a:lnTo>
                      <a:pt x="157641" y="317499"/>
                    </a:lnTo>
                    <a:close/>
                  </a:path>
                  <a:path w="3439795" h="1447800">
                    <a:moveTo>
                      <a:pt x="164122" y="317499"/>
                    </a:moveTo>
                    <a:lnTo>
                      <a:pt x="157641" y="317499"/>
                    </a:lnTo>
                    <a:lnTo>
                      <a:pt x="157641" y="330199"/>
                    </a:lnTo>
                    <a:lnTo>
                      <a:pt x="170603" y="330199"/>
                    </a:lnTo>
                    <a:lnTo>
                      <a:pt x="164122" y="317499"/>
                    </a:lnTo>
                    <a:close/>
                  </a:path>
                  <a:path w="3439795" h="1447800">
                    <a:moveTo>
                      <a:pt x="164122" y="317499"/>
                    </a:moveTo>
                    <a:lnTo>
                      <a:pt x="170603" y="330199"/>
                    </a:lnTo>
                    <a:lnTo>
                      <a:pt x="167362" y="320674"/>
                    </a:lnTo>
                    <a:lnTo>
                      <a:pt x="164122" y="317499"/>
                    </a:lnTo>
                    <a:close/>
                  </a:path>
                  <a:path w="3439795" h="1447800">
                    <a:moveTo>
                      <a:pt x="167362" y="320674"/>
                    </a:moveTo>
                    <a:lnTo>
                      <a:pt x="170603" y="330199"/>
                    </a:lnTo>
                    <a:lnTo>
                      <a:pt x="177083" y="330199"/>
                    </a:lnTo>
                    <a:lnTo>
                      <a:pt x="167362" y="320674"/>
                    </a:lnTo>
                    <a:close/>
                  </a:path>
                  <a:path w="3439795" h="1447800">
                    <a:moveTo>
                      <a:pt x="166282" y="317499"/>
                    </a:moveTo>
                    <a:lnTo>
                      <a:pt x="167362" y="320674"/>
                    </a:lnTo>
                    <a:lnTo>
                      <a:pt x="177083" y="330199"/>
                    </a:lnTo>
                    <a:lnTo>
                      <a:pt x="166282" y="317499"/>
                    </a:lnTo>
                    <a:close/>
                  </a:path>
                  <a:path w="3439795" h="1447800">
                    <a:moveTo>
                      <a:pt x="183564" y="304799"/>
                    </a:moveTo>
                    <a:lnTo>
                      <a:pt x="172043" y="313266"/>
                    </a:lnTo>
                    <a:lnTo>
                      <a:pt x="168442" y="317499"/>
                    </a:lnTo>
                    <a:lnTo>
                      <a:pt x="166282" y="317499"/>
                    </a:lnTo>
                    <a:lnTo>
                      <a:pt x="177083" y="330199"/>
                    </a:lnTo>
                    <a:lnTo>
                      <a:pt x="181404" y="330199"/>
                    </a:lnTo>
                    <a:lnTo>
                      <a:pt x="183564" y="317499"/>
                    </a:lnTo>
                    <a:lnTo>
                      <a:pt x="168442" y="317499"/>
                    </a:lnTo>
                    <a:lnTo>
                      <a:pt x="167299" y="316752"/>
                    </a:lnTo>
                    <a:lnTo>
                      <a:pt x="183564" y="316752"/>
                    </a:lnTo>
                    <a:lnTo>
                      <a:pt x="183564" y="304799"/>
                    </a:lnTo>
                    <a:close/>
                  </a:path>
                  <a:path w="3439795" h="1447800">
                    <a:moveTo>
                      <a:pt x="371413" y="304799"/>
                    </a:moveTo>
                    <a:lnTo>
                      <a:pt x="360612" y="317499"/>
                    </a:lnTo>
                    <a:lnTo>
                      <a:pt x="367092" y="330199"/>
                    </a:lnTo>
                    <a:lnTo>
                      <a:pt x="380054" y="317499"/>
                    </a:lnTo>
                    <a:lnTo>
                      <a:pt x="364932" y="317499"/>
                    </a:lnTo>
                    <a:lnTo>
                      <a:pt x="371413" y="304799"/>
                    </a:lnTo>
                    <a:close/>
                  </a:path>
                  <a:path w="3439795" h="1447800">
                    <a:moveTo>
                      <a:pt x="375733" y="304799"/>
                    </a:moveTo>
                    <a:lnTo>
                      <a:pt x="371413" y="304799"/>
                    </a:lnTo>
                    <a:lnTo>
                      <a:pt x="364932" y="317499"/>
                    </a:lnTo>
                    <a:lnTo>
                      <a:pt x="380054" y="317499"/>
                    </a:lnTo>
                    <a:lnTo>
                      <a:pt x="367092" y="330199"/>
                    </a:lnTo>
                    <a:lnTo>
                      <a:pt x="382214" y="317499"/>
                    </a:lnTo>
                    <a:lnTo>
                      <a:pt x="375733" y="304799"/>
                    </a:lnTo>
                    <a:close/>
                  </a:path>
                  <a:path w="3439795" h="1447800">
                    <a:moveTo>
                      <a:pt x="388604" y="317499"/>
                    </a:moveTo>
                    <a:lnTo>
                      <a:pt x="382214" y="317499"/>
                    </a:lnTo>
                    <a:lnTo>
                      <a:pt x="367092" y="330199"/>
                    </a:lnTo>
                    <a:lnTo>
                      <a:pt x="371413" y="330199"/>
                    </a:lnTo>
                    <a:lnTo>
                      <a:pt x="388604" y="317499"/>
                    </a:lnTo>
                    <a:close/>
                  </a:path>
                  <a:path w="3439795" h="1447800">
                    <a:moveTo>
                      <a:pt x="388604" y="317499"/>
                    </a:moveTo>
                    <a:lnTo>
                      <a:pt x="375733" y="330199"/>
                    </a:lnTo>
                    <a:lnTo>
                      <a:pt x="390765" y="330199"/>
                    </a:lnTo>
                    <a:lnTo>
                      <a:pt x="388604" y="317499"/>
                    </a:lnTo>
                    <a:close/>
                  </a:path>
                  <a:path w="3439795" h="1447800">
                    <a:moveTo>
                      <a:pt x="390765" y="317499"/>
                    </a:moveTo>
                    <a:lnTo>
                      <a:pt x="388604" y="317499"/>
                    </a:lnTo>
                    <a:lnTo>
                      <a:pt x="390765" y="330199"/>
                    </a:lnTo>
                    <a:lnTo>
                      <a:pt x="390765" y="317499"/>
                    </a:lnTo>
                    <a:close/>
                  </a:path>
                  <a:path w="3439795" h="1447800">
                    <a:moveTo>
                      <a:pt x="466372" y="304799"/>
                    </a:moveTo>
                    <a:lnTo>
                      <a:pt x="462052" y="317499"/>
                    </a:lnTo>
                    <a:lnTo>
                      <a:pt x="468532" y="330199"/>
                    </a:lnTo>
                    <a:lnTo>
                      <a:pt x="468532" y="306614"/>
                    </a:lnTo>
                    <a:lnTo>
                      <a:pt x="466372" y="304799"/>
                    </a:lnTo>
                    <a:close/>
                  </a:path>
                  <a:path w="3439795" h="1447800">
                    <a:moveTo>
                      <a:pt x="468532" y="306614"/>
                    </a:moveTo>
                    <a:lnTo>
                      <a:pt x="468532" y="330199"/>
                    </a:lnTo>
                    <a:lnTo>
                      <a:pt x="472853" y="317499"/>
                    </a:lnTo>
                    <a:lnTo>
                      <a:pt x="481494" y="317499"/>
                    </a:lnTo>
                    <a:lnTo>
                      <a:pt x="468532" y="306614"/>
                    </a:lnTo>
                    <a:close/>
                  </a:path>
                  <a:path w="3439795" h="1447800">
                    <a:moveTo>
                      <a:pt x="477173" y="317499"/>
                    </a:moveTo>
                    <a:lnTo>
                      <a:pt x="472853" y="317499"/>
                    </a:lnTo>
                    <a:lnTo>
                      <a:pt x="468532" y="330199"/>
                    </a:lnTo>
                    <a:lnTo>
                      <a:pt x="477173" y="330199"/>
                    </a:lnTo>
                    <a:lnTo>
                      <a:pt x="477173" y="317499"/>
                    </a:lnTo>
                    <a:close/>
                  </a:path>
                  <a:path w="3439795" h="1447800">
                    <a:moveTo>
                      <a:pt x="2448461" y="304799"/>
                    </a:moveTo>
                    <a:lnTo>
                      <a:pt x="2431269" y="304799"/>
                    </a:lnTo>
                    <a:lnTo>
                      <a:pt x="2431269" y="330199"/>
                    </a:lnTo>
                    <a:lnTo>
                      <a:pt x="2448461" y="317499"/>
                    </a:lnTo>
                    <a:lnTo>
                      <a:pt x="2448461" y="304799"/>
                    </a:lnTo>
                    <a:close/>
                  </a:path>
                  <a:path w="3439795" h="1447800">
                    <a:moveTo>
                      <a:pt x="2448461" y="317499"/>
                    </a:moveTo>
                    <a:lnTo>
                      <a:pt x="2448461" y="330199"/>
                    </a:lnTo>
                    <a:lnTo>
                      <a:pt x="2452781" y="330199"/>
                    </a:lnTo>
                    <a:lnTo>
                      <a:pt x="2448461" y="317499"/>
                    </a:lnTo>
                    <a:close/>
                  </a:path>
                  <a:path w="3439795" h="1447800">
                    <a:moveTo>
                      <a:pt x="2467903" y="292099"/>
                    </a:moveTo>
                    <a:lnTo>
                      <a:pt x="2467903" y="304799"/>
                    </a:lnTo>
                    <a:lnTo>
                      <a:pt x="2472223" y="330199"/>
                    </a:lnTo>
                    <a:lnTo>
                      <a:pt x="2487345" y="317499"/>
                    </a:lnTo>
                    <a:lnTo>
                      <a:pt x="2489505" y="317499"/>
                    </a:lnTo>
                    <a:lnTo>
                      <a:pt x="2487345" y="304799"/>
                    </a:lnTo>
                    <a:lnTo>
                      <a:pt x="2483024" y="304799"/>
                    </a:lnTo>
                    <a:lnTo>
                      <a:pt x="2467903" y="292099"/>
                    </a:lnTo>
                    <a:close/>
                  </a:path>
                  <a:path w="3439795" h="1447800">
                    <a:moveTo>
                      <a:pt x="2489505" y="317499"/>
                    </a:moveTo>
                    <a:lnTo>
                      <a:pt x="2487345" y="317499"/>
                    </a:lnTo>
                    <a:lnTo>
                      <a:pt x="2472223" y="330199"/>
                    </a:lnTo>
                    <a:lnTo>
                      <a:pt x="2489505" y="317499"/>
                    </a:lnTo>
                    <a:close/>
                  </a:path>
                  <a:path w="3439795" h="1447800">
                    <a:moveTo>
                      <a:pt x="2984014" y="317499"/>
                    </a:moveTo>
                    <a:lnTo>
                      <a:pt x="2977534" y="317499"/>
                    </a:lnTo>
                    <a:lnTo>
                      <a:pt x="2977534" y="330199"/>
                    </a:lnTo>
                    <a:lnTo>
                      <a:pt x="2984014" y="317499"/>
                    </a:lnTo>
                    <a:close/>
                  </a:path>
                  <a:path w="3439795" h="1447800">
                    <a:moveTo>
                      <a:pt x="2991215" y="321733"/>
                    </a:moveTo>
                    <a:lnTo>
                      <a:pt x="2992655" y="330199"/>
                    </a:lnTo>
                    <a:lnTo>
                      <a:pt x="2994816" y="330199"/>
                    </a:lnTo>
                    <a:lnTo>
                      <a:pt x="2992678" y="323916"/>
                    </a:lnTo>
                    <a:lnTo>
                      <a:pt x="2992610" y="323783"/>
                    </a:lnTo>
                    <a:lnTo>
                      <a:pt x="2991215" y="321733"/>
                    </a:lnTo>
                    <a:close/>
                  </a:path>
                  <a:path w="3439795" h="1447800">
                    <a:moveTo>
                      <a:pt x="2991220" y="319631"/>
                    </a:moveTo>
                    <a:lnTo>
                      <a:pt x="2992633" y="323783"/>
                    </a:lnTo>
                    <a:lnTo>
                      <a:pt x="2992701" y="323916"/>
                    </a:lnTo>
                    <a:lnTo>
                      <a:pt x="2996976" y="330199"/>
                    </a:lnTo>
                    <a:lnTo>
                      <a:pt x="2996931" y="323849"/>
                    </a:lnTo>
                    <a:lnTo>
                      <a:pt x="2991220" y="319631"/>
                    </a:lnTo>
                    <a:close/>
                  </a:path>
                  <a:path w="3439795" h="1447800">
                    <a:moveTo>
                      <a:pt x="2996976" y="323883"/>
                    </a:moveTo>
                    <a:lnTo>
                      <a:pt x="2996976" y="330199"/>
                    </a:lnTo>
                    <a:lnTo>
                      <a:pt x="2999136" y="330199"/>
                    </a:lnTo>
                    <a:lnTo>
                      <a:pt x="2998218" y="324800"/>
                    </a:lnTo>
                    <a:lnTo>
                      <a:pt x="2996976" y="323883"/>
                    </a:lnTo>
                    <a:close/>
                  </a:path>
                  <a:path w="3439795" h="1447800">
                    <a:moveTo>
                      <a:pt x="2998218" y="324800"/>
                    </a:moveTo>
                    <a:lnTo>
                      <a:pt x="2999136" y="330199"/>
                    </a:lnTo>
                    <a:lnTo>
                      <a:pt x="2999935" y="327024"/>
                    </a:lnTo>
                    <a:lnTo>
                      <a:pt x="3000009" y="326218"/>
                    </a:lnTo>
                    <a:lnTo>
                      <a:pt x="2999756" y="325937"/>
                    </a:lnTo>
                    <a:lnTo>
                      <a:pt x="2998218" y="324800"/>
                    </a:lnTo>
                    <a:close/>
                  </a:path>
                  <a:path w="3439795" h="1447800">
                    <a:moveTo>
                      <a:pt x="3000108" y="326336"/>
                    </a:moveTo>
                    <a:lnTo>
                      <a:pt x="2999136" y="330199"/>
                    </a:lnTo>
                    <a:lnTo>
                      <a:pt x="3001606" y="328112"/>
                    </a:lnTo>
                    <a:lnTo>
                      <a:pt x="3000108" y="326336"/>
                    </a:lnTo>
                    <a:close/>
                  </a:path>
                  <a:path w="3439795" h="1447800">
                    <a:moveTo>
                      <a:pt x="3001606" y="328112"/>
                    </a:moveTo>
                    <a:lnTo>
                      <a:pt x="2999136" y="330199"/>
                    </a:lnTo>
                    <a:lnTo>
                      <a:pt x="3003366" y="330199"/>
                    </a:lnTo>
                    <a:lnTo>
                      <a:pt x="3001606" y="328112"/>
                    </a:lnTo>
                    <a:close/>
                  </a:path>
                  <a:path w="3439795" h="1447800">
                    <a:moveTo>
                      <a:pt x="3002117" y="327681"/>
                    </a:moveTo>
                    <a:lnTo>
                      <a:pt x="3001606" y="328112"/>
                    </a:lnTo>
                    <a:lnTo>
                      <a:pt x="3003366" y="330199"/>
                    </a:lnTo>
                    <a:lnTo>
                      <a:pt x="3003063" y="328380"/>
                    </a:lnTo>
                    <a:lnTo>
                      <a:pt x="3002117" y="327681"/>
                    </a:lnTo>
                    <a:close/>
                  </a:path>
                  <a:path w="3439795" h="1447800">
                    <a:moveTo>
                      <a:pt x="3003063" y="328380"/>
                    </a:moveTo>
                    <a:lnTo>
                      <a:pt x="3003366" y="330199"/>
                    </a:lnTo>
                    <a:lnTo>
                      <a:pt x="3003608" y="328782"/>
                    </a:lnTo>
                    <a:lnTo>
                      <a:pt x="3003063" y="328380"/>
                    </a:lnTo>
                    <a:close/>
                  </a:path>
                  <a:path w="3439795" h="1447800">
                    <a:moveTo>
                      <a:pt x="3003608" y="328782"/>
                    </a:moveTo>
                    <a:lnTo>
                      <a:pt x="3003366" y="330199"/>
                    </a:lnTo>
                    <a:lnTo>
                      <a:pt x="3005527" y="330199"/>
                    </a:lnTo>
                    <a:lnTo>
                      <a:pt x="3003608" y="328782"/>
                    </a:lnTo>
                    <a:close/>
                  </a:path>
                  <a:path w="3439795" h="1447800">
                    <a:moveTo>
                      <a:pt x="3005527" y="324800"/>
                    </a:moveTo>
                    <a:lnTo>
                      <a:pt x="3004146" y="325966"/>
                    </a:lnTo>
                    <a:lnTo>
                      <a:pt x="3004024" y="326336"/>
                    </a:lnTo>
                    <a:lnTo>
                      <a:pt x="3003608" y="328782"/>
                    </a:lnTo>
                    <a:lnTo>
                      <a:pt x="3005527" y="330199"/>
                    </a:lnTo>
                    <a:lnTo>
                      <a:pt x="3005527" y="324800"/>
                    </a:lnTo>
                    <a:close/>
                  </a:path>
                  <a:path w="3439795" h="1447800">
                    <a:moveTo>
                      <a:pt x="3005793" y="324575"/>
                    </a:moveTo>
                    <a:lnTo>
                      <a:pt x="3005527" y="324800"/>
                    </a:lnTo>
                    <a:lnTo>
                      <a:pt x="3005527" y="330199"/>
                    </a:lnTo>
                    <a:lnTo>
                      <a:pt x="3006252" y="325937"/>
                    </a:lnTo>
                    <a:lnTo>
                      <a:pt x="3005793" y="324575"/>
                    </a:lnTo>
                    <a:close/>
                  </a:path>
                  <a:path w="3439795" h="1447800">
                    <a:moveTo>
                      <a:pt x="3006252" y="325937"/>
                    </a:moveTo>
                    <a:lnTo>
                      <a:pt x="3005527" y="330199"/>
                    </a:lnTo>
                    <a:lnTo>
                      <a:pt x="3007687" y="330199"/>
                    </a:lnTo>
                    <a:lnTo>
                      <a:pt x="3006252" y="325937"/>
                    </a:lnTo>
                    <a:close/>
                  </a:path>
                  <a:path w="3439795" h="1447800">
                    <a:moveTo>
                      <a:pt x="3007687" y="322975"/>
                    </a:moveTo>
                    <a:lnTo>
                      <a:pt x="3006599" y="323894"/>
                    </a:lnTo>
                    <a:lnTo>
                      <a:pt x="3006252" y="325937"/>
                    </a:lnTo>
                    <a:lnTo>
                      <a:pt x="3007687" y="330199"/>
                    </a:lnTo>
                    <a:lnTo>
                      <a:pt x="3007687" y="322975"/>
                    </a:lnTo>
                    <a:close/>
                  </a:path>
                  <a:path w="3439795" h="1447800">
                    <a:moveTo>
                      <a:pt x="3018488" y="317499"/>
                    </a:moveTo>
                    <a:lnTo>
                      <a:pt x="3014168" y="317499"/>
                    </a:lnTo>
                    <a:lnTo>
                      <a:pt x="3007687" y="322975"/>
                    </a:lnTo>
                    <a:lnTo>
                      <a:pt x="3007687" y="330199"/>
                    </a:lnTo>
                    <a:lnTo>
                      <a:pt x="3009847" y="330199"/>
                    </a:lnTo>
                    <a:lnTo>
                      <a:pt x="3018488" y="317499"/>
                    </a:lnTo>
                    <a:close/>
                  </a:path>
                  <a:path w="3439795" h="1447800">
                    <a:moveTo>
                      <a:pt x="3020648" y="317499"/>
                    </a:moveTo>
                    <a:lnTo>
                      <a:pt x="3018488" y="317499"/>
                    </a:lnTo>
                    <a:lnTo>
                      <a:pt x="3009847" y="330199"/>
                    </a:lnTo>
                    <a:lnTo>
                      <a:pt x="3020648" y="317499"/>
                    </a:lnTo>
                    <a:close/>
                  </a:path>
                  <a:path w="3439795" h="1447800">
                    <a:moveTo>
                      <a:pt x="3022808" y="317499"/>
                    </a:moveTo>
                    <a:lnTo>
                      <a:pt x="3020648" y="317499"/>
                    </a:lnTo>
                    <a:lnTo>
                      <a:pt x="3009847" y="330199"/>
                    </a:lnTo>
                    <a:lnTo>
                      <a:pt x="3022808" y="317499"/>
                    </a:lnTo>
                    <a:close/>
                  </a:path>
                  <a:path w="3439795" h="1447800">
                    <a:moveTo>
                      <a:pt x="3022808" y="317499"/>
                    </a:moveTo>
                    <a:lnTo>
                      <a:pt x="3009847" y="330199"/>
                    </a:lnTo>
                    <a:lnTo>
                      <a:pt x="3016328" y="330199"/>
                    </a:lnTo>
                    <a:lnTo>
                      <a:pt x="3022808" y="317499"/>
                    </a:lnTo>
                    <a:close/>
                  </a:path>
                  <a:path w="3439795" h="1447800">
                    <a:moveTo>
                      <a:pt x="3022808" y="317499"/>
                    </a:moveTo>
                    <a:lnTo>
                      <a:pt x="3016328" y="330199"/>
                    </a:lnTo>
                    <a:lnTo>
                      <a:pt x="3027129" y="330199"/>
                    </a:lnTo>
                    <a:lnTo>
                      <a:pt x="3022808" y="317499"/>
                    </a:lnTo>
                    <a:close/>
                  </a:path>
                  <a:path w="3439795" h="1447800">
                    <a:moveTo>
                      <a:pt x="3027129" y="317499"/>
                    </a:moveTo>
                    <a:lnTo>
                      <a:pt x="3022808" y="317499"/>
                    </a:lnTo>
                    <a:lnTo>
                      <a:pt x="3027129" y="330199"/>
                    </a:lnTo>
                    <a:lnTo>
                      <a:pt x="3027129" y="317499"/>
                    </a:lnTo>
                    <a:close/>
                  </a:path>
                  <a:path w="3439795" h="1447800">
                    <a:moveTo>
                      <a:pt x="3137300" y="317499"/>
                    </a:moveTo>
                    <a:lnTo>
                      <a:pt x="3122178" y="330199"/>
                    </a:lnTo>
                    <a:lnTo>
                      <a:pt x="3143780" y="330199"/>
                    </a:lnTo>
                    <a:lnTo>
                      <a:pt x="3137300" y="317499"/>
                    </a:lnTo>
                    <a:close/>
                  </a:path>
                  <a:path w="3439795" h="1447800">
                    <a:moveTo>
                      <a:pt x="3145941" y="304799"/>
                    </a:moveTo>
                    <a:lnTo>
                      <a:pt x="3137300" y="317499"/>
                    </a:lnTo>
                    <a:lnTo>
                      <a:pt x="3143780" y="330199"/>
                    </a:lnTo>
                    <a:lnTo>
                      <a:pt x="3143780" y="317499"/>
                    </a:lnTo>
                    <a:lnTo>
                      <a:pt x="3149829" y="308609"/>
                    </a:lnTo>
                    <a:lnTo>
                      <a:pt x="3145941" y="304799"/>
                    </a:lnTo>
                    <a:close/>
                  </a:path>
                  <a:path w="3439795" h="1447800">
                    <a:moveTo>
                      <a:pt x="3149829" y="308609"/>
                    </a:moveTo>
                    <a:lnTo>
                      <a:pt x="3143780" y="317499"/>
                    </a:lnTo>
                    <a:lnTo>
                      <a:pt x="3143780" y="330199"/>
                    </a:lnTo>
                    <a:lnTo>
                      <a:pt x="3150261" y="330199"/>
                    </a:lnTo>
                    <a:lnTo>
                      <a:pt x="3152421" y="317499"/>
                    </a:lnTo>
                    <a:lnTo>
                      <a:pt x="3158902" y="317499"/>
                    </a:lnTo>
                    <a:lnTo>
                      <a:pt x="3149829" y="308609"/>
                    </a:lnTo>
                    <a:close/>
                  </a:path>
                  <a:path w="3439795" h="1447800">
                    <a:moveTo>
                      <a:pt x="3152421" y="317499"/>
                    </a:moveTo>
                    <a:lnTo>
                      <a:pt x="3150261" y="330199"/>
                    </a:lnTo>
                    <a:lnTo>
                      <a:pt x="3152393" y="327066"/>
                    </a:lnTo>
                    <a:lnTo>
                      <a:pt x="3152421" y="317499"/>
                    </a:lnTo>
                    <a:close/>
                  </a:path>
                  <a:path w="3439795" h="1447800">
                    <a:moveTo>
                      <a:pt x="3152421" y="327024"/>
                    </a:moveTo>
                    <a:lnTo>
                      <a:pt x="3150261" y="330199"/>
                    </a:lnTo>
                    <a:lnTo>
                      <a:pt x="3152421" y="330199"/>
                    </a:lnTo>
                    <a:lnTo>
                      <a:pt x="3152421" y="327024"/>
                    </a:lnTo>
                    <a:close/>
                  </a:path>
                  <a:path w="3439795" h="1447800">
                    <a:moveTo>
                      <a:pt x="3151636" y="305954"/>
                    </a:moveTo>
                    <a:lnTo>
                      <a:pt x="3149829" y="308609"/>
                    </a:lnTo>
                    <a:lnTo>
                      <a:pt x="3158902" y="317499"/>
                    </a:lnTo>
                    <a:lnTo>
                      <a:pt x="3152421" y="327024"/>
                    </a:lnTo>
                    <a:lnTo>
                      <a:pt x="3152421" y="330199"/>
                    </a:lnTo>
                    <a:lnTo>
                      <a:pt x="3154582" y="330199"/>
                    </a:lnTo>
                    <a:lnTo>
                      <a:pt x="3167543" y="317499"/>
                    </a:lnTo>
                    <a:lnTo>
                      <a:pt x="3165383" y="317499"/>
                    </a:lnTo>
                    <a:lnTo>
                      <a:pt x="3151636" y="305954"/>
                    </a:lnTo>
                    <a:close/>
                  </a:path>
                  <a:path w="3439795" h="1447800">
                    <a:moveTo>
                      <a:pt x="3167543" y="317499"/>
                    </a:moveTo>
                    <a:lnTo>
                      <a:pt x="3154582" y="330199"/>
                    </a:lnTo>
                    <a:lnTo>
                      <a:pt x="3156742" y="330199"/>
                    </a:lnTo>
                    <a:lnTo>
                      <a:pt x="3167543" y="317499"/>
                    </a:lnTo>
                    <a:close/>
                  </a:path>
                  <a:path w="3439795" h="1447800">
                    <a:moveTo>
                      <a:pt x="3167543" y="317499"/>
                    </a:moveTo>
                    <a:lnTo>
                      <a:pt x="3156742" y="330199"/>
                    </a:lnTo>
                    <a:lnTo>
                      <a:pt x="3163154" y="323916"/>
                    </a:lnTo>
                    <a:lnTo>
                      <a:pt x="3163268" y="323783"/>
                    </a:lnTo>
                    <a:lnTo>
                      <a:pt x="3167543" y="317499"/>
                    </a:lnTo>
                    <a:close/>
                  </a:path>
                  <a:path w="3439795" h="1447800">
                    <a:moveTo>
                      <a:pt x="3168263" y="318911"/>
                    </a:moveTo>
                    <a:lnTo>
                      <a:pt x="3163291" y="323783"/>
                    </a:lnTo>
                    <a:lnTo>
                      <a:pt x="3163177" y="323916"/>
                    </a:lnTo>
                    <a:lnTo>
                      <a:pt x="3158902" y="330199"/>
                    </a:lnTo>
                    <a:lnTo>
                      <a:pt x="3174024" y="330199"/>
                    </a:lnTo>
                    <a:lnTo>
                      <a:pt x="3168263" y="318911"/>
                    </a:lnTo>
                    <a:close/>
                  </a:path>
                  <a:path w="3439795" h="1447800">
                    <a:moveTo>
                      <a:pt x="3004076" y="326025"/>
                    </a:moveTo>
                    <a:lnTo>
                      <a:pt x="3002894" y="327024"/>
                    </a:lnTo>
                    <a:lnTo>
                      <a:pt x="3002947" y="327681"/>
                    </a:lnTo>
                    <a:lnTo>
                      <a:pt x="3003063" y="328380"/>
                    </a:lnTo>
                    <a:lnTo>
                      <a:pt x="3003608" y="328782"/>
                    </a:lnTo>
                    <a:lnTo>
                      <a:pt x="3004076" y="326025"/>
                    </a:lnTo>
                    <a:close/>
                  </a:path>
                  <a:path w="3439795" h="1447800">
                    <a:moveTo>
                      <a:pt x="3002845" y="327066"/>
                    </a:moveTo>
                    <a:lnTo>
                      <a:pt x="3002117" y="327681"/>
                    </a:lnTo>
                    <a:lnTo>
                      <a:pt x="3003063" y="328380"/>
                    </a:lnTo>
                    <a:lnTo>
                      <a:pt x="3002845" y="327066"/>
                    </a:lnTo>
                    <a:close/>
                  </a:path>
                  <a:path w="3439795" h="1447800">
                    <a:moveTo>
                      <a:pt x="3000138" y="326218"/>
                    </a:moveTo>
                    <a:lnTo>
                      <a:pt x="3001606" y="328112"/>
                    </a:lnTo>
                    <a:lnTo>
                      <a:pt x="3002117" y="327681"/>
                    </a:lnTo>
                    <a:lnTo>
                      <a:pt x="3000138" y="326218"/>
                    </a:lnTo>
                    <a:close/>
                  </a:path>
                  <a:path w="3439795" h="1447800">
                    <a:moveTo>
                      <a:pt x="3001681" y="320083"/>
                    </a:moveTo>
                    <a:lnTo>
                      <a:pt x="3000138" y="326218"/>
                    </a:lnTo>
                    <a:lnTo>
                      <a:pt x="3002117" y="327681"/>
                    </a:lnTo>
                    <a:lnTo>
                      <a:pt x="3002845" y="327066"/>
                    </a:lnTo>
                    <a:lnTo>
                      <a:pt x="3001681" y="320083"/>
                    </a:lnTo>
                    <a:close/>
                  </a:path>
                  <a:path w="3439795" h="1447800">
                    <a:moveTo>
                      <a:pt x="3002793" y="315663"/>
                    </a:moveTo>
                    <a:lnTo>
                      <a:pt x="3001872" y="319325"/>
                    </a:lnTo>
                    <a:lnTo>
                      <a:pt x="3001780" y="320674"/>
                    </a:lnTo>
                    <a:lnTo>
                      <a:pt x="3002845" y="327066"/>
                    </a:lnTo>
                    <a:lnTo>
                      <a:pt x="3004076" y="326025"/>
                    </a:lnTo>
                    <a:lnTo>
                      <a:pt x="3004817" y="321674"/>
                    </a:lnTo>
                    <a:lnTo>
                      <a:pt x="3002793" y="315663"/>
                    </a:lnTo>
                    <a:close/>
                  </a:path>
                  <a:path w="3439795" h="1447800">
                    <a:moveTo>
                      <a:pt x="3158902" y="317499"/>
                    </a:moveTo>
                    <a:lnTo>
                      <a:pt x="3152421" y="317499"/>
                    </a:lnTo>
                    <a:lnTo>
                      <a:pt x="3152421" y="327024"/>
                    </a:lnTo>
                    <a:lnTo>
                      <a:pt x="3158902" y="317499"/>
                    </a:lnTo>
                    <a:close/>
                  </a:path>
                  <a:path w="3439795" h="1447800">
                    <a:moveTo>
                      <a:pt x="2999796" y="325966"/>
                    </a:moveTo>
                    <a:lnTo>
                      <a:pt x="3000108" y="326336"/>
                    </a:lnTo>
                    <a:lnTo>
                      <a:pt x="2999796" y="325966"/>
                    </a:lnTo>
                    <a:close/>
                  </a:path>
                  <a:path w="3439795" h="1447800">
                    <a:moveTo>
                      <a:pt x="3000403" y="312409"/>
                    </a:moveTo>
                    <a:lnTo>
                      <a:pt x="2996976" y="317499"/>
                    </a:lnTo>
                    <a:lnTo>
                      <a:pt x="2998067" y="323916"/>
                    </a:lnTo>
                    <a:lnTo>
                      <a:pt x="2999771" y="325937"/>
                    </a:lnTo>
                    <a:lnTo>
                      <a:pt x="3000138" y="326218"/>
                    </a:lnTo>
                    <a:lnTo>
                      <a:pt x="3001681" y="320083"/>
                    </a:lnTo>
                    <a:lnTo>
                      <a:pt x="3000403" y="312409"/>
                    </a:lnTo>
                    <a:close/>
                  </a:path>
                  <a:path w="3439795" h="1447800">
                    <a:moveTo>
                      <a:pt x="3004817" y="321674"/>
                    </a:moveTo>
                    <a:lnTo>
                      <a:pt x="3004076" y="326025"/>
                    </a:lnTo>
                    <a:lnTo>
                      <a:pt x="3005527" y="324800"/>
                    </a:lnTo>
                    <a:lnTo>
                      <a:pt x="3005527" y="323783"/>
                    </a:lnTo>
                    <a:lnTo>
                      <a:pt x="3004817" y="321674"/>
                    </a:lnTo>
                    <a:close/>
                  </a:path>
                  <a:path w="3439795" h="1447800">
                    <a:moveTo>
                      <a:pt x="2998067" y="323916"/>
                    </a:moveTo>
                    <a:lnTo>
                      <a:pt x="2998218" y="324800"/>
                    </a:lnTo>
                    <a:lnTo>
                      <a:pt x="2999796" y="325966"/>
                    </a:lnTo>
                    <a:lnTo>
                      <a:pt x="2998067" y="323916"/>
                    </a:lnTo>
                    <a:close/>
                  </a:path>
                  <a:path w="3439795" h="1447800">
                    <a:moveTo>
                      <a:pt x="3006599" y="323894"/>
                    </a:moveTo>
                    <a:lnTo>
                      <a:pt x="3005793" y="324575"/>
                    </a:lnTo>
                    <a:lnTo>
                      <a:pt x="3006252" y="325937"/>
                    </a:lnTo>
                    <a:lnTo>
                      <a:pt x="3006599" y="323894"/>
                    </a:lnTo>
                    <a:close/>
                  </a:path>
                  <a:path w="3439795" h="1447800">
                    <a:moveTo>
                      <a:pt x="2996976" y="322622"/>
                    </a:moveTo>
                    <a:lnTo>
                      <a:pt x="2997021" y="323916"/>
                    </a:lnTo>
                    <a:lnTo>
                      <a:pt x="2998218" y="324800"/>
                    </a:lnTo>
                    <a:lnTo>
                      <a:pt x="2998067" y="323916"/>
                    </a:lnTo>
                    <a:lnTo>
                      <a:pt x="2996976" y="322622"/>
                    </a:lnTo>
                    <a:close/>
                  </a:path>
                  <a:path w="3439795" h="1447800">
                    <a:moveTo>
                      <a:pt x="3005527" y="323783"/>
                    </a:moveTo>
                    <a:lnTo>
                      <a:pt x="3005527" y="324800"/>
                    </a:lnTo>
                    <a:lnTo>
                      <a:pt x="3005793" y="324575"/>
                    </a:lnTo>
                    <a:lnTo>
                      <a:pt x="3005527" y="323783"/>
                    </a:lnTo>
                    <a:close/>
                  </a:path>
                  <a:path w="3439795" h="1447800">
                    <a:moveTo>
                      <a:pt x="3007147" y="307974"/>
                    </a:moveTo>
                    <a:lnTo>
                      <a:pt x="3005671" y="316653"/>
                    </a:lnTo>
                    <a:lnTo>
                      <a:pt x="3005572" y="323916"/>
                    </a:lnTo>
                    <a:lnTo>
                      <a:pt x="3005793" y="324575"/>
                    </a:lnTo>
                    <a:lnTo>
                      <a:pt x="3006573" y="323916"/>
                    </a:lnTo>
                    <a:lnTo>
                      <a:pt x="3006618" y="323783"/>
                    </a:lnTo>
                    <a:lnTo>
                      <a:pt x="3007687" y="317499"/>
                    </a:lnTo>
                    <a:lnTo>
                      <a:pt x="3007687" y="309033"/>
                    </a:lnTo>
                    <a:lnTo>
                      <a:pt x="3007147" y="307974"/>
                    </a:lnTo>
                    <a:close/>
                  </a:path>
                  <a:path w="3439795" h="1447800">
                    <a:moveTo>
                      <a:pt x="2996976" y="317499"/>
                    </a:moveTo>
                    <a:lnTo>
                      <a:pt x="2996976" y="322622"/>
                    </a:lnTo>
                    <a:lnTo>
                      <a:pt x="2998067" y="323916"/>
                    </a:lnTo>
                    <a:lnTo>
                      <a:pt x="2996976" y="317499"/>
                    </a:lnTo>
                    <a:close/>
                  </a:path>
                  <a:path w="3439795" h="1447800">
                    <a:moveTo>
                      <a:pt x="3007687" y="317499"/>
                    </a:moveTo>
                    <a:lnTo>
                      <a:pt x="3006599" y="323894"/>
                    </a:lnTo>
                    <a:lnTo>
                      <a:pt x="3007687" y="322975"/>
                    </a:lnTo>
                    <a:lnTo>
                      <a:pt x="3007687" y="317499"/>
                    </a:lnTo>
                    <a:close/>
                  </a:path>
                  <a:path w="3439795" h="1447800">
                    <a:moveTo>
                      <a:pt x="2992655" y="317499"/>
                    </a:moveTo>
                    <a:lnTo>
                      <a:pt x="2990495" y="317499"/>
                    </a:lnTo>
                    <a:lnTo>
                      <a:pt x="2991220" y="319631"/>
                    </a:lnTo>
                    <a:lnTo>
                      <a:pt x="2996976" y="323883"/>
                    </a:lnTo>
                    <a:lnTo>
                      <a:pt x="2996976" y="322622"/>
                    </a:lnTo>
                    <a:lnTo>
                      <a:pt x="2992655" y="317499"/>
                    </a:lnTo>
                    <a:close/>
                  </a:path>
                  <a:path w="3439795" h="1447800">
                    <a:moveTo>
                      <a:pt x="2990806" y="319325"/>
                    </a:moveTo>
                    <a:lnTo>
                      <a:pt x="2991215" y="321733"/>
                    </a:lnTo>
                    <a:lnTo>
                      <a:pt x="2992655" y="323849"/>
                    </a:lnTo>
                    <a:lnTo>
                      <a:pt x="2991220" y="319631"/>
                    </a:lnTo>
                    <a:lnTo>
                      <a:pt x="2990806" y="319325"/>
                    </a:lnTo>
                    <a:close/>
                  </a:path>
                  <a:path w="3439795" h="1447800">
                    <a:moveTo>
                      <a:pt x="3167543" y="317499"/>
                    </a:moveTo>
                    <a:lnTo>
                      <a:pt x="3163222" y="323849"/>
                    </a:lnTo>
                    <a:lnTo>
                      <a:pt x="3168263" y="318911"/>
                    </a:lnTo>
                    <a:lnTo>
                      <a:pt x="3167543" y="317499"/>
                    </a:lnTo>
                    <a:close/>
                  </a:path>
                  <a:path w="3439795" h="1447800">
                    <a:moveTo>
                      <a:pt x="3005527" y="317499"/>
                    </a:moveTo>
                    <a:lnTo>
                      <a:pt x="3004817" y="321674"/>
                    </a:lnTo>
                    <a:lnTo>
                      <a:pt x="3005527" y="323783"/>
                    </a:lnTo>
                    <a:lnTo>
                      <a:pt x="3005527" y="317499"/>
                    </a:lnTo>
                    <a:close/>
                  </a:path>
                  <a:path w="3439795" h="1447800">
                    <a:moveTo>
                      <a:pt x="3007687" y="309033"/>
                    </a:moveTo>
                    <a:lnTo>
                      <a:pt x="3007687" y="322975"/>
                    </a:lnTo>
                    <a:lnTo>
                      <a:pt x="3014168" y="317499"/>
                    </a:lnTo>
                    <a:lnTo>
                      <a:pt x="3012007" y="317499"/>
                    </a:lnTo>
                    <a:lnTo>
                      <a:pt x="3007687" y="309033"/>
                    </a:lnTo>
                    <a:close/>
                  </a:path>
                  <a:path w="3439795" h="1447800">
                    <a:moveTo>
                      <a:pt x="2999136" y="304799"/>
                    </a:moveTo>
                    <a:lnTo>
                      <a:pt x="2994816" y="317499"/>
                    </a:lnTo>
                    <a:lnTo>
                      <a:pt x="2992655" y="317499"/>
                    </a:lnTo>
                    <a:lnTo>
                      <a:pt x="2996976" y="322622"/>
                    </a:lnTo>
                    <a:lnTo>
                      <a:pt x="2996976" y="317499"/>
                    </a:lnTo>
                    <a:lnTo>
                      <a:pt x="3000403" y="312409"/>
                    </a:lnTo>
                    <a:lnTo>
                      <a:pt x="2999136" y="304799"/>
                    </a:lnTo>
                    <a:close/>
                  </a:path>
                  <a:path w="3439795" h="1447800">
                    <a:moveTo>
                      <a:pt x="2988335" y="317499"/>
                    </a:moveTo>
                    <a:lnTo>
                      <a:pt x="2991215" y="321733"/>
                    </a:lnTo>
                    <a:lnTo>
                      <a:pt x="2990806" y="319325"/>
                    </a:lnTo>
                    <a:lnTo>
                      <a:pt x="2988335" y="317499"/>
                    </a:lnTo>
                    <a:close/>
                  </a:path>
                  <a:path w="3439795" h="1447800">
                    <a:moveTo>
                      <a:pt x="3005527" y="304799"/>
                    </a:moveTo>
                    <a:lnTo>
                      <a:pt x="3002793" y="315663"/>
                    </a:lnTo>
                    <a:lnTo>
                      <a:pt x="3004817" y="321674"/>
                    </a:lnTo>
                    <a:lnTo>
                      <a:pt x="3005527" y="317499"/>
                    </a:lnTo>
                    <a:lnTo>
                      <a:pt x="3005527" y="304799"/>
                    </a:lnTo>
                    <a:close/>
                  </a:path>
                  <a:path w="3439795" h="1447800">
                    <a:moveTo>
                      <a:pt x="166282" y="317499"/>
                    </a:moveTo>
                    <a:lnTo>
                      <a:pt x="164122" y="317499"/>
                    </a:lnTo>
                    <a:lnTo>
                      <a:pt x="167362" y="320674"/>
                    </a:lnTo>
                    <a:lnTo>
                      <a:pt x="166282" y="317499"/>
                    </a:lnTo>
                    <a:close/>
                  </a:path>
                  <a:path w="3439795" h="1447800">
                    <a:moveTo>
                      <a:pt x="3001266" y="311127"/>
                    </a:moveTo>
                    <a:lnTo>
                      <a:pt x="3000403" y="312409"/>
                    </a:lnTo>
                    <a:lnTo>
                      <a:pt x="3001681" y="320083"/>
                    </a:lnTo>
                    <a:lnTo>
                      <a:pt x="3002793" y="315663"/>
                    </a:lnTo>
                    <a:lnTo>
                      <a:pt x="3001266" y="311127"/>
                    </a:lnTo>
                    <a:close/>
                  </a:path>
                  <a:path w="3439795" h="1447800">
                    <a:moveTo>
                      <a:pt x="2990495" y="317499"/>
                    </a:moveTo>
                    <a:lnTo>
                      <a:pt x="2990806" y="319325"/>
                    </a:lnTo>
                    <a:lnTo>
                      <a:pt x="2991220" y="319631"/>
                    </a:lnTo>
                    <a:lnTo>
                      <a:pt x="2990495" y="317499"/>
                    </a:lnTo>
                    <a:close/>
                  </a:path>
                  <a:path w="3439795" h="1447800">
                    <a:moveTo>
                      <a:pt x="2990495" y="317499"/>
                    </a:moveTo>
                    <a:lnTo>
                      <a:pt x="2988335" y="317499"/>
                    </a:lnTo>
                    <a:lnTo>
                      <a:pt x="2990806" y="319325"/>
                    </a:lnTo>
                    <a:lnTo>
                      <a:pt x="2990495" y="317499"/>
                    </a:lnTo>
                    <a:close/>
                  </a:path>
                  <a:path w="3439795" h="1447800">
                    <a:moveTo>
                      <a:pt x="3169703" y="317499"/>
                    </a:moveTo>
                    <a:lnTo>
                      <a:pt x="3167543" y="317499"/>
                    </a:lnTo>
                    <a:lnTo>
                      <a:pt x="3168263" y="318911"/>
                    </a:lnTo>
                    <a:lnTo>
                      <a:pt x="3169703" y="317499"/>
                    </a:lnTo>
                    <a:close/>
                  </a:path>
                  <a:path w="3439795" h="1447800">
                    <a:moveTo>
                      <a:pt x="167146" y="316653"/>
                    </a:moveTo>
                    <a:lnTo>
                      <a:pt x="166282" y="317499"/>
                    </a:lnTo>
                    <a:lnTo>
                      <a:pt x="167299" y="316752"/>
                    </a:lnTo>
                    <a:lnTo>
                      <a:pt x="167146" y="316653"/>
                    </a:lnTo>
                    <a:close/>
                  </a:path>
                  <a:path w="3439795" h="1447800">
                    <a:moveTo>
                      <a:pt x="172043" y="313266"/>
                    </a:moveTo>
                    <a:lnTo>
                      <a:pt x="167299" y="316752"/>
                    </a:lnTo>
                    <a:lnTo>
                      <a:pt x="168442" y="317499"/>
                    </a:lnTo>
                    <a:lnTo>
                      <a:pt x="172043" y="313266"/>
                    </a:lnTo>
                    <a:close/>
                  </a:path>
                  <a:path w="3439795" h="1447800">
                    <a:moveTo>
                      <a:pt x="218037" y="304799"/>
                    </a:moveTo>
                    <a:lnTo>
                      <a:pt x="209396" y="304799"/>
                    </a:lnTo>
                    <a:lnTo>
                      <a:pt x="220198" y="317499"/>
                    </a:lnTo>
                    <a:lnTo>
                      <a:pt x="226678" y="317499"/>
                    </a:lnTo>
                    <a:lnTo>
                      <a:pt x="218037" y="304799"/>
                    </a:lnTo>
                    <a:close/>
                  </a:path>
                  <a:path w="3439795" h="1447800">
                    <a:moveTo>
                      <a:pt x="222358" y="304799"/>
                    </a:moveTo>
                    <a:lnTo>
                      <a:pt x="218037" y="304799"/>
                    </a:lnTo>
                    <a:lnTo>
                      <a:pt x="226678" y="317499"/>
                    </a:lnTo>
                    <a:lnTo>
                      <a:pt x="222358" y="304799"/>
                    </a:lnTo>
                    <a:close/>
                  </a:path>
                  <a:path w="3439795" h="1447800">
                    <a:moveTo>
                      <a:pt x="222358" y="304799"/>
                    </a:moveTo>
                    <a:lnTo>
                      <a:pt x="226678" y="317499"/>
                    </a:lnTo>
                    <a:lnTo>
                      <a:pt x="226678" y="313266"/>
                    </a:lnTo>
                    <a:lnTo>
                      <a:pt x="222358" y="304799"/>
                    </a:lnTo>
                    <a:close/>
                  </a:path>
                  <a:path w="3439795" h="1447800">
                    <a:moveTo>
                      <a:pt x="226678" y="313266"/>
                    </a:moveTo>
                    <a:lnTo>
                      <a:pt x="226678" y="317499"/>
                    </a:lnTo>
                    <a:lnTo>
                      <a:pt x="228838" y="317499"/>
                    </a:lnTo>
                    <a:lnTo>
                      <a:pt x="226678" y="313266"/>
                    </a:lnTo>
                    <a:close/>
                  </a:path>
                  <a:path w="3439795" h="1447800">
                    <a:moveTo>
                      <a:pt x="233159" y="304799"/>
                    </a:moveTo>
                    <a:lnTo>
                      <a:pt x="226678" y="304799"/>
                    </a:lnTo>
                    <a:lnTo>
                      <a:pt x="226678" y="313266"/>
                    </a:lnTo>
                    <a:lnTo>
                      <a:pt x="228838" y="317499"/>
                    </a:lnTo>
                    <a:lnTo>
                      <a:pt x="233159" y="304799"/>
                    </a:lnTo>
                    <a:close/>
                  </a:path>
                  <a:path w="3439795" h="1447800">
                    <a:moveTo>
                      <a:pt x="235319" y="304799"/>
                    </a:moveTo>
                    <a:lnTo>
                      <a:pt x="233159" y="304799"/>
                    </a:lnTo>
                    <a:lnTo>
                      <a:pt x="228838" y="317499"/>
                    </a:lnTo>
                    <a:lnTo>
                      <a:pt x="235319" y="317499"/>
                    </a:lnTo>
                    <a:lnTo>
                      <a:pt x="235319" y="304799"/>
                    </a:lnTo>
                    <a:close/>
                  </a:path>
                  <a:path w="3439795" h="1447800">
                    <a:moveTo>
                      <a:pt x="241800" y="292099"/>
                    </a:moveTo>
                    <a:lnTo>
                      <a:pt x="235319" y="292099"/>
                    </a:lnTo>
                    <a:lnTo>
                      <a:pt x="235319" y="317499"/>
                    </a:lnTo>
                    <a:lnTo>
                      <a:pt x="239640" y="317499"/>
                    </a:lnTo>
                    <a:lnTo>
                      <a:pt x="241800" y="292099"/>
                    </a:lnTo>
                    <a:close/>
                  </a:path>
                  <a:path w="3439795" h="1447800">
                    <a:moveTo>
                      <a:pt x="241800" y="292099"/>
                    </a:moveTo>
                    <a:lnTo>
                      <a:pt x="239640" y="317499"/>
                    </a:lnTo>
                    <a:lnTo>
                      <a:pt x="241800" y="317499"/>
                    </a:lnTo>
                    <a:lnTo>
                      <a:pt x="241800" y="292099"/>
                    </a:lnTo>
                    <a:close/>
                  </a:path>
                  <a:path w="3439795" h="1447800">
                    <a:moveTo>
                      <a:pt x="246120" y="292099"/>
                    </a:moveTo>
                    <a:lnTo>
                      <a:pt x="241800" y="292099"/>
                    </a:lnTo>
                    <a:lnTo>
                      <a:pt x="241800" y="317499"/>
                    </a:lnTo>
                    <a:lnTo>
                      <a:pt x="243960" y="317499"/>
                    </a:lnTo>
                    <a:lnTo>
                      <a:pt x="246120" y="292099"/>
                    </a:lnTo>
                    <a:close/>
                  </a:path>
                  <a:path w="3439795" h="1447800">
                    <a:moveTo>
                      <a:pt x="246120" y="292099"/>
                    </a:moveTo>
                    <a:lnTo>
                      <a:pt x="243960" y="317499"/>
                    </a:lnTo>
                    <a:lnTo>
                      <a:pt x="250441" y="304799"/>
                    </a:lnTo>
                    <a:lnTo>
                      <a:pt x="246120" y="292099"/>
                    </a:lnTo>
                    <a:close/>
                  </a:path>
                  <a:path w="3439795" h="1447800">
                    <a:moveTo>
                      <a:pt x="250441" y="304799"/>
                    </a:moveTo>
                    <a:lnTo>
                      <a:pt x="243960" y="317499"/>
                    </a:lnTo>
                    <a:lnTo>
                      <a:pt x="250441" y="317499"/>
                    </a:lnTo>
                    <a:lnTo>
                      <a:pt x="250441" y="304799"/>
                    </a:lnTo>
                    <a:close/>
                  </a:path>
                  <a:path w="3439795" h="1447800">
                    <a:moveTo>
                      <a:pt x="259081" y="292099"/>
                    </a:moveTo>
                    <a:lnTo>
                      <a:pt x="250441" y="292099"/>
                    </a:lnTo>
                    <a:lnTo>
                      <a:pt x="250441" y="317499"/>
                    </a:lnTo>
                    <a:lnTo>
                      <a:pt x="261242" y="317499"/>
                    </a:lnTo>
                    <a:lnTo>
                      <a:pt x="259081" y="292099"/>
                    </a:lnTo>
                    <a:close/>
                  </a:path>
                  <a:path w="3439795" h="1447800">
                    <a:moveTo>
                      <a:pt x="261242" y="292099"/>
                    </a:moveTo>
                    <a:lnTo>
                      <a:pt x="259081" y="292099"/>
                    </a:lnTo>
                    <a:lnTo>
                      <a:pt x="261242" y="317499"/>
                    </a:lnTo>
                    <a:lnTo>
                      <a:pt x="261242" y="292099"/>
                    </a:lnTo>
                    <a:close/>
                  </a:path>
                  <a:path w="3439795" h="1447800">
                    <a:moveTo>
                      <a:pt x="280684" y="292099"/>
                    </a:moveTo>
                    <a:lnTo>
                      <a:pt x="261242" y="292099"/>
                    </a:lnTo>
                    <a:lnTo>
                      <a:pt x="261242" y="317499"/>
                    </a:lnTo>
                    <a:lnTo>
                      <a:pt x="282844" y="304799"/>
                    </a:lnTo>
                    <a:lnTo>
                      <a:pt x="280684" y="292099"/>
                    </a:lnTo>
                    <a:close/>
                  </a:path>
                  <a:path w="3439795" h="1447800">
                    <a:moveTo>
                      <a:pt x="313087" y="292099"/>
                    </a:moveTo>
                    <a:lnTo>
                      <a:pt x="280684" y="292099"/>
                    </a:lnTo>
                    <a:lnTo>
                      <a:pt x="282844" y="304799"/>
                    </a:lnTo>
                    <a:lnTo>
                      <a:pt x="313087" y="317499"/>
                    </a:lnTo>
                    <a:lnTo>
                      <a:pt x="313087" y="292099"/>
                    </a:lnTo>
                    <a:close/>
                  </a:path>
                  <a:path w="3439795" h="1447800">
                    <a:moveTo>
                      <a:pt x="317407" y="266699"/>
                    </a:moveTo>
                    <a:lnTo>
                      <a:pt x="313087" y="266699"/>
                    </a:lnTo>
                    <a:lnTo>
                      <a:pt x="306606" y="279399"/>
                    </a:lnTo>
                    <a:lnTo>
                      <a:pt x="313087" y="292099"/>
                    </a:lnTo>
                    <a:lnTo>
                      <a:pt x="313087" y="317499"/>
                    </a:lnTo>
                    <a:lnTo>
                      <a:pt x="339009" y="317499"/>
                    </a:lnTo>
                    <a:lnTo>
                      <a:pt x="343330" y="292099"/>
                    </a:lnTo>
                    <a:lnTo>
                      <a:pt x="315247" y="292099"/>
                    </a:lnTo>
                    <a:lnTo>
                      <a:pt x="317407" y="266699"/>
                    </a:lnTo>
                    <a:close/>
                  </a:path>
                  <a:path w="3439795" h="1447800">
                    <a:moveTo>
                      <a:pt x="343330" y="292099"/>
                    </a:moveTo>
                    <a:lnTo>
                      <a:pt x="339009" y="317499"/>
                    </a:lnTo>
                    <a:lnTo>
                      <a:pt x="343330" y="317499"/>
                    </a:lnTo>
                    <a:lnTo>
                      <a:pt x="343330" y="292099"/>
                    </a:lnTo>
                    <a:close/>
                  </a:path>
                  <a:path w="3439795" h="1447800">
                    <a:moveTo>
                      <a:pt x="345490" y="292099"/>
                    </a:moveTo>
                    <a:lnTo>
                      <a:pt x="343330" y="292099"/>
                    </a:lnTo>
                    <a:lnTo>
                      <a:pt x="343330" y="317499"/>
                    </a:lnTo>
                    <a:lnTo>
                      <a:pt x="351971" y="317499"/>
                    </a:lnTo>
                    <a:lnTo>
                      <a:pt x="356291" y="304799"/>
                    </a:lnTo>
                    <a:lnTo>
                      <a:pt x="345490" y="292099"/>
                    </a:lnTo>
                    <a:close/>
                  </a:path>
                  <a:path w="3439795" h="1447800">
                    <a:moveTo>
                      <a:pt x="371413" y="304799"/>
                    </a:moveTo>
                    <a:lnTo>
                      <a:pt x="356291" y="304799"/>
                    </a:lnTo>
                    <a:lnTo>
                      <a:pt x="351971" y="317499"/>
                    </a:lnTo>
                    <a:lnTo>
                      <a:pt x="360612" y="317499"/>
                    </a:lnTo>
                    <a:lnTo>
                      <a:pt x="371413" y="304799"/>
                    </a:lnTo>
                    <a:close/>
                  </a:path>
                  <a:path w="3439795" h="1447800">
                    <a:moveTo>
                      <a:pt x="464212" y="304799"/>
                    </a:moveTo>
                    <a:lnTo>
                      <a:pt x="459892" y="304799"/>
                    </a:lnTo>
                    <a:lnTo>
                      <a:pt x="455571" y="317499"/>
                    </a:lnTo>
                    <a:lnTo>
                      <a:pt x="464212" y="304799"/>
                    </a:lnTo>
                    <a:close/>
                  </a:path>
                  <a:path w="3439795" h="1447800">
                    <a:moveTo>
                      <a:pt x="481494" y="304799"/>
                    </a:moveTo>
                    <a:lnTo>
                      <a:pt x="468532" y="304799"/>
                    </a:lnTo>
                    <a:lnTo>
                      <a:pt x="468532" y="306614"/>
                    </a:lnTo>
                    <a:lnTo>
                      <a:pt x="481494" y="317499"/>
                    </a:lnTo>
                    <a:lnTo>
                      <a:pt x="481494" y="304799"/>
                    </a:lnTo>
                    <a:close/>
                  </a:path>
                  <a:path w="3439795" h="1447800">
                    <a:moveTo>
                      <a:pt x="483654" y="304799"/>
                    </a:moveTo>
                    <a:lnTo>
                      <a:pt x="481494" y="304799"/>
                    </a:lnTo>
                    <a:lnTo>
                      <a:pt x="481494" y="317499"/>
                    </a:lnTo>
                    <a:lnTo>
                      <a:pt x="483654" y="304799"/>
                    </a:lnTo>
                    <a:close/>
                  </a:path>
                  <a:path w="3439795" h="1447800">
                    <a:moveTo>
                      <a:pt x="2930009" y="292099"/>
                    </a:moveTo>
                    <a:lnTo>
                      <a:pt x="2921368" y="304799"/>
                    </a:lnTo>
                    <a:lnTo>
                      <a:pt x="2927849" y="317499"/>
                    </a:lnTo>
                    <a:lnTo>
                      <a:pt x="2940810" y="304799"/>
                    </a:lnTo>
                    <a:lnTo>
                      <a:pt x="2927849" y="304799"/>
                    </a:lnTo>
                    <a:lnTo>
                      <a:pt x="2930009" y="292099"/>
                    </a:lnTo>
                    <a:close/>
                  </a:path>
                  <a:path w="3439795" h="1447800">
                    <a:moveTo>
                      <a:pt x="2947291" y="304799"/>
                    </a:moveTo>
                    <a:lnTo>
                      <a:pt x="2940810" y="304799"/>
                    </a:lnTo>
                    <a:lnTo>
                      <a:pt x="2927849" y="317499"/>
                    </a:lnTo>
                    <a:lnTo>
                      <a:pt x="2932169" y="317499"/>
                    </a:lnTo>
                    <a:lnTo>
                      <a:pt x="2947291" y="304799"/>
                    </a:lnTo>
                    <a:close/>
                  </a:path>
                  <a:path w="3439795" h="1447800">
                    <a:moveTo>
                      <a:pt x="3005527" y="304799"/>
                    </a:moveTo>
                    <a:lnTo>
                      <a:pt x="3005527" y="317499"/>
                    </a:lnTo>
                    <a:lnTo>
                      <a:pt x="3007147" y="307974"/>
                    </a:lnTo>
                    <a:lnTo>
                      <a:pt x="3005527" y="304799"/>
                    </a:lnTo>
                    <a:close/>
                  </a:path>
                  <a:path w="3439795" h="1447800">
                    <a:moveTo>
                      <a:pt x="3007687" y="304799"/>
                    </a:moveTo>
                    <a:lnTo>
                      <a:pt x="3007687" y="309033"/>
                    </a:lnTo>
                    <a:lnTo>
                      <a:pt x="3012007" y="317499"/>
                    </a:lnTo>
                    <a:lnTo>
                      <a:pt x="3010916" y="311127"/>
                    </a:lnTo>
                    <a:lnTo>
                      <a:pt x="3007687" y="304799"/>
                    </a:lnTo>
                    <a:close/>
                  </a:path>
                  <a:path w="3439795" h="1447800">
                    <a:moveTo>
                      <a:pt x="3010927" y="311149"/>
                    </a:moveTo>
                    <a:lnTo>
                      <a:pt x="3012007" y="317499"/>
                    </a:lnTo>
                    <a:lnTo>
                      <a:pt x="3014168" y="317499"/>
                    </a:lnTo>
                    <a:lnTo>
                      <a:pt x="3010927" y="311149"/>
                    </a:lnTo>
                    <a:close/>
                  </a:path>
                  <a:path w="3439795" h="1447800">
                    <a:moveTo>
                      <a:pt x="3012007" y="304799"/>
                    </a:moveTo>
                    <a:lnTo>
                      <a:pt x="3009847" y="304799"/>
                    </a:lnTo>
                    <a:lnTo>
                      <a:pt x="3010927" y="311149"/>
                    </a:lnTo>
                    <a:lnTo>
                      <a:pt x="3014168" y="317499"/>
                    </a:lnTo>
                    <a:lnTo>
                      <a:pt x="3012007" y="304799"/>
                    </a:lnTo>
                    <a:close/>
                  </a:path>
                  <a:path w="3439795" h="1447800">
                    <a:moveTo>
                      <a:pt x="3080517" y="299357"/>
                    </a:moveTo>
                    <a:lnTo>
                      <a:pt x="3076814" y="304799"/>
                    </a:lnTo>
                    <a:lnTo>
                      <a:pt x="3081134" y="317499"/>
                    </a:lnTo>
                    <a:lnTo>
                      <a:pt x="3091935" y="304799"/>
                    </a:lnTo>
                    <a:lnTo>
                      <a:pt x="3083294" y="304799"/>
                    </a:lnTo>
                    <a:lnTo>
                      <a:pt x="3080517" y="299357"/>
                    </a:lnTo>
                    <a:close/>
                  </a:path>
                  <a:path w="3439795" h="1447800">
                    <a:moveTo>
                      <a:pt x="3091935" y="304799"/>
                    </a:moveTo>
                    <a:lnTo>
                      <a:pt x="3081134" y="317499"/>
                    </a:lnTo>
                    <a:lnTo>
                      <a:pt x="3091935" y="317499"/>
                    </a:lnTo>
                    <a:lnTo>
                      <a:pt x="3091935" y="304799"/>
                    </a:lnTo>
                    <a:close/>
                  </a:path>
                  <a:path w="3439795" h="1447800">
                    <a:moveTo>
                      <a:pt x="3094096" y="304799"/>
                    </a:moveTo>
                    <a:lnTo>
                      <a:pt x="3091935" y="304799"/>
                    </a:lnTo>
                    <a:lnTo>
                      <a:pt x="3091935" y="317499"/>
                    </a:lnTo>
                    <a:lnTo>
                      <a:pt x="3096256" y="309033"/>
                    </a:lnTo>
                    <a:lnTo>
                      <a:pt x="3096256" y="306614"/>
                    </a:lnTo>
                    <a:lnTo>
                      <a:pt x="3094096" y="304799"/>
                    </a:lnTo>
                    <a:close/>
                  </a:path>
                  <a:path w="3439795" h="1447800">
                    <a:moveTo>
                      <a:pt x="3096256" y="309033"/>
                    </a:moveTo>
                    <a:lnTo>
                      <a:pt x="3091935" y="317499"/>
                    </a:lnTo>
                    <a:lnTo>
                      <a:pt x="3096256" y="317499"/>
                    </a:lnTo>
                    <a:lnTo>
                      <a:pt x="3096256" y="309033"/>
                    </a:lnTo>
                    <a:close/>
                  </a:path>
                  <a:path w="3439795" h="1447800">
                    <a:moveTo>
                      <a:pt x="3097120" y="307339"/>
                    </a:moveTo>
                    <a:lnTo>
                      <a:pt x="3096256" y="309033"/>
                    </a:lnTo>
                    <a:lnTo>
                      <a:pt x="3096256" y="317499"/>
                    </a:lnTo>
                    <a:lnTo>
                      <a:pt x="3098416" y="317499"/>
                    </a:lnTo>
                    <a:lnTo>
                      <a:pt x="3098416" y="308428"/>
                    </a:lnTo>
                    <a:lnTo>
                      <a:pt x="3097120" y="307339"/>
                    </a:lnTo>
                    <a:close/>
                  </a:path>
                  <a:path w="3439795" h="1447800">
                    <a:moveTo>
                      <a:pt x="3098416" y="308428"/>
                    </a:moveTo>
                    <a:lnTo>
                      <a:pt x="3098416" y="317499"/>
                    </a:lnTo>
                    <a:lnTo>
                      <a:pt x="3109217" y="317499"/>
                    </a:lnTo>
                    <a:lnTo>
                      <a:pt x="3098416" y="308428"/>
                    </a:lnTo>
                    <a:close/>
                  </a:path>
                  <a:path w="3439795" h="1447800">
                    <a:moveTo>
                      <a:pt x="3100576" y="304799"/>
                    </a:moveTo>
                    <a:lnTo>
                      <a:pt x="3098416" y="304799"/>
                    </a:lnTo>
                    <a:lnTo>
                      <a:pt x="3098416" y="308428"/>
                    </a:lnTo>
                    <a:lnTo>
                      <a:pt x="3109217" y="317499"/>
                    </a:lnTo>
                    <a:lnTo>
                      <a:pt x="3100576" y="304799"/>
                    </a:lnTo>
                    <a:close/>
                  </a:path>
                  <a:path w="3439795" h="1447800">
                    <a:moveTo>
                      <a:pt x="3107057" y="297179"/>
                    </a:moveTo>
                    <a:lnTo>
                      <a:pt x="3107057" y="304799"/>
                    </a:lnTo>
                    <a:lnTo>
                      <a:pt x="3100576" y="304799"/>
                    </a:lnTo>
                    <a:lnTo>
                      <a:pt x="3109217" y="317499"/>
                    </a:lnTo>
                    <a:lnTo>
                      <a:pt x="3111377" y="317499"/>
                    </a:lnTo>
                    <a:lnTo>
                      <a:pt x="3113537" y="304799"/>
                    </a:lnTo>
                    <a:lnTo>
                      <a:pt x="3107057" y="297179"/>
                    </a:lnTo>
                    <a:close/>
                  </a:path>
                  <a:path w="3439795" h="1447800">
                    <a:moveTo>
                      <a:pt x="3152421" y="304799"/>
                    </a:moveTo>
                    <a:lnTo>
                      <a:pt x="3151636" y="305954"/>
                    </a:lnTo>
                    <a:lnTo>
                      <a:pt x="3165383" y="317499"/>
                    </a:lnTo>
                    <a:lnTo>
                      <a:pt x="3152421" y="304799"/>
                    </a:lnTo>
                    <a:close/>
                  </a:path>
                  <a:path w="3439795" h="1447800">
                    <a:moveTo>
                      <a:pt x="3165383" y="292099"/>
                    </a:moveTo>
                    <a:lnTo>
                      <a:pt x="3158902" y="292099"/>
                    </a:lnTo>
                    <a:lnTo>
                      <a:pt x="3149181" y="301624"/>
                    </a:lnTo>
                    <a:lnTo>
                      <a:pt x="3148101" y="304799"/>
                    </a:lnTo>
                    <a:lnTo>
                      <a:pt x="3152421" y="304799"/>
                    </a:lnTo>
                    <a:lnTo>
                      <a:pt x="3165383" y="317499"/>
                    </a:lnTo>
                    <a:lnTo>
                      <a:pt x="3167543" y="304799"/>
                    </a:lnTo>
                    <a:lnTo>
                      <a:pt x="3165383" y="292099"/>
                    </a:lnTo>
                    <a:close/>
                  </a:path>
                  <a:path w="3439795" h="1447800">
                    <a:moveTo>
                      <a:pt x="179243" y="304799"/>
                    </a:moveTo>
                    <a:lnTo>
                      <a:pt x="167146" y="316653"/>
                    </a:lnTo>
                    <a:lnTo>
                      <a:pt x="167299" y="316752"/>
                    </a:lnTo>
                    <a:lnTo>
                      <a:pt x="172043" y="313266"/>
                    </a:lnTo>
                    <a:lnTo>
                      <a:pt x="179243" y="304799"/>
                    </a:lnTo>
                    <a:close/>
                  </a:path>
                  <a:path w="3439795" h="1447800">
                    <a:moveTo>
                      <a:pt x="159081" y="292946"/>
                    </a:moveTo>
                    <a:lnTo>
                      <a:pt x="149000" y="304799"/>
                    </a:lnTo>
                    <a:lnTo>
                      <a:pt x="167146" y="316653"/>
                    </a:lnTo>
                    <a:lnTo>
                      <a:pt x="179243" y="304799"/>
                    </a:lnTo>
                    <a:lnTo>
                      <a:pt x="159081" y="292946"/>
                    </a:lnTo>
                    <a:close/>
                  </a:path>
                  <a:path w="3439795" h="1447800">
                    <a:moveTo>
                      <a:pt x="3005527" y="304799"/>
                    </a:moveTo>
                    <a:lnTo>
                      <a:pt x="3001266" y="311127"/>
                    </a:lnTo>
                    <a:lnTo>
                      <a:pt x="3002793" y="315663"/>
                    </a:lnTo>
                    <a:lnTo>
                      <a:pt x="3005527" y="304799"/>
                    </a:lnTo>
                    <a:close/>
                  </a:path>
                  <a:path w="3439795" h="1447800">
                    <a:moveTo>
                      <a:pt x="183564" y="304799"/>
                    </a:moveTo>
                    <a:lnTo>
                      <a:pt x="179243" y="304799"/>
                    </a:lnTo>
                    <a:lnTo>
                      <a:pt x="172043" y="313266"/>
                    </a:lnTo>
                    <a:lnTo>
                      <a:pt x="183564" y="304799"/>
                    </a:lnTo>
                    <a:close/>
                  </a:path>
                  <a:path w="3439795" h="1447800">
                    <a:moveTo>
                      <a:pt x="235319" y="292099"/>
                    </a:moveTo>
                    <a:lnTo>
                      <a:pt x="228838" y="292099"/>
                    </a:lnTo>
                    <a:lnTo>
                      <a:pt x="222358" y="304799"/>
                    </a:lnTo>
                    <a:lnTo>
                      <a:pt x="226678" y="313266"/>
                    </a:lnTo>
                    <a:lnTo>
                      <a:pt x="226678" y="304799"/>
                    </a:lnTo>
                    <a:lnTo>
                      <a:pt x="235319" y="304799"/>
                    </a:lnTo>
                    <a:lnTo>
                      <a:pt x="235319" y="292099"/>
                    </a:lnTo>
                    <a:close/>
                  </a:path>
                  <a:path w="3439795" h="1447800">
                    <a:moveTo>
                      <a:pt x="2999136" y="304799"/>
                    </a:moveTo>
                    <a:lnTo>
                      <a:pt x="3000403" y="312409"/>
                    </a:lnTo>
                    <a:lnTo>
                      <a:pt x="3001266" y="311127"/>
                    </a:lnTo>
                    <a:lnTo>
                      <a:pt x="2999136" y="304799"/>
                    </a:lnTo>
                    <a:close/>
                  </a:path>
                  <a:path w="3439795" h="1447800">
                    <a:moveTo>
                      <a:pt x="3009847" y="304799"/>
                    </a:moveTo>
                    <a:lnTo>
                      <a:pt x="3007687" y="304799"/>
                    </a:lnTo>
                    <a:lnTo>
                      <a:pt x="3010927" y="311149"/>
                    </a:lnTo>
                    <a:lnTo>
                      <a:pt x="3009847" y="304799"/>
                    </a:lnTo>
                    <a:close/>
                  </a:path>
                  <a:path w="3439795" h="1447800">
                    <a:moveTo>
                      <a:pt x="3005527" y="304799"/>
                    </a:moveTo>
                    <a:lnTo>
                      <a:pt x="2999136" y="304799"/>
                    </a:lnTo>
                    <a:lnTo>
                      <a:pt x="3001266" y="311127"/>
                    </a:lnTo>
                    <a:lnTo>
                      <a:pt x="3005527" y="304799"/>
                    </a:lnTo>
                    <a:close/>
                  </a:path>
                  <a:path w="3439795" h="1447800">
                    <a:moveTo>
                      <a:pt x="3007687" y="304799"/>
                    </a:moveTo>
                    <a:lnTo>
                      <a:pt x="3007147" y="307974"/>
                    </a:lnTo>
                    <a:lnTo>
                      <a:pt x="3007687" y="309033"/>
                    </a:lnTo>
                    <a:lnTo>
                      <a:pt x="3007687" y="304799"/>
                    </a:lnTo>
                    <a:close/>
                  </a:path>
                  <a:path w="3439795" h="1447800">
                    <a:moveTo>
                      <a:pt x="3096256" y="306614"/>
                    </a:moveTo>
                    <a:lnTo>
                      <a:pt x="3096256" y="309033"/>
                    </a:lnTo>
                    <a:lnTo>
                      <a:pt x="3097120" y="307339"/>
                    </a:lnTo>
                    <a:lnTo>
                      <a:pt x="3096256" y="306614"/>
                    </a:lnTo>
                    <a:close/>
                  </a:path>
                  <a:path w="3439795" h="1447800">
                    <a:moveTo>
                      <a:pt x="3098416" y="304799"/>
                    </a:moveTo>
                    <a:lnTo>
                      <a:pt x="3097120" y="307339"/>
                    </a:lnTo>
                    <a:lnTo>
                      <a:pt x="3098416" y="308428"/>
                    </a:lnTo>
                    <a:lnTo>
                      <a:pt x="3098416" y="304799"/>
                    </a:lnTo>
                    <a:close/>
                  </a:path>
                  <a:path w="3439795" h="1447800">
                    <a:moveTo>
                      <a:pt x="3007687" y="304799"/>
                    </a:moveTo>
                    <a:lnTo>
                      <a:pt x="3005527" y="304799"/>
                    </a:lnTo>
                    <a:lnTo>
                      <a:pt x="3007147" y="307974"/>
                    </a:lnTo>
                    <a:lnTo>
                      <a:pt x="3007687" y="304799"/>
                    </a:lnTo>
                    <a:close/>
                  </a:path>
                  <a:path w="3439795" h="1447800">
                    <a:moveTo>
                      <a:pt x="3102736" y="292099"/>
                    </a:moveTo>
                    <a:lnTo>
                      <a:pt x="3098416" y="292099"/>
                    </a:lnTo>
                    <a:lnTo>
                      <a:pt x="3096256" y="304799"/>
                    </a:lnTo>
                    <a:lnTo>
                      <a:pt x="3096256" y="306614"/>
                    </a:lnTo>
                    <a:lnTo>
                      <a:pt x="3097120" y="307339"/>
                    </a:lnTo>
                    <a:lnTo>
                      <a:pt x="3098416" y="304799"/>
                    </a:lnTo>
                    <a:lnTo>
                      <a:pt x="3107057" y="304799"/>
                    </a:lnTo>
                    <a:lnTo>
                      <a:pt x="3107057" y="297179"/>
                    </a:lnTo>
                    <a:lnTo>
                      <a:pt x="3102736" y="292099"/>
                    </a:lnTo>
                    <a:close/>
                  </a:path>
                  <a:path w="3439795" h="1447800">
                    <a:moveTo>
                      <a:pt x="468532" y="292099"/>
                    </a:moveTo>
                    <a:lnTo>
                      <a:pt x="466372" y="304799"/>
                    </a:lnTo>
                    <a:lnTo>
                      <a:pt x="468532" y="306614"/>
                    </a:lnTo>
                    <a:lnTo>
                      <a:pt x="468532" y="304799"/>
                    </a:lnTo>
                    <a:lnTo>
                      <a:pt x="485814" y="304799"/>
                    </a:lnTo>
                    <a:lnTo>
                      <a:pt x="468532" y="292099"/>
                    </a:lnTo>
                    <a:close/>
                  </a:path>
                  <a:path w="3439795" h="1447800">
                    <a:moveTo>
                      <a:pt x="3096256" y="304799"/>
                    </a:moveTo>
                    <a:lnTo>
                      <a:pt x="3094096" y="304799"/>
                    </a:lnTo>
                    <a:lnTo>
                      <a:pt x="3096256" y="306614"/>
                    </a:lnTo>
                    <a:lnTo>
                      <a:pt x="3096256" y="304799"/>
                    </a:lnTo>
                    <a:close/>
                  </a:path>
                  <a:path w="3439795" h="1447800">
                    <a:moveTo>
                      <a:pt x="3152421" y="304799"/>
                    </a:moveTo>
                    <a:lnTo>
                      <a:pt x="3150261" y="304799"/>
                    </a:lnTo>
                    <a:lnTo>
                      <a:pt x="3151636" y="305954"/>
                    </a:lnTo>
                    <a:lnTo>
                      <a:pt x="3152421" y="304799"/>
                    </a:lnTo>
                    <a:close/>
                  </a:path>
                  <a:path w="3439795" h="1447800">
                    <a:moveTo>
                      <a:pt x="144680" y="279399"/>
                    </a:moveTo>
                    <a:lnTo>
                      <a:pt x="136039" y="292099"/>
                    </a:lnTo>
                    <a:lnTo>
                      <a:pt x="149000" y="304799"/>
                    </a:lnTo>
                    <a:lnTo>
                      <a:pt x="157641" y="292099"/>
                    </a:lnTo>
                    <a:lnTo>
                      <a:pt x="138199" y="292099"/>
                    </a:lnTo>
                    <a:lnTo>
                      <a:pt x="144680" y="279399"/>
                    </a:lnTo>
                    <a:close/>
                  </a:path>
                  <a:path w="3439795" h="1447800">
                    <a:moveTo>
                      <a:pt x="157641" y="292099"/>
                    </a:moveTo>
                    <a:lnTo>
                      <a:pt x="149000" y="304799"/>
                    </a:lnTo>
                    <a:lnTo>
                      <a:pt x="159081" y="292946"/>
                    </a:lnTo>
                    <a:lnTo>
                      <a:pt x="157641" y="292099"/>
                    </a:lnTo>
                    <a:close/>
                  </a:path>
                  <a:path w="3439795" h="1447800">
                    <a:moveTo>
                      <a:pt x="228838" y="292099"/>
                    </a:moveTo>
                    <a:lnTo>
                      <a:pt x="224518" y="292099"/>
                    </a:lnTo>
                    <a:lnTo>
                      <a:pt x="222358" y="304799"/>
                    </a:lnTo>
                    <a:lnTo>
                      <a:pt x="228838" y="292099"/>
                    </a:lnTo>
                    <a:close/>
                  </a:path>
                  <a:path w="3439795" h="1447800">
                    <a:moveTo>
                      <a:pt x="250441" y="292099"/>
                    </a:moveTo>
                    <a:lnTo>
                      <a:pt x="246120" y="292099"/>
                    </a:lnTo>
                    <a:lnTo>
                      <a:pt x="250441" y="304799"/>
                    </a:lnTo>
                    <a:lnTo>
                      <a:pt x="250441" y="292099"/>
                    </a:lnTo>
                    <a:close/>
                  </a:path>
                  <a:path w="3439795" h="1447800">
                    <a:moveTo>
                      <a:pt x="475013" y="279399"/>
                    </a:moveTo>
                    <a:lnTo>
                      <a:pt x="470693" y="292099"/>
                    </a:lnTo>
                    <a:lnTo>
                      <a:pt x="468532" y="292099"/>
                    </a:lnTo>
                    <a:lnTo>
                      <a:pt x="485814" y="304799"/>
                    </a:lnTo>
                    <a:lnTo>
                      <a:pt x="490135" y="292099"/>
                    </a:lnTo>
                    <a:lnTo>
                      <a:pt x="475013" y="279399"/>
                    </a:lnTo>
                    <a:close/>
                  </a:path>
                  <a:path w="3439795" h="1447800">
                    <a:moveTo>
                      <a:pt x="2429109" y="292099"/>
                    </a:moveTo>
                    <a:lnTo>
                      <a:pt x="2426949" y="292099"/>
                    </a:lnTo>
                    <a:lnTo>
                      <a:pt x="2426949" y="304799"/>
                    </a:lnTo>
                    <a:lnTo>
                      <a:pt x="2435545" y="297537"/>
                    </a:lnTo>
                    <a:lnTo>
                      <a:pt x="2429109" y="292099"/>
                    </a:lnTo>
                    <a:close/>
                  </a:path>
                  <a:path w="3439795" h="1447800">
                    <a:moveTo>
                      <a:pt x="2435545" y="297537"/>
                    </a:moveTo>
                    <a:lnTo>
                      <a:pt x="2426949" y="304799"/>
                    </a:lnTo>
                    <a:lnTo>
                      <a:pt x="2444140" y="304799"/>
                    </a:lnTo>
                    <a:lnTo>
                      <a:pt x="2435545" y="297537"/>
                    </a:lnTo>
                    <a:close/>
                  </a:path>
                  <a:path w="3439795" h="1447800">
                    <a:moveTo>
                      <a:pt x="2441980" y="292099"/>
                    </a:moveTo>
                    <a:lnTo>
                      <a:pt x="2435545" y="297537"/>
                    </a:lnTo>
                    <a:lnTo>
                      <a:pt x="2444140" y="304799"/>
                    </a:lnTo>
                    <a:lnTo>
                      <a:pt x="2444140" y="298449"/>
                    </a:lnTo>
                    <a:lnTo>
                      <a:pt x="2441980" y="292099"/>
                    </a:lnTo>
                    <a:close/>
                  </a:path>
                  <a:path w="3439795" h="1447800">
                    <a:moveTo>
                      <a:pt x="2444140" y="298449"/>
                    </a:moveTo>
                    <a:lnTo>
                      <a:pt x="2444140" y="304799"/>
                    </a:lnTo>
                    <a:lnTo>
                      <a:pt x="2444860" y="300566"/>
                    </a:lnTo>
                    <a:lnTo>
                      <a:pt x="2444140" y="298449"/>
                    </a:lnTo>
                    <a:close/>
                  </a:path>
                  <a:path w="3439795" h="1447800">
                    <a:moveTo>
                      <a:pt x="2444860" y="300566"/>
                    </a:moveTo>
                    <a:lnTo>
                      <a:pt x="2444140" y="304799"/>
                    </a:lnTo>
                    <a:lnTo>
                      <a:pt x="2446301" y="304799"/>
                    </a:lnTo>
                    <a:lnTo>
                      <a:pt x="2444860" y="300566"/>
                    </a:lnTo>
                    <a:close/>
                  </a:path>
                  <a:path w="3439795" h="1447800">
                    <a:moveTo>
                      <a:pt x="2482304" y="289983"/>
                    </a:moveTo>
                    <a:lnTo>
                      <a:pt x="2480864" y="292099"/>
                    </a:lnTo>
                    <a:lnTo>
                      <a:pt x="2467903" y="292099"/>
                    </a:lnTo>
                    <a:lnTo>
                      <a:pt x="2483024" y="304799"/>
                    </a:lnTo>
                    <a:lnTo>
                      <a:pt x="2487345" y="304799"/>
                    </a:lnTo>
                    <a:lnTo>
                      <a:pt x="2482304" y="289983"/>
                    </a:lnTo>
                    <a:close/>
                  </a:path>
                  <a:path w="3439795" h="1447800">
                    <a:moveTo>
                      <a:pt x="2486625" y="283633"/>
                    </a:moveTo>
                    <a:lnTo>
                      <a:pt x="2482304" y="289983"/>
                    </a:lnTo>
                    <a:lnTo>
                      <a:pt x="2487345" y="304799"/>
                    </a:lnTo>
                    <a:lnTo>
                      <a:pt x="2487345" y="292099"/>
                    </a:lnTo>
                    <a:lnTo>
                      <a:pt x="2489505" y="292099"/>
                    </a:lnTo>
                    <a:lnTo>
                      <a:pt x="2486625" y="283633"/>
                    </a:lnTo>
                    <a:close/>
                  </a:path>
                  <a:path w="3439795" h="1447800">
                    <a:moveTo>
                      <a:pt x="2489505" y="285749"/>
                    </a:moveTo>
                    <a:lnTo>
                      <a:pt x="2489505" y="292099"/>
                    </a:lnTo>
                    <a:lnTo>
                      <a:pt x="2487345" y="292099"/>
                    </a:lnTo>
                    <a:lnTo>
                      <a:pt x="2487345" y="304799"/>
                    </a:lnTo>
                    <a:lnTo>
                      <a:pt x="2493825" y="292099"/>
                    </a:lnTo>
                    <a:lnTo>
                      <a:pt x="2489505" y="285749"/>
                    </a:lnTo>
                    <a:close/>
                  </a:path>
                  <a:path w="3439795" h="1447800">
                    <a:moveTo>
                      <a:pt x="2795380" y="290945"/>
                    </a:moveTo>
                    <a:lnTo>
                      <a:pt x="2794005" y="292099"/>
                    </a:lnTo>
                    <a:lnTo>
                      <a:pt x="2800486" y="304799"/>
                    </a:lnTo>
                    <a:lnTo>
                      <a:pt x="2811287" y="292099"/>
                    </a:lnTo>
                    <a:lnTo>
                      <a:pt x="2796166" y="292099"/>
                    </a:lnTo>
                    <a:lnTo>
                      <a:pt x="2795380" y="290945"/>
                    </a:lnTo>
                    <a:close/>
                  </a:path>
                  <a:path w="3439795" h="1447800">
                    <a:moveTo>
                      <a:pt x="2811287" y="279399"/>
                    </a:moveTo>
                    <a:lnTo>
                      <a:pt x="2809127" y="279399"/>
                    </a:lnTo>
                    <a:lnTo>
                      <a:pt x="2796166" y="292099"/>
                    </a:lnTo>
                    <a:lnTo>
                      <a:pt x="2811287" y="292099"/>
                    </a:lnTo>
                    <a:lnTo>
                      <a:pt x="2800486" y="304799"/>
                    </a:lnTo>
                    <a:lnTo>
                      <a:pt x="2815518" y="292099"/>
                    </a:lnTo>
                    <a:lnTo>
                      <a:pt x="2811287" y="279399"/>
                    </a:lnTo>
                    <a:close/>
                  </a:path>
                  <a:path w="3439795" h="1447800">
                    <a:moveTo>
                      <a:pt x="2817678" y="292099"/>
                    </a:moveTo>
                    <a:lnTo>
                      <a:pt x="2815518" y="292099"/>
                    </a:lnTo>
                    <a:lnTo>
                      <a:pt x="2800486" y="304799"/>
                    </a:lnTo>
                    <a:lnTo>
                      <a:pt x="2811287" y="304799"/>
                    </a:lnTo>
                    <a:lnTo>
                      <a:pt x="2817678" y="292099"/>
                    </a:lnTo>
                    <a:close/>
                  </a:path>
                  <a:path w="3439795" h="1447800">
                    <a:moveTo>
                      <a:pt x="2817678" y="292099"/>
                    </a:moveTo>
                    <a:lnTo>
                      <a:pt x="2811287" y="304799"/>
                    </a:lnTo>
                    <a:lnTo>
                      <a:pt x="2815518" y="304799"/>
                    </a:lnTo>
                    <a:lnTo>
                      <a:pt x="2817678" y="292099"/>
                    </a:lnTo>
                    <a:close/>
                  </a:path>
                  <a:path w="3439795" h="1447800">
                    <a:moveTo>
                      <a:pt x="2821998" y="292099"/>
                    </a:moveTo>
                    <a:lnTo>
                      <a:pt x="2817678" y="292099"/>
                    </a:lnTo>
                    <a:lnTo>
                      <a:pt x="2815518" y="304799"/>
                    </a:lnTo>
                    <a:lnTo>
                      <a:pt x="2821998" y="292099"/>
                    </a:lnTo>
                    <a:close/>
                  </a:path>
                  <a:path w="3439795" h="1447800">
                    <a:moveTo>
                      <a:pt x="2850081" y="292099"/>
                    </a:moveTo>
                    <a:lnTo>
                      <a:pt x="2821998" y="292099"/>
                    </a:lnTo>
                    <a:lnTo>
                      <a:pt x="2815518" y="304799"/>
                    </a:lnTo>
                    <a:lnTo>
                      <a:pt x="2850081" y="304799"/>
                    </a:lnTo>
                    <a:lnTo>
                      <a:pt x="2850081" y="292099"/>
                    </a:lnTo>
                    <a:close/>
                  </a:path>
                  <a:path w="3439795" h="1447800">
                    <a:moveTo>
                      <a:pt x="2876004" y="292099"/>
                    </a:moveTo>
                    <a:lnTo>
                      <a:pt x="2850081" y="292099"/>
                    </a:lnTo>
                    <a:lnTo>
                      <a:pt x="2850081" y="304799"/>
                    </a:lnTo>
                    <a:lnTo>
                      <a:pt x="2880324" y="304799"/>
                    </a:lnTo>
                    <a:lnTo>
                      <a:pt x="2876004" y="292099"/>
                    </a:lnTo>
                    <a:close/>
                  </a:path>
                  <a:path w="3439795" h="1447800">
                    <a:moveTo>
                      <a:pt x="2876004" y="292099"/>
                    </a:moveTo>
                    <a:lnTo>
                      <a:pt x="2880324" y="304799"/>
                    </a:lnTo>
                    <a:lnTo>
                      <a:pt x="2880324" y="298449"/>
                    </a:lnTo>
                    <a:lnTo>
                      <a:pt x="2876004" y="292099"/>
                    </a:lnTo>
                    <a:close/>
                  </a:path>
                  <a:path w="3439795" h="1447800">
                    <a:moveTo>
                      <a:pt x="2880324" y="298449"/>
                    </a:moveTo>
                    <a:lnTo>
                      <a:pt x="2880324" y="304799"/>
                    </a:lnTo>
                    <a:lnTo>
                      <a:pt x="2884645" y="304799"/>
                    </a:lnTo>
                    <a:lnTo>
                      <a:pt x="2880324" y="298449"/>
                    </a:lnTo>
                    <a:close/>
                  </a:path>
                  <a:path w="3439795" h="1447800">
                    <a:moveTo>
                      <a:pt x="2880324" y="297179"/>
                    </a:moveTo>
                    <a:lnTo>
                      <a:pt x="2880324" y="298449"/>
                    </a:lnTo>
                    <a:lnTo>
                      <a:pt x="2884645" y="304799"/>
                    </a:lnTo>
                    <a:lnTo>
                      <a:pt x="2886805" y="304799"/>
                    </a:lnTo>
                    <a:lnTo>
                      <a:pt x="2880324" y="297179"/>
                    </a:lnTo>
                    <a:close/>
                  </a:path>
                  <a:path w="3439795" h="1447800">
                    <a:moveTo>
                      <a:pt x="2891125" y="292099"/>
                    </a:moveTo>
                    <a:lnTo>
                      <a:pt x="2880324" y="292099"/>
                    </a:lnTo>
                    <a:lnTo>
                      <a:pt x="2880324" y="297179"/>
                    </a:lnTo>
                    <a:lnTo>
                      <a:pt x="2886805" y="304799"/>
                    </a:lnTo>
                    <a:lnTo>
                      <a:pt x="2895446" y="304799"/>
                    </a:lnTo>
                    <a:lnTo>
                      <a:pt x="2891125" y="292099"/>
                    </a:lnTo>
                    <a:close/>
                  </a:path>
                  <a:path w="3439795" h="1447800">
                    <a:moveTo>
                      <a:pt x="2891125" y="292099"/>
                    </a:moveTo>
                    <a:lnTo>
                      <a:pt x="2895446" y="304799"/>
                    </a:lnTo>
                    <a:lnTo>
                      <a:pt x="2897606" y="304799"/>
                    </a:lnTo>
                    <a:lnTo>
                      <a:pt x="2891125" y="292099"/>
                    </a:lnTo>
                    <a:close/>
                  </a:path>
                  <a:path w="3439795" h="1447800">
                    <a:moveTo>
                      <a:pt x="2904086" y="292099"/>
                    </a:moveTo>
                    <a:lnTo>
                      <a:pt x="2891125" y="292099"/>
                    </a:lnTo>
                    <a:lnTo>
                      <a:pt x="2897606" y="304799"/>
                    </a:lnTo>
                    <a:lnTo>
                      <a:pt x="2904086" y="304799"/>
                    </a:lnTo>
                    <a:lnTo>
                      <a:pt x="2904086" y="292099"/>
                    </a:lnTo>
                    <a:close/>
                  </a:path>
                  <a:path w="3439795" h="1447800">
                    <a:moveTo>
                      <a:pt x="2908407" y="292099"/>
                    </a:moveTo>
                    <a:lnTo>
                      <a:pt x="2904086" y="292099"/>
                    </a:lnTo>
                    <a:lnTo>
                      <a:pt x="2904086" y="304799"/>
                    </a:lnTo>
                    <a:lnTo>
                      <a:pt x="2906247" y="304799"/>
                    </a:lnTo>
                    <a:lnTo>
                      <a:pt x="2908407" y="292099"/>
                    </a:lnTo>
                    <a:close/>
                  </a:path>
                  <a:path w="3439795" h="1447800">
                    <a:moveTo>
                      <a:pt x="2908407" y="292099"/>
                    </a:moveTo>
                    <a:lnTo>
                      <a:pt x="2906247" y="304799"/>
                    </a:lnTo>
                    <a:lnTo>
                      <a:pt x="2908407" y="304799"/>
                    </a:lnTo>
                    <a:lnTo>
                      <a:pt x="2908407" y="292099"/>
                    </a:lnTo>
                    <a:close/>
                  </a:path>
                  <a:path w="3439795" h="1447800">
                    <a:moveTo>
                      <a:pt x="2921368" y="292099"/>
                    </a:moveTo>
                    <a:lnTo>
                      <a:pt x="2908407" y="292099"/>
                    </a:lnTo>
                    <a:lnTo>
                      <a:pt x="2908407" y="304799"/>
                    </a:lnTo>
                    <a:lnTo>
                      <a:pt x="2917048" y="304799"/>
                    </a:lnTo>
                    <a:lnTo>
                      <a:pt x="2921368" y="292099"/>
                    </a:lnTo>
                    <a:close/>
                  </a:path>
                  <a:path w="3439795" h="1447800">
                    <a:moveTo>
                      <a:pt x="2930009" y="292099"/>
                    </a:moveTo>
                    <a:lnTo>
                      <a:pt x="2921368" y="292099"/>
                    </a:lnTo>
                    <a:lnTo>
                      <a:pt x="2917048" y="304799"/>
                    </a:lnTo>
                    <a:lnTo>
                      <a:pt x="2921368" y="304799"/>
                    </a:lnTo>
                    <a:lnTo>
                      <a:pt x="2930009" y="292099"/>
                    </a:lnTo>
                    <a:close/>
                  </a:path>
                  <a:path w="3439795" h="1447800">
                    <a:moveTo>
                      <a:pt x="2934330" y="292099"/>
                    </a:moveTo>
                    <a:lnTo>
                      <a:pt x="2930009" y="292099"/>
                    </a:lnTo>
                    <a:lnTo>
                      <a:pt x="2927849" y="304799"/>
                    </a:lnTo>
                    <a:lnTo>
                      <a:pt x="2940810" y="304799"/>
                    </a:lnTo>
                    <a:lnTo>
                      <a:pt x="2934330" y="292099"/>
                    </a:lnTo>
                    <a:close/>
                  </a:path>
                  <a:path w="3439795" h="1447800">
                    <a:moveTo>
                      <a:pt x="3070333" y="292099"/>
                    </a:moveTo>
                    <a:lnTo>
                      <a:pt x="3072493" y="304799"/>
                    </a:lnTo>
                    <a:lnTo>
                      <a:pt x="3076814" y="304799"/>
                    </a:lnTo>
                    <a:lnTo>
                      <a:pt x="3070333" y="292099"/>
                    </a:lnTo>
                    <a:close/>
                  </a:path>
                  <a:path w="3439795" h="1447800">
                    <a:moveTo>
                      <a:pt x="3076814" y="279399"/>
                    </a:moveTo>
                    <a:lnTo>
                      <a:pt x="3070333" y="292099"/>
                    </a:lnTo>
                    <a:lnTo>
                      <a:pt x="3076814" y="304799"/>
                    </a:lnTo>
                    <a:lnTo>
                      <a:pt x="3080517" y="299357"/>
                    </a:lnTo>
                    <a:lnTo>
                      <a:pt x="3076814" y="292099"/>
                    </a:lnTo>
                    <a:lnTo>
                      <a:pt x="3077894" y="285749"/>
                    </a:lnTo>
                    <a:lnTo>
                      <a:pt x="3076814" y="279399"/>
                    </a:lnTo>
                    <a:close/>
                  </a:path>
                  <a:path w="3439795" h="1447800">
                    <a:moveTo>
                      <a:pt x="3083294" y="295274"/>
                    </a:moveTo>
                    <a:lnTo>
                      <a:pt x="3080517" y="299357"/>
                    </a:lnTo>
                    <a:lnTo>
                      <a:pt x="3083294" y="304799"/>
                    </a:lnTo>
                    <a:lnTo>
                      <a:pt x="3083294" y="295274"/>
                    </a:lnTo>
                    <a:close/>
                  </a:path>
                  <a:path w="3439795" h="1447800">
                    <a:moveTo>
                      <a:pt x="3084790" y="293076"/>
                    </a:moveTo>
                    <a:lnTo>
                      <a:pt x="3083294" y="295274"/>
                    </a:lnTo>
                    <a:lnTo>
                      <a:pt x="3083294" y="304799"/>
                    </a:lnTo>
                    <a:lnTo>
                      <a:pt x="3089775" y="304799"/>
                    </a:lnTo>
                    <a:lnTo>
                      <a:pt x="3084790" y="293076"/>
                    </a:lnTo>
                    <a:close/>
                  </a:path>
                  <a:path w="3439795" h="1447800">
                    <a:moveTo>
                      <a:pt x="3085455" y="292099"/>
                    </a:moveTo>
                    <a:lnTo>
                      <a:pt x="3084790" y="293076"/>
                    </a:lnTo>
                    <a:lnTo>
                      <a:pt x="3089775" y="304799"/>
                    </a:lnTo>
                    <a:lnTo>
                      <a:pt x="3088695" y="298449"/>
                    </a:lnTo>
                    <a:lnTo>
                      <a:pt x="3085455" y="292099"/>
                    </a:lnTo>
                    <a:close/>
                  </a:path>
                  <a:path w="3439795" h="1447800">
                    <a:moveTo>
                      <a:pt x="3088695" y="298449"/>
                    </a:moveTo>
                    <a:lnTo>
                      <a:pt x="3089775" y="304799"/>
                    </a:lnTo>
                    <a:lnTo>
                      <a:pt x="3089775" y="300566"/>
                    </a:lnTo>
                    <a:lnTo>
                      <a:pt x="3088695" y="298449"/>
                    </a:lnTo>
                    <a:close/>
                  </a:path>
                  <a:path w="3439795" h="1447800">
                    <a:moveTo>
                      <a:pt x="3089775" y="300566"/>
                    </a:moveTo>
                    <a:lnTo>
                      <a:pt x="3089775" y="304799"/>
                    </a:lnTo>
                    <a:lnTo>
                      <a:pt x="3091935" y="304799"/>
                    </a:lnTo>
                    <a:lnTo>
                      <a:pt x="3089775" y="300566"/>
                    </a:lnTo>
                    <a:close/>
                  </a:path>
                  <a:path w="3439795" h="1447800">
                    <a:moveTo>
                      <a:pt x="3107057" y="292099"/>
                    </a:moveTo>
                    <a:lnTo>
                      <a:pt x="3107057" y="297179"/>
                    </a:lnTo>
                    <a:lnTo>
                      <a:pt x="3113537" y="304799"/>
                    </a:lnTo>
                    <a:lnTo>
                      <a:pt x="3107057" y="292099"/>
                    </a:lnTo>
                    <a:close/>
                  </a:path>
                  <a:path w="3439795" h="1447800">
                    <a:moveTo>
                      <a:pt x="3115698" y="292099"/>
                    </a:moveTo>
                    <a:lnTo>
                      <a:pt x="3107057" y="292099"/>
                    </a:lnTo>
                    <a:lnTo>
                      <a:pt x="3113537" y="304799"/>
                    </a:lnTo>
                    <a:lnTo>
                      <a:pt x="3115698" y="292099"/>
                    </a:lnTo>
                    <a:close/>
                  </a:path>
                  <a:path w="3439795" h="1447800">
                    <a:moveTo>
                      <a:pt x="3111377" y="279399"/>
                    </a:moveTo>
                    <a:lnTo>
                      <a:pt x="3111377" y="292099"/>
                    </a:lnTo>
                    <a:lnTo>
                      <a:pt x="3115698" y="292099"/>
                    </a:lnTo>
                    <a:lnTo>
                      <a:pt x="3113537" y="304799"/>
                    </a:lnTo>
                    <a:lnTo>
                      <a:pt x="3115698" y="304799"/>
                    </a:lnTo>
                    <a:lnTo>
                      <a:pt x="3120018" y="292099"/>
                    </a:lnTo>
                    <a:lnTo>
                      <a:pt x="3111377" y="279399"/>
                    </a:lnTo>
                    <a:close/>
                  </a:path>
                  <a:path w="3439795" h="1447800">
                    <a:moveTo>
                      <a:pt x="3130819" y="292099"/>
                    </a:moveTo>
                    <a:lnTo>
                      <a:pt x="3132979" y="304799"/>
                    </a:lnTo>
                    <a:lnTo>
                      <a:pt x="3137300" y="304799"/>
                    </a:lnTo>
                    <a:lnTo>
                      <a:pt x="3130819" y="292099"/>
                    </a:lnTo>
                    <a:close/>
                  </a:path>
                  <a:path w="3439795" h="1447800">
                    <a:moveTo>
                      <a:pt x="3137300" y="283633"/>
                    </a:moveTo>
                    <a:lnTo>
                      <a:pt x="3128659" y="292099"/>
                    </a:lnTo>
                    <a:lnTo>
                      <a:pt x="3130819" y="292099"/>
                    </a:lnTo>
                    <a:lnTo>
                      <a:pt x="3137300" y="304799"/>
                    </a:lnTo>
                    <a:lnTo>
                      <a:pt x="3137300" y="283633"/>
                    </a:lnTo>
                    <a:close/>
                  </a:path>
                  <a:path w="3439795" h="1447800">
                    <a:moveTo>
                      <a:pt x="3137732" y="283209"/>
                    </a:moveTo>
                    <a:lnTo>
                      <a:pt x="3137300" y="283633"/>
                    </a:lnTo>
                    <a:lnTo>
                      <a:pt x="3137300" y="304799"/>
                    </a:lnTo>
                    <a:lnTo>
                      <a:pt x="3141350" y="288924"/>
                    </a:lnTo>
                    <a:lnTo>
                      <a:pt x="3141312" y="288471"/>
                    </a:lnTo>
                    <a:lnTo>
                      <a:pt x="3137732" y="283209"/>
                    </a:lnTo>
                    <a:close/>
                  </a:path>
                  <a:path w="3439795" h="1447800">
                    <a:moveTo>
                      <a:pt x="3141424" y="288636"/>
                    </a:moveTo>
                    <a:lnTo>
                      <a:pt x="3137300" y="304799"/>
                    </a:lnTo>
                    <a:lnTo>
                      <a:pt x="3143780" y="304799"/>
                    </a:lnTo>
                    <a:lnTo>
                      <a:pt x="3141620" y="292099"/>
                    </a:lnTo>
                    <a:lnTo>
                      <a:pt x="3142995" y="290945"/>
                    </a:lnTo>
                    <a:lnTo>
                      <a:pt x="3141424" y="288636"/>
                    </a:lnTo>
                    <a:close/>
                  </a:path>
                  <a:path w="3439795" h="1447800">
                    <a:moveTo>
                      <a:pt x="3142995" y="290945"/>
                    </a:moveTo>
                    <a:lnTo>
                      <a:pt x="3141620" y="292099"/>
                    </a:lnTo>
                    <a:lnTo>
                      <a:pt x="3143780" y="304799"/>
                    </a:lnTo>
                    <a:lnTo>
                      <a:pt x="3143780" y="292099"/>
                    </a:lnTo>
                    <a:lnTo>
                      <a:pt x="3142995" y="290945"/>
                    </a:lnTo>
                    <a:close/>
                  </a:path>
                  <a:path w="3439795" h="1447800">
                    <a:moveTo>
                      <a:pt x="3156742" y="279399"/>
                    </a:moveTo>
                    <a:lnTo>
                      <a:pt x="3143780" y="290285"/>
                    </a:lnTo>
                    <a:lnTo>
                      <a:pt x="3143780" y="304799"/>
                    </a:lnTo>
                    <a:lnTo>
                      <a:pt x="3145941" y="304799"/>
                    </a:lnTo>
                    <a:lnTo>
                      <a:pt x="3149181" y="301624"/>
                    </a:lnTo>
                    <a:lnTo>
                      <a:pt x="3156742" y="279399"/>
                    </a:lnTo>
                    <a:close/>
                  </a:path>
                  <a:path w="3439795" h="1447800">
                    <a:moveTo>
                      <a:pt x="3149181" y="301624"/>
                    </a:moveTo>
                    <a:lnTo>
                      <a:pt x="3145941" y="304799"/>
                    </a:lnTo>
                    <a:lnTo>
                      <a:pt x="3148101" y="304799"/>
                    </a:lnTo>
                    <a:lnTo>
                      <a:pt x="3149181" y="301624"/>
                    </a:lnTo>
                    <a:close/>
                  </a:path>
                  <a:path w="3439795" h="1447800">
                    <a:moveTo>
                      <a:pt x="3156742" y="279399"/>
                    </a:moveTo>
                    <a:lnTo>
                      <a:pt x="3149181" y="301624"/>
                    </a:lnTo>
                    <a:lnTo>
                      <a:pt x="3158902" y="292099"/>
                    </a:lnTo>
                    <a:lnTo>
                      <a:pt x="3156742" y="279399"/>
                    </a:lnTo>
                    <a:close/>
                  </a:path>
                  <a:path w="3439795" h="1447800">
                    <a:moveTo>
                      <a:pt x="2446301" y="292099"/>
                    </a:moveTo>
                    <a:lnTo>
                      <a:pt x="2444140" y="292099"/>
                    </a:lnTo>
                    <a:lnTo>
                      <a:pt x="2444140" y="298449"/>
                    </a:lnTo>
                    <a:lnTo>
                      <a:pt x="2444860" y="300566"/>
                    </a:lnTo>
                    <a:lnTo>
                      <a:pt x="2446301" y="292099"/>
                    </a:lnTo>
                    <a:close/>
                  </a:path>
                  <a:path w="3439795" h="1447800">
                    <a:moveTo>
                      <a:pt x="3089775" y="292099"/>
                    </a:moveTo>
                    <a:lnTo>
                      <a:pt x="3087615" y="292099"/>
                    </a:lnTo>
                    <a:lnTo>
                      <a:pt x="3088695" y="298449"/>
                    </a:lnTo>
                    <a:lnTo>
                      <a:pt x="3089775" y="300566"/>
                    </a:lnTo>
                    <a:lnTo>
                      <a:pt x="3089775" y="292099"/>
                    </a:lnTo>
                    <a:close/>
                  </a:path>
                  <a:path w="3439795" h="1447800">
                    <a:moveTo>
                      <a:pt x="3077894" y="285749"/>
                    </a:moveTo>
                    <a:lnTo>
                      <a:pt x="3076814" y="292099"/>
                    </a:lnTo>
                    <a:lnTo>
                      <a:pt x="3080517" y="299357"/>
                    </a:lnTo>
                    <a:lnTo>
                      <a:pt x="3083294" y="295274"/>
                    </a:lnTo>
                    <a:lnTo>
                      <a:pt x="3083294" y="292099"/>
                    </a:lnTo>
                    <a:lnTo>
                      <a:pt x="3078974" y="292099"/>
                    </a:lnTo>
                    <a:lnTo>
                      <a:pt x="3077894" y="285749"/>
                    </a:lnTo>
                    <a:close/>
                  </a:path>
                  <a:path w="3439795" h="1447800">
                    <a:moveTo>
                      <a:pt x="2444140" y="292099"/>
                    </a:moveTo>
                    <a:lnTo>
                      <a:pt x="2441980" y="292099"/>
                    </a:lnTo>
                    <a:lnTo>
                      <a:pt x="2444140" y="298449"/>
                    </a:lnTo>
                    <a:lnTo>
                      <a:pt x="2444140" y="292099"/>
                    </a:lnTo>
                    <a:close/>
                  </a:path>
                  <a:path w="3439795" h="1447800">
                    <a:moveTo>
                      <a:pt x="2876004" y="292099"/>
                    </a:moveTo>
                    <a:lnTo>
                      <a:pt x="2880324" y="298449"/>
                    </a:lnTo>
                    <a:lnTo>
                      <a:pt x="2880324" y="297179"/>
                    </a:lnTo>
                    <a:lnTo>
                      <a:pt x="2876004" y="292099"/>
                    </a:lnTo>
                    <a:close/>
                  </a:path>
                  <a:path w="3439795" h="1447800">
                    <a:moveTo>
                      <a:pt x="3087615" y="292099"/>
                    </a:moveTo>
                    <a:lnTo>
                      <a:pt x="3085455" y="292099"/>
                    </a:lnTo>
                    <a:lnTo>
                      <a:pt x="3088695" y="298449"/>
                    </a:lnTo>
                    <a:lnTo>
                      <a:pt x="3087615" y="292099"/>
                    </a:lnTo>
                    <a:close/>
                  </a:path>
                  <a:path w="3439795" h="1447800">
                    <a:moveTo>
                      <a:pt x="2434149" y="275166"/>
                    </a:moveTo>
                    <a:lnTo>
                      <a:pt x="2431269" y="279399"/>
                    </a:lnTo>
                    <a:lnTo>
                      <a:pt x="2429109" y="292099"/>
                    </a:lnTo>
                    <a:lnTo>
                      <a:pt x="2435545" y="297537"/>
                    </a:lnTo>
                    <a:lnTo>
                      <a:pt x="2441980" y="292099"/>
                    </a:lnTo>
                    <a:lnTo>
                      <a:pt x="2448461" y="292099"/>
                    </a:lnTo>
                    <a:lnTo>
                      <a:pt x="2448461" y="279399"/>
                    </a:lnTo>
                    <a:lnTo>
                      <a:pt x="2433429" y="279399"/>
                    </a:lnTo>
                    <a:lnTo>
                      <a:pt x="2434149" y="275166"/>
                    </a:lnTo>
                    <a:close/>
                  </a:path>
                  <a:path w="3439795" h="1447800">
                    <a:moveTo>
                      <a:pt x="2880324" y="292099"/>
                    </a:moveTo>
                    <a:lnTo>
                      <a:pt x="2876004" y="292099"/>
                    </a:lnTo>
                    <a:lnTo>
                      <a:pt x="2880324" y="297179"/>
                    </a:lnTo>
                    <a:lnTo>
                      <a:pt x="2880324" y="292099"/>
                    </a:lnTo>
                    <a:close/>
                  </a:path>
                  <a:path w="3439795" h="1447800">
                    <a:moveTo>
                      <a:pt x="3111377" y="279399"/>
                    </a:moveTo>
                    <a:lnTo>
                      <a:pt x="3107057" y="279399"/>
                    </a:lnTo>
                    <a:lnTo>
                      <a:pt x="3102736" y="283028"/>
                    </a:lnTo>
                    <a:lnTo>
                      <a:pt x="3102736" y="292099"/>
                    </a:lnTo>
                    <a:lnTo>
                      <a:pt x="3107057" y="297179"/>
                    </a:lnTo>
                    <a:lnTo>
                      <a:pt x="3107057" y="292099"/>
                    </a:lnTo>
                    <a:lnTo>
                      <a:pt x="3111377" y="292099"/>
                    </a:lnTo>
                    <a:lnTo>
                      <a:pt x="3111377" y="279399"/>
                    </a:lnTo>
                    <a:close/>
                  </a:path>
                  <a:path w="3439795" h="1447800">
                    <a:moveTo>
                      <a:pt x="3083294" y="289559"/>
                    </a:moveTo>
                    <a:lnTo>
                      <a:pt x="3083294" y="295274"/>
                    </a:lnTo>
                    <a:lnTo>
                      <a:pt x="3084790" y="293076"/>
                    </a:lnTo>
                    <a:lnTo>
                      <a:pt x="3083294" y="289559"/>
                    </a:lnTo>
                    <a:close/>
                  </a:path>
                  <a:path w="3439795" h="1447800">
                    <a:moveTo>
                      <a:pt x="3083294" y="281939"/>
                    </a:moveTo>
                    <a:lnTo>
                      <a:pt x="3083294" y="289559"/>
                    </a:lnTo>
                    <a:lnTo>
                      <a:pt x="3084790" y="293076"/>
                    </a:lnTo>
                    <a:lnTo>
                      <a:pt x="3085455" y="292099"/>
                    </a:lnTo>
                    <a:lnTo>
                      <a:pt x="3091935" y="292099"/>
                    </a:lnTo>
                    <a:lnTo>
                      <a:pt x="3083294" y="281939"/>
                    </a:lnTo>
                    <a:close/>
                  </a:path>
                  <a:path w="3439795" h="1447800">
                    <a:moveTo>
                      <a:pt x="146840" y="279399"/>
                    </a:moveTo>
                    <a:lnTo>
                      <a:pt x="144680" y="279399"/>
                    </a:lnTo>
                    <a:lnTo>
                      <a:pt x="138199" y="292099"/>
                    </a:lnTo>
                    <a:lnTo>
                      <a:pt x="157641" y="292099"/>
                    </a:lnTo>
                    <a:lnTo>
                      <a:pt x="159081" y="292946"/>
                    </a:lnTo>
                    <a:lnTo>
                      <a:pt x="159802" y="292099"/>
                    </a:lnTo>
                    <a:lnTo>
                      <a:pt x="146840" y="279399"/>
                    </a:lnTo>
                    <a:close/>
                  </a:path>
                  <a:path w="3439795" h="1447800">
                    <a:moveTo>
                      <a:pt x="90675" y="266699"/>
                    </a:moveTo>
                    <a:lnTo>
                      <a:pt x="79874" y="266699"/>
                    </a:lnTo>
                    <a:lnTo>
                      <a:pt x="75553" y="279399"/>
                    </a:lnTo>
                    <a:lnTo>
                      <a:pt x="86354" y="292099"/>
                    </a:lnTo>
                    <a:lnTo>
                      <a:pt x="90675" y="266699"/>
                    </a:lnTo>
                    <a:close/>
                  </a:path>
                  <a:path w="3439795" h="1447800">
                    <a:moveTo>
                      <a:pt x="90675" y="266699"/>
                    </a:moveTo>
                    <a:lnTo>
                      <a:pt x="86354" y="292099"/>
                    </a:lnTo>
                    <a:lnTo>
                      <a:pt x="105796" y="292099"/>
                    </a:lnTo>
                    <a:lnTo>
                      <a:pt x="110117" y="279399"/>
                    </a:lnTo>
                    <a:lnTo>
                      <a:pt x="90675" y="266699"/>
                    </a:lnTo>
                    <a:close/>
                  </a:path>
                  <a:path w="3439795" h="1447800">
                    <a:moveTo>
                      <a:pt x="131719" y="279399"/>
                    </a:moveTo>
                    <a:lnTo>
                      <a:pt x="110117" y="279399"/>
                    </a:lnTo>
                    <a:lnTo>
                      <a:pt x="105796" y="292099"/>
                    </a:lnTo>
                    <a:lnTo>
                      <a:pt x="127398" y="292099"/>
                    </a:lnTo>
                    <a:lnTo>
                      <a:pt x="131719" y="279399"/>
                    </a:lnTo>
                    <a:close/>
                  </a:path>
                  <a:path w="3439795" h="1447800">
                    <a:moveTo>
                      <a:pt x="131719" y="279399"/>
                    </a:moveTo>
                    <a:lnTo>
                      <a:pt x="127398" y="292099"/>
                    </a:lnTo>
                    <a:lnTo>
                      <a:pt x="129558" y="292099"/>
                    </a:lnTo>
                    <a:lnTo>
                      <a:pt x="131719" y="279399"/>
                    </a:lnTo>
                    <a:close/>
                  </a:path>
                  <a:path w="3439795" h="1447800">
                    <a:moveTo>
                      <a:pt x="138199" y="279399"/>
                    </a:moveTo>
                    <a:lnTo>
                      <a:pt x="131719" y="279399"/>
                    </a:lnTo>
                    <a:lnTo>
                      <a:pt x="129558" y="292099"/>
                    </a:lnTo>
                    <a:lnTo>
                      <a:pt x="131719" y="292099"/>
                    </a:lnTo>
                    <a:lnTo>
                      <a:pt x="138199" y="279399"/>
                    </a:lnTo>
                    <a:close/>
                  </a:path>
                  <a:path w="3439795" h="1447800">
                    <a:moveTo>
                      <a:pt x="138199" y="279399"/>
                    </a:moveTo>
                    <a:lnTo>
                      <a:pt x="131719" y="292099"/>
                    </a:lnTo>
                    <a:lnTo>
                      <a:pt x="133879" y="292099"/>
                    </a:lnTo>
                    <a:lnTo>
                      <a:pt x="138199" y="279399"/>
                    </a:lnTo>
                    <a:close/>
                  </a:path>
                  <a:path w="3439795" h="1447800">
                    <a:moveTo>
                      <a:pt x="144680" y="279399"/>
                    </a:moveTo>
                    <a:lnTo>
                      <a:pt x="138199" y="279399"/>
                    </a:lnTo>
                    <a:lnTo>
                      <a:pt x="133879" y="292099"/>
                    </a:lnTo>
                    <a:lnTo>
                      <a:pt x="136039" y="292099"/>
                    </a:lnTo>
                    <a:lnTo>
                      <a:pt x="144680" y="279399"/>
                    </a:lnTo>
                    <a:close/>
                  </a:path>
                  <a:path w="3439795" h="1447800">
                    <a:moveTo>
                      <a:pt x="319568" y="266699"/>
                    </a:moveTo>
                    <a:lnTo>
                      <a:pt x="317407" y="266699"/>
                    </a:lnTo>
                    <a:lnTo>
                      <a:pt x="315247" y="292099"/>
                    </a:lnTo>
                    <a:lnTo>
                      <a:pt x="319568" y="266699"/>
                    </a:lnTo>
                    <a:close/>
                  </a:path>
                  <a:path w="3439795" h="1447800">
                    <a:moveTo>
                      <a:pt x="339009" y="266699"/>
                    </a:moveTo>
                    <a:lnTo>
                      <a:pt x="319568" y="266699"/>
                    </a:lnTo>
                    <a:lnTo>
                      <a:pt x="315247" y="292099"/>
                    </a:lnTo>
                    <a:lnTo>
                      <a:pt x="339009" y="292099"/>
                    </a:lnTo>
                    <a:lnTo>
                      <a:pt x="339009" y="266699"/>
                    </a:lnTo>
                    <a:close/>
                  </a:path>
                  <a:path w="3439795" h="1447800">
                    <a:moveTo>
                      <a:pt x="341170" y="266699"/>
                    </a:moveTo>
                    <a:lnTo>
                      <a:pt x="339009" y="266699"/>
                    </a:lnTo>
                    <a:lnTo>
                      <a:pt x="339009" y="292099"/>
                    </a:lnTo>
                    <a:lnTo>
                      <a:pt x="341170" y="266699"/>
                    </a:lnTo>
                    <a:close/>
                  </a:path>
                  <a:path w="3439795" h="1447800">
                    <a:moveTo>
                      <a:pt x="358451" y="266699"/>
                    </a:moveTo>
                    <a:lnTo>
                      <a:pt x="341170" y="266699"/>
                    </a:lnTo>
                    <a:lnTo>
                      <a:pt x="339009" y="292099"/>
                    </a:lnTo>
                    <a:lnTo>
                      <a:pt x="356291" y="292099"/>
                    </a:lnTo>
                    <a:lnTo>
                      <a:pt x="360612" y="279399"/>
                    </a:lnTo>
                    <a:lnTo>
                      <a:pt x="358451" y="266699"/>
                    </a:lnTo>
                    <a:close/>
                  </a:path>
                  <a:path w="3439795" h="1447800">
                    <a:moveTo>
                      <a:pt x="360612" y="279399"/>
                    </a:moveTo>
                    <a:lnTo>
                      <a:pt x="356291" y="292099"/>
                    </a:lnTo>
                    <a:lnTo>
                      <a:pt x="358451" y="292099"/>
                    </a:lnTo>
                    <a:lnTo>
                      <a:pt x="360612" y="279399"/>
                    </a:lnTo>
                    <a:close/>
                  </a:path>
                  <a:path w="3439795" h="1447800">
                    <a:moveTo>
                      <a:pt x="364932" y="279399"/>
                    </a:moveTo>
                    <a:lnTo>
                      <a:pt x="360612" y="279399"/>
                    </a:lnTo>
                    <a:lnTo>
                      <a:pt x="358451" y="292099"/>
                    </a:lnTo>
                    <a:lnTo>
                      <a:pt x="362772" y="292099"/>
                    </a:lnTo>
                    <a:lnTo>
                      <a:pt x="364932" y="279399"/>
                    </a:lnTo>
                    <a:close/>
                  </a:path>
                  <a:path w="3439795" h="1447800">
                    <a:moveTo>
                      <a:pt x="367092" y="279399"/>
                    </a:moveTo>
                    <a:lnTo>
                      <a:pt x="364932" y="279399"/>
                    </a:lnTo>
                    <a:lnTo>
                      <a:pt x="362772" y="292099"/>
                    </a:lnTo>
                    <a:lnTo>
                      <a:pt x="367092" y="279399"/>
                    </a:lnTo>
                    <a:close/>
                  </a:path>
                  <a:path w="3439795" h="1447800">
                    <a:moveTo>
                      <a:pt x="386534" y="279399"/>
                    </a:moveTo>
                    <a:lnTo>
                      <a:pt x="367092" y="279399"/>
                    </a:lnTo>
                    <a:lnTo>
                      <a:pt x="362772" y="292099"/>
                    </a:lnTo>
                    <a:lnTo>
                      <a:pt x="386534" y="292099"/>
                    </a:lnTo>
                    <a:lnTo>
                      <a:pt x="386534" y="279399"/>
                    </a:lnTo>
                    <a:close/>
                  </a:path>
                  <a:path w="3439795" h="1447800">
                    <a:moveTo>
                      <a:pt x="405886" y="279399"/>
                    </a:moveTo>
                    <a:lnTo>
                      <a:pt x="386534" y="279399"/>
                    </a:lnTo>
                    <a:lnTo>
                      <a:pt x="386534" y="292099"/>
                    </a:lnTo>
                    <a:lnTo>
                      <a:pt x="405886" y="292099"/>
                    </a:lnTo>
                    <a:lnTo>
                      <a:pt x="405886" y="279399"/>
                    </a:lnTo>
                    <a:close/>
                  </a:path>
                  <a:path w="3439795" h="1447800">
                    <a:moveTo>
                      <a:pt x="408046" y="279399"/>
                    </a:moveTo>
                    <a:lnTo>
                      <a:pt x="405886" y="279399"/>
                    </a:lnTo>
                    <a:lnTo>
                      <a:pt x="405886" y="292099"/>
                    </a:lnTo>
                    <a:lnTo>
                      <a:pt x="412367" y="292099"/>
                    </a:lnTo>
                    <a:lnTo>
                      <a:pt x="408046" y="279399"/>
                    </a:lnTo>
                    <a:close/>
                  </a:path>
                  <a:path w="3439795" h="1447800">
                    <a:moveTo>
                      <a:pt x="410207" y="279399"/>
                    </a:moveTo>
                    <a:lnTo>
                      <a:pt x="408046" y="279399"/>
                    </a:lnTo>
                    <a:lnTo>
                      <a:pt x="412367" y="292099"/>
                    </a:lnTo>
                    <a:lnTo>
                      <a:pt x="410207" y="279399"/>
                    </a:lnTo>
                    <a:close/>
                  </a:path>
                  <a:path w="3439795" h="1447800">
                    <a:moveTo>
                      <a:pt x="414527" y="279399"/>
                    </a:moveTo>
                    <a:lnTo>
                      <a:pt x="410207" y="279399"/>
                    </a:lnTo>
                    <a:lnTo>
                      <a:pt x="412367" y="292099"/>
                    </a:lnTo>
                    <a:lnTo>
                      <a:pt x="425328" y="292099"/>
                    </a:lnTo>
                    <a:lnTo>
                      <a:pt x="414527" y="279399"/>
                    </a:lnTo>
                    <a:close/>
                  </a:path>
                  <a:path w="3439795" h="1447800">
                    <a:moveTo>
                      <a:pt x="416687" y="279399"/>
                    </a:moveTo>
                    <a:lnTo>
                      <a:pt x="414527" y="279399"/>
                    </a:lnTo>
                    <a:lnTo>
                      <a:pt x="425328" y="292099"/>
                    </a:lnTo>
                    <a:lnTo>
                      <a:pt x="416687" y="279399"/>
                    </a:lnTo>
                    <a:close/>
                  </a:path>
                  <a:path w="3439795" h="1447800">
                    <a:moveTo>
                      <a:pt x="416687" y="279399"/>
                    </a:moveTo>
                    <a:lnTo>
                      <a:pt x="425328" y="292099"/>
                    </a:lnTo>
                    <a:lnTo>
                      <a:pt x="427488" y="292099"/>
                    </a:lnTo>
                    <a:lnTo>
                      <a:pt x="416687" y="279399"/>
                    </a:lnTo>
                    <a:close/>
                  </a:path>
                  <a:path w="3439795" h="1447800">
                    <a:moveTo>
                      <a:pt x="429649" y="266699"/>
                    </a:moveTo>
                    <a:lnTo>
                      <a:pt x="425328" y="266699"/>
                    </a:lnTo>
                    <a:lnTo>
                      <a:pt x="416687" y="279399"/>
                    </a:lnTo>
                    <a:lnTo>
                      <a:pt x="427488" y="292099"/>
                    </a:lnTo>
                    <a:lnTo>
                      <a:pt x="429649" y="292099"/>
                    </a:lnTo>
                    <a:lnTo>
                      <a:pt x="429649" y="266699"/>
                    </a:lnTo>
                    <a:close/>
                  </a:path>
                  <a:path w="3439795" h="1447800">
                    <a:moveTo>
                      <a:pt x="429649" y="266699"/>
                    </a:moveTo>
                    <a:lnTo>
                      <a:pt x="429649" y="292099"/>
                    </a:lnTo>
                    <a:lnTo>
                      <a:pt x="431809" y="292099"/>
                    </a:lnTo>
                    <a:lnTo>
                      <a:pt x="429649" y="266699"/>
                    </a:lnTo>
                    <a:close/>
                  </a:path>
                  <a:path w="3439795" h="1447800">
                    <a:moveTo>
                      <a:pt x="438289" y="266699"/>
                    </a:moveTo>
                    <a:lnTo>
                      <a:pt x="429649" y="266699"/>
                    </a:lnTo>
                    <a:lnTo>
                      <a:pt x="431809" y="292099"/>
                    </a:lnTo>
                    <a:lnTo>
                      <a:pt x="438289" y="292099"/>
                    </a:lnTo>
                    <a:lnTo>
                      <a:pt x="438289" y="266699"/>
                    </a:lnTo>
                    <a:close/>
                  </a:path>
                  <a:path w="3439795" h="1447800">
                    <a:moveTo>
                      <a:pt x="442610" y="266699"/>
                    </a:moveTo>
                    <a:lnTo>
                      <a:pt x="438289" y="266699"/>
                    </a:lnTo>
                    <a:lnTo>
                      <a:pt x="438289" y="292099"/>
                    </a:lnTo>
                    <a:lnTo>
                      <a:pt x="449090" y="292099"/>
                    </a:lnTo>
                    <a:lnTo>
                      <a:pt x="455571" y="279399"/>
                    </a:lnTo>
                    <a:lnTo>
                      <a:pt x="442610" y="266699"/>
                    </a:lnTo>
                    <a:close/>
                  </a:path>
                  <a:path w="3439795" h="1447800">
                    <a:moveTo>
                      <a:pt x="455571" y="279399"/>
                    </a:moveTo>
                    <a:lnTo>
                      <a:pt x="449090" y="292099"/>
                    </a:lnTo>
                    <a:lnTo>
                      <a:pt x="451251" y="292099"/>
                    </a:lnTo>
                    <a:lnTo>
                      <a:pt x="455571" y="279399"/>
                    </a:lnTo>
                    <a:close/>
                  </a:path>
                  <a:path w="3439795" h="1447800">
                    <a:moveTo>
                      <a:pt x="483654" y="253999"/>
                    </a:moveTo>
                    <a:lnTo>
                      <a:pt x="472853" y="253999"/>
                    </a:lnTo>
                    <a:lnTo>
                      <a:pt x="472853" y="279399"/>
                    </a:lnTo>
                    <a:lnTo>
                      <a:pt x="475013" y="279399"/>
                    </a:lnTo>
                    <a:lnTo>
                      <a:pt x="490135" y="292099"/>
                    </a:lnTo>
                    <a:lnTo>
                      <a:pt x="496615" y="292099"/>
                    </a:lnTo>
                    <a:lnTo>
                      <a:pt x="481494" y="279399"/>
                    </a:lnTo>
                    <a:lnTo>
                      <a:pt x="481494" y="266699"/>
                    </a:lnTo>
                    <a:lnTo>
                      <a:pt x="483654" y="266699"/>
                    </a:lnTo>
                    <a:lnTo>
                      <a:pt x="483654" y="253999"/>
                    </a:lnTo>
                    <a:close/>
                  </a:path>
                  <a:path w="3439795" h="1447800">
                    <a:moveTo>
                      <a:pt x="483654" y="270933"/>
                    </a:moveTo>
                    <a:lnTo>
                      <a:pt x="481494" y="279399"/>
                    </a:lnTo>
                    <a:lnTo>
                      <a:pt x="496615" y="292099"/>
                    </a:lnTo>
                    <a:lnTo>
                      <a:pt x="483654" y="279399"/>
                    </a:lnTo>
                    <a:lnTo>
                      <a:pt x="483654" y="270933"/>
                    </a:lnTo>
                    <a:close/>
                  </a:path>
                  <a:path w="3439795" h="1447800">
                    <a:moveTo>
                      <a:pt x="487974" y="253999"/>
                    </a:moveTo>
                    <a:lnTo>
                      <a:pt x="483654" y="270933"/>
                    </a:lnTo>
                    <a:lnTo>
                      <a:pt x="483654" y="279399"/>
                    </a:lnTo>
                    <a:lnTo>
                      <a:pt x="496615" y="292099"/>
                    </a:lnTo>
                    <a:lnTo>
                      <a:pt x="498775" y="279399"/>
                    </a:lnTo>
                    <a:lnTo>
                      <a:pt x="485814" y="279399"/>
                    </a:lnTo>
                    <a:lnTo>
                      <a:pt x="487974" y="253999"/>
                    </a:lnTo>
                    <a:close/>
                  </a:path>
                  <a:path w="3439795" h="1447800">
                    <a:moveTo>
                      <a:pt x="2473843" y="288924"/>
                    </a:moveTo>
                    <a:lnTo>
                      <a:pt x="2472223" y="292099"/>
                    </a:lnTo>
                    <a:lnTo>
                      <a:pt x="2480864" y="292099"/>
                    </a:lnTo>
                    <a:lnTo>
                      <a:pt x="2473843" y="288924"/>
                    </a:lnTo>
                    <a:close/>
                  </a:path>
                  <a:path w="3439795" h="1447800">
                    <a:moveTo>
                      <a:pt x="2478704" y="279399"/>
                    </a:moveTo>
                    <a:lnTo>
                      <a:pt x="2473843" y="288924"/>
                    </a:lnTo>
                    <a:lnTo>
                      <a:pt x="2480864" y="292099"/>
                    </a:lnTo>
                    <a:lnTo>
                      <a:pt x="2481944" y="288924"/>
                    </a:lnTo>
                    <a:lnTo>
                      <a:pt x="2478704" y="279399"/>
                    </a:lnTo>
                    <a:close/>
                  </a:path>
                  <a:path w="3439795" h="1447800">
                    <a:moveTo>
                      <a:pt x="2481944" y="288924"/>
                    </a:moveTo>
                    <a:lnTo>
                      <a:pt x="2480864" y="292099"/>
                    </a:lnTo>
                    <a:lnTo>
                      <a:pt x="2482304" y="289983"/>
                    </a:lnTo>
                    <a:lnTo>
                      <a:pt x="2481944" y="288924"/>
                    </a:lnTo>
                    <a:close/>
                  </a:path>
                  <a:path w="3439795" h="1447800">
                    <a:moveTo>
                      <a:pt x="2487345" y="282574"/>
                    </a:moveTo>
                    <a:lnTo>
                      <a:pt x="2486625" y="283633"/>
                    </a:lnTo>
                    <a:lnTo>
                      <a:pt x="2489505" y="292099"/>
                    </a:lnTo>
                    <a:lnTo>
                      <a:pt x="2489505" y="285749"/>
                    </a:lnTo>
                    <a:lnTo>
                      <a:pt x="2487345" y="282574"/>
                    </a:lnTo>
                    <a:close/>
                  </a:path>
                  <a:path w="3439795" h="1447800">
                    <a:moveTo>
                      <a:pt x="2493825" y="279399"/>
                    </a:moveTo>
                    <a:lnTo>
                      <a:pt x="2489505" y="279399"/>
                    </a:lnTo>
                    <a:lnTo>
                      <a:pt x="2489505" y="285749"/>
                    </a:lnTo>
                    <a:lnTo>
                      <a:pt x="2493825" y="292099"/>
                    </a:lnTo>
                    <a:lnTo>
                      <a:pt x="2493825" y="279399"/>
                    </a:lnTo>
                    <a:close/>
                  </a:path>
                  <a:path w="3439795" h="1447800">
                    <a:moveTo>
                      <a:pt x="2493825" y="279399"/>
                    </a:moveTo>
                    <a:lnTo>
                      <a:pt x="2493825" y="292099"/>
                    </a:lnTo>
                    <a:lnTo>
                      <a:pt x="2495986" y="292099"/>
                    </a:lnTo>
                    <a:lnTo>
                      <a:pt x="2500306" y="285749"/>
                    </a:lnTo>
                    <a:lnTo>
                      <a:pt x="2493825" y="279399"/>
                    </a:lnTo>
                    <a:close/>
                  </a:path>
                  <a:path w="3439795" h="1447800">
                    <a:moveTo>
                      <a:pt x="2500306" y="285749"/>
                    </a:moveTo>
                    <a:lnTo>
                      <a:pt x="2495986" y="292099"/>
                    </a:lnTo>
                    <a:lnTo>
                      <a:pt x="2506787" y="292099"/>
                    </a:lnTo>
                    <a:lnTo>
                      <a:pt x="2500306" y="285749"/>
                    </a:lnTo>
                    <a:close/>
                  </a:path>
                  <a:path w="3439795" h="1447800">
                    <a:moveTo>
                      <a:pt x="2809127" y="279399"/>
                    </a:moveTo>
                    <a:lnTo>
                      <a:pt x="2795380" y="290945"/>
                    </a:lnTo>
                    <a:lnTo>
                      <a:pt x="2796166" y="292099"/>
                    </a:lnTo>
                    <a:lnTo>
                      <a:pt x="2809127" y="279399"/>
                    </a:lnTo>
                    <a:close/>
                  </a:path>
                  <a:path w="3439795" h="1447800">
                    <a:moveTo>
                      <a:pt x="3076814" y="279399"/>
                    </a:moveTo>
                    <a:lnTo>
                      <a:pt x="3061692" y="279399"/>
                    </a:lnTo>
                    <a:lnTo>
                      <a:pt x="3070333" y="292099"/>
                    </a:lnTo>
                    <a:lnTo>
                      <a:pt x="3076814" y="279399"/>
                    </a:lnTo>
                    <a:close/>
                  </a:path>
                  <a:path w="3439795" h="1447800">
                    <a:moveTo>
                      <a:pt x="3078974" y="279399"/>
                    </a:moveTo>
                    <a:lnTo>
                      <a:pt x="3077894" y="285749"/>
                    </a:lnTo>
                    <a:lnTo>
                      <a:pt x="3078974" y="292099"/>
                    </a:lnTo>
                    <a:lnTo>
                      <a:pt x="3083294" y="292099"/>
                    </a:lnTo>
                    <a:lnTo>
                      <a:pt x="3083294" y="289559"/>
                    </a:lnTo>
                    <a:lnTo>
                      <a:pt x="3078974" y="279399"/>
                    </a:lnTo>
                    <a:close/>
                  </a:path>
                  <a:path w="3439795" h="1447800">
                    <a:moveTo>
                      <a:pt x="3083294" y="281516"/>
                    </a:moveTo>
                    <a:lnTo>
                      <a:pt x="3083294" y="281939"/>
                    </a:lnTo>
                    <a:lnTo>
                      <a:pt x="3091935" y="292099"/>
                    </a:lnTo>
                    <a:lnTo>
                      <a:pt x="3093098" y="291123"/>
                    </a:lnTo>
                    <a:lnTo>
                      <a:pt x="3083294" y="281516"/>
                    </a:lnTo>
                    <a:close/>
                  </a:path>
                  <a:path w="3439795" h="1447800">
                    <a:moveTo>
                      <a:pt x="3093098" y="291123"/>
                    </a:moveTo>
                    <a:lnTo>
                      <a:pt x="3091935" y="292099"/>
                    </a:lnTo>
                    <a:lnTo>
                      <a:pt x="3094096" y="292099"/>
                    </a:lnTo>
                    <a:lnTo>
                      <a:pt x="3093098" y="291123"/>
                    </a:lnTo>
                    <a:close/>
                  </a:path>
                  <a:path w="3439795" h="1447800">
                    <a:moveTo>
                      <a:pt x="3096256" y="288471"/>
                    </a:moveTo>
                    <a:lnTo>
                      <a:pt x="3093098" y="291123"/>
                    </a:lnTo>
                    <a:lnTo>
                      <a:pt x="3094096" y="292099"/>
                    </a:lnTo>
                    <a:lnTo>
                      <a:pt x="3096256" y="292099"/>
                    </a:lnTo>
                    <a:lnTo>
                      <a:pt x="3096256" y="288471"/>
                    </a:lnTo>
                    <a:close/>
                  </a:path>
                  <a:path w="3439795" h="1447800">
                    <a:moveTo>
                      <a:pt x="3128659" y="279399"/>
                    </a:moveTo>
                    <a:lnTo>
                      <a:pt x="3111377" y="279399"/>
                    </a:lnTo>
                    <a:lnTo>
                      <a:pt x="3120018" y="292099"/>
                    </a:lnTo>
                    <a:lnTo>
                      <a:pt x="3128659" y="292099"/>
                    </a:lnTo>
                    <a:lnTo>
                      <a:pt x="3128659" y="279399"/>
                    </a:lnTo>
                    <a:close/>
                  </a:path>
                  <a:path w="3439795" h="1447800">
                    <a:moveTo>
                      <a:pt x="3135140" y="279399"/>
                    </a:moveTo>
                    <a:lnTo>
                      <a:pt x="3128659" y="279399"/>
                    </a:lnTo>
                    <a:lnTo>
                      <a:pt x="3128659" y="292099"/>
                    </a:lnTo>
                    <a:lnTo>
                      <a:pt x="3137300" y="283633"/>
                    </a:lnTo>
                    <a:lnTo>
                      <a:pt x="3137300" y="282574"/>
                    </a:lnTo>
                    <a:lnTo>
                      <a:pt x="3135140" y="279399"/>
                    </a:lnTo>
                    <a:close/>
                  </a:path>
                  <a:path w="3439795" h="1447800">
                    <a:moveTo>
                      <a:pt x="3143780" y="290285"/>
                    </a:moveTo>
                    <a:lnTo>
                      <a:pt x="3142995" y="290945"/>
                    </a:lnTo>
                    <a:lnTo>
                      <a:pt x="3143780" y="292099"/>
                    </a:lnTo>
                    <a:lnTo>
                      <a:pt x="3143780" y="290285"/>
                    </a:lnTo>
                    <a:close/>
                  </a:path>
                  <a:path w="3439795" h="1447800">
                    <a:moveTo>
                      <a:pt x="3096256" y="279399"/>
                    </a:moveTo>
                    <a:lnTo>
                      <a:pt x="3083294" y="279399"/>
                    </a:lnTo>
                    <a:lnTo>
                      <a:pt x="3083294" y="281516"/>
                    </a:lnTo>
                    <a:lnTo>
                      <a:pt x="3093098" y="291123"/>
                    </a:lnTo>
                    <a:lnTo>
                      <a:pt x="3096256" y="288471"/>
                    </a:lnTo>
                    <a:lnTo>
                      <a:pt x="3096256" y="279399"/>
                    </a:lnTo>
                    <a:close/>
                  </a:path>
                  <a:path w="3439795" h="1447800">
                    <a:moveTo>
                      <a:pt x="2802646" y="266699"/>
                    </a:moveTo>
                    <a:lnTo>
                      <a:pt x="2787525" y="279399"/>
                    </a:lnTo>
                    <a:lnTo>
                      <a:pt x="2795380" y="290945"/>
                    </a:lnTo>
                    <a:lnTo>
                      <a:pt x="2809127" y="279399"/>
                    </a:lnTo>
                    <a:lnTo>
                      <a:pt x="2804807" y="279399"/>
                    </a:lnTo>
                    <a:lnTo>
                      <a:pt x="2802646" y="266699"/>
                    </a:lnTo>
                    <a:close/>
                  </a:path>
                  <a:path w="3439795" h="1447800">
                    <a:moveTo>
                      <a:pt x="3143780" y="279399"/>
                    </a:moveTo>
                    <a:lnTo>
                      <a:pt x="3141424" y="288636"/>
                    </a:lnTo>
                    <a:lnTo>
                      <a:pt x="3142995" y="290945"/>
                    </a:lnTo>
                    <a:lnTo>
                      <a:pt x="3143780" y="290285"/>
                    </a:lnTo>
                    <a:lnTo>
                      <a:pt x="3143780" y="279399"/>
                    </a:lnTo>
                    <a:close/>
                  </a:path>
                  <a:path w="3439795" h="1447800">
                    <a:moveTo>
                      <a:pt x="3156742" y="279399"/>
                    </a:moveTo>
                    <a:lnTo>
                      <a:pt x="3143780" y="279399"/>
                    </a:lnTo>
                    <a:lnTo>
                      <a:pt x="3143780" y="290285"/>
                    </a:lnTo>
                    <a:lnTo>
                      <a:pt x="3156742" y="279399"/>
                    </a:lnTo>
                    <a:close/>
                  </a:path>
                  <a:path w="3439795" h="1447800">
                    <a:moveTo>
                      <a:pt x="2485185" y="279399"/>
                    </a:moveTo>
                    <a:lnTo>
                      <a:pt x="2481944" y="288924"/>
                    </a:lnTo>
                    <a:lnTo>
                      <a:pt x="2482304" y="289983"/>
                    </a:lnTo>
                    <a:lnTo>
                      <a:pt x="2486625" y="283633"/>
                    </a:lnTo>
                    <a:lnTo>
                      <a:pt x="2485185" y="279399"/>
                    </a:lnTo>
                    <a:close/>
                  </a:path>
                  <a:path w="3439795" h="1447800">
                    <a:moveTo>
                      <a:pt x="3081134" y="279399"/>
                    </a:moveTo>
                    <a:lnTo>
                      <a:pt x="3078974" y="279399"/>
                    </a:lnTo>
                    <a:lnTo>
                      <a:pt x="3083294" y="289559"/>
                    </a:lnTo>
                    <a:lnTo>
                      <a:pt x="3083294" y="281939"/>
                    </a:lnTo>
                    <a:lnTo>
                      <a:pt x="3081134" y="279399"/>
                    </a:lnTo>
                    <a:close/>
                  </a:path>
                  <a:path w="3439795" h="1447800">
                    <a:moveTo>
                      <a:pt x="2478704" y="279399"/>
                    </a:moveTo>
                    <a:lnTo>
                      <a:pt x="2452781" y="279399"/>
                    </a:lnTo>
                    <a:lnTo>
                      <a:pt x="2473843" y="288924"/>
                    </a:lnTo>
                    <a:lnTo>
                      <a:pt x="2478704" y="279399"/>
                    </a:lnTo>
                    <a:close/>
                  </a:path>
                  <a:path w="3439795" h="1447800">
                    <a:moveTo>
                      <a:pt x="2485185" y="279399"/>
                    </a:moveTo>
                    <a:lnTo>
                      <a:pt x="2478704" y="279399"/>
                    </a:lnTo>
                    <a:lnTo>
                      <a:pt x="2481944" y="288924"/>
                    </a:lnTo>
                    <a:lnTo>
                      <a:pt x="2485185" y="279399"/>
                    </a:lnTo>
                    <a:close/>
                  </a:path>
                  <a:path w="3439795" h="1447800">
                    <a:moveTo>
                      <a:pt x="3143780" y="279399"/>
                    </a:moveTo>
                    <a:lnTo>
                      <a:pt x="3141620" y="279399"/>
                    </a:lnTo>
                    <a:lnTo>
                      <a:pt x="3137732" y="283209"/>
                    </a:lnTo>
                    <a:lnTo>
                      <a:pt x="3141424" y="288636"/>
                    </a:lnTo>
                    <a:lnTo>
                      <a:pt x="3143780" y="279399"/>
                    </a:lnTo>
                    <a:close/>
                  </a:path>
                  <a:path w="3439795" h="1447800">
                    <a:moveTo>
                      <a:pt x="2489505" y="279399"/>
                    </a:moveTo>
                    <a:lnTo>
                      <a:pt x="2487345" y="282574"/>
                    </a:lnTo>
                    <a:lnTo>
                      <a:pt x="2489505" y="285749"/>
                    </a:lnTo>
                    <a:lnTo>
                      <a:pt x="2489505" y="279399"/>
                    </a:lnTo>
                    <a:close/>
                  </a:path>
                  <a:path w="3439795" h="1447800">
                    <a:moveTo>
                      <a:pt x="2504626" y="279399"/>
                    </a:moveTo>
                    <a:lnTo>
                      <a:pt x="2493825" y="279399"/>
                    </a:lnTo>
                    <a:lnTo>
                      <a:pt x="2500306" y="285749"/>
                    </a:lnTo>
                    <a:lnTo>
                      <a:pt x="2504626" y="279399"/>
                    </a:lnTo>
                    <a:close/>
                  </a:path>
                  <a:path w="3439795" h="1447800">
                    <a:moveTo>
                      <a:pt x="3089775" y="241299"/>
                    </a:moveTo>
                    <a:lnTo>
                      <a:pt x="3076814" y="253999"/>
                    </a:lnTo>
                    <a:lnTo>
                      <a:pt x="3076814" y="279399"/>
                    </a:lnTo>
                    <a:lnTo>
                      <a:pt x="3077894" y="285749"/>
                    </a:lnTo>
                    <a:lnTo>
                      <a:pt x="3078974" y="279399"/>
                    </a:lnTo>
                    <a:lnTo>
                      <a:pt x="3096256" y="279399"/>
                    </a:lnTo>
                    <a:lnTo>
                      <a:pt x="3096256" y="253999"/>
                    </a:lnTo>
                    <a:lnTo>
                      <a:pt x="3091935" y="253999"/>
                    </a:lnTo>
                    <a:lnTo>
                      <a:pt x="3089775" y="241299"/>
                    </a:lnTo>
                    <a:close/>
                  </a:path>
                  <a:path w="3439795" h="1447800">
                    <a:moveTo>
                      <a:pt x="2485185" y="279399"/>
                    </a:moveTo>
                    <a:lnTo>
                      <a:pt x="2486625" y="283633"/>
                    </a:lnTo>
                    <a:lnTo>
                      <a:pt x="2487345" y="282574"/>
                    </a:lnTo>
                    <a:lnTo>
                      <a:pt x="2485185" y="279399"/>
                    </a:lnTo>
                    <a:close/>
                  </a:path>
                  <a:path w="3439795" h="1447800">
                    <a:moveTo>
                      <a:pt x="3137300" y="282574"/>
                    </a:moveTo>
                    <a:lnTo>
                      <a:pt x="3137300" y="283633"/>
                    </a:lnTo>
                    <a:lnTo>
                      <a:pt x="3137732" y="283209"/>
                    </a:lnTo>
                    <a:lnTo>
                      <a:pt x="3137300" y="282574"/>
                    </a:lnTo>
                    <a:close/>
                  </a:path>
                  <a:path w="3439795" h="1447800">
                    <a:moveTo>
                      <a:pt x="3141620" y="279399"/>
                    </a:moveTo>
                    <a:lnTo>
                      <a:pt x="3137300" y="279399"/>
                    </a:lnTo>
                    <a:lnTo>
                      <a:pt x="3137300" y="282574"/>
                    </a:lnTo>
                    <a:lnTo>
                      <a:pt x="3137732" y="283209"/>
                    </a:lnTo>
                    <a:lnTo>
                      <a:pt x="3141620" y="279399"/>
                    </a:lnTo>
                    <a:close/>
                  </a:path>
                  <a:path w="3439795" h="1447800">
                    <a:moveTo>
                      <a:pt x="3107057" y="279399"/>
                    </a:moveTo>
                    <a:lnTo>
                      <a:pt x="3102736" y="279399"/>
                    </a:lnTo>
                    <a:lnTo>
                      <a:pt x="3102736" y="283028"/>
                    </a:lnTo>
                    <a:lnTo>
                      <a:pt x="3107057" y="279399"/>
                    </a:lnTo>
                    <a:close/>
                  </a:path>
                  <a:path w="3439795" h="1447800">
                    <a:moveTo>
                      <a:pt x="2493825" y="266699"/>
                    </a:moveTo>
                    <a:lnTo>
                      <a:pt x="2485185" y="279399"/>
                    </a:lnTo>
                    <a:lnTo>
                      <a:pt x="2487345" y="282574"/>
                    </a:lnTo>
                    <a:lnTo>
                      <a:pt x="2489505" y="279399"/>
                    </a:lnTo>
                    <a:lnTo>
                      <a:pt x="2504626" y="279399"/>
                    </a:lnTo>
                    <a:lnTo>
                      <a:pt x="2493825" y="266699"/>
                    </a:lnTo>
                    <a:close/>
                  </a:path>
                  <a:path w="3439795" h="1447800">
                    <a:moveTo>
                      <a:pt x="3137300" y="279399"/>
                    </a:moveTo>
                    <a:lnTo>
                      <a:pt x="3135140" y="279399"/>
                    </a:lnTo>
                    <a:lnTo>
                      <a:pt x="3137300" y="282574"/>
                    </a:lnTo>
                    <a:lnTo>
                      <a:pt x="3137300" y="279399"/>
                    </a:lnTo>
                    <a:close/>
                  </a:path>
                  <a:path w="3439795" h="1447800">
                    <a:moveTo>
                      <a:pt x="3081134" y="279399"/>
                    </a:moveTo>
                    <a:lnTo>
                      <a:pt x="3083294" y="281939"/>
                    </a:lnTo>
                    <a:lnTo>
                      <a:pt x="3083294" y="281516"/>
                    </a:lnTo>
                    <a:lnTo>
                      <a:pt x="3081134" y="279399"/>
                    </a:lnTo>
                    <a:close/>
                  </a:path>
                  <a:path w="3439795" h="1447800">
                    <a:moveTo>
                      <a:pt x="3083294" y="279399"/>
                    </a:moveTo>
                    <a:lnTo>
                      <a:pt x="3081134" y="279399"/>
                    </a:lnTo>
                    <a:lnTo>
                      <a:pt x="3083294" y="281516"/>
                    </a:lnTo>
                    <a:lnTo>
                      <a:pt x="3083294" y="279399"/>
                    </a:lnTo>
                    <a:close/>
                  </a:path>
                  <a:path w="3439795" h="1447800">
                    <a:moveTo>
                      <a:pt x="6471" y="266699"/>
                    </a:moveTo>
                    <a:lnTo>
                      <a:pt x="6471" y="279399"/>
                    </a:lnTo>
                    <a:lnTo>
                      <a:pt x="15112" y="279399"/>
                    </a:lnTo>
                    <a:lnTo>
                      <a:pt x="6471" y="266699"/>
                    </a:lnTo>
                    <a:close/>
                  </a:path>
                  <a:path w="3439795" h="1447800">
                    <a:moveTo>
                      <a:pt x="19863" y="261615"/>
                    </a:moveTo>
                    <a:lnTo>
                      <a:pt x="17272" y="266699"/>
                    </a:lnTo>
                    <a:lnTo>
                      <a:pt x="6471" y="266699"/>
                    </a:lnTo>
                    <a:lnTo>
                      <a:pt x="15112" y="279399"/>
                    </a:lnTo>
                    <a:lnTo>
                      <a:pt x="21593" y="279399"/>
                    </a:lnTo>
                    <a:lnTo>
                      <a:pt x="21593" y="266699"/>
                    </a:lnTo>
                    <a:lnTo>
                      <a:pt x="19863" y="261615"/>
                    </a:lnTo>
                    <a:close/>
                  </a:path>
                  <a:path w="3439795" h="1447800">
                    <a:moveTo>
                      <a:pt x="53978" y="266699"/>
                    </a:moveTo>
                    <a:lnTo>
                      <a:pt x="21593" y="266699"/>
                    </a:lnTo>
                    <a:lnTo>
                      <a:pt x="21593" y="279399"/>
                    </a:lnTo>
                    <a:lnTo>
                      <a:pt x="51818" y="279399"/>
                    </a:lnTo>
                    <a:lnTo>
                      <a:pt x="53978" y="266699"/>
                    </a:lnTo>
                    <a:close/>
                  </a:path>
                  <a:path w="3439795" h="1447800">
                    <a:moveTo>
                      <a:pt x="53978" y="266699"/>
                    </a:moveTo>
                    <a:lnTo>
                      <a:pt x="51818" y="279399"/>
                    </a:lnTo>
                    <a:lnTo>
                      <a:pt x="53978" y="279399"/>
                    </a:lnTo>
                    <a:lnTo>
                      <a:pt x="53978" y="266699"/>
                    </a:lnTo>
                    <a:close/>
                  </a:path>
                  <a:path w="3439795" h="1447800">
                    <a:moveTo>
                      <a:pt x="58298" y="266699"/>
                    </a:moveTo>
                    <a:lnTo>
                      <a:pt x="53978" y="266699"/>
                    </a:lnTo>
                    <a:lnTo>
                      <a:pt x="53978" y="279399"/>
                    </a:lnTo>
                    <a:lnTo>
                      <a:pt x="56138" y="279399"/>
                    </a:lnTo>
                    <a:lnTo>
                      <a:pt x="58298" y="266699"/>
                    </a:lnTo>
                    <a:close/>
                  </a:path>
                  <a:path w="3439795" h="1447800">
                    <a:moveTo>
                      <a:pt x="62610" y="266699"/>
                    </a:moveTo>
                    <a:lnTo>
                      <a:pt x="58298" y="266699"/>
                    </a:lnTo>
                    <a:lnTo>
                      <a:pt x="56138" y="279399"/>
                    </a:lnTo>
                    <a:lnTo>
                      <a:pt x="62610" y="266699"/>
                    </a:lnTo>
                    <a:close/>
                  </a:path>
                  <a:path w="3439795" h="1447800">
                    <a:moveTo>
                      <a:pt x="64770" y="266699"/>
                    </a:moveTo>
                    <a:lnTo>
                      <a:pt x="62610" y="266699"/>
                    </a:lnTo>
                    <a:lnTo>
                      <a:pt x="56138" y="279399"/>
                    </a:lnTo>
                    <a:lnTo>
                      <a:pt x="58298" y="279399"/>
                    </a:lnTo>
                    <a:lnTo>
                      <a:pt x="64770" y="266699"/>
                    </a:lnTo>
                    <a:close/>
                  </a:path>
                  <a:path w="3439795" h="1447800">
                    <a:moveTo>
                      <a:pt x="64770" y="266699"/>
                    </a:moveTo>
                    <a:lnTo>
                      <a:pt x="58298" y="279399"/>
                    </a:lnTo>
                    <a:lnTo>
                      <a:pt x="60450" y="279399"/>
                    </a:lnTo>
                    <a:lnTo>
                      <a:pt x="64770" y="273049"/>
                    </a:lnTo>
                    <a:lnTo>
                      <a:pt x="64770" y="266699"/>
                    </a:lnTo>
                    <a:close/>
                  </a:path>
                  <a:path w="3439795" h="1447800">
                    <a:moveTo>
                      <a:pt x="64770" y="273049"/>
                    </a:moveTo>
                    <a:lnTo>
                      <a:pt x="60450" y="279399"/>
                    </a:lnTo>
                    <a:lnTo>
                      <a:pt x="64764" y="275166"/>
                    </a:lnTo>
                    <a:lnTo>
                      <a:pt x="64770" y="273049"/>
                    </a:lnTo>
                    <a:close/>
                  </a:path>
                  <a:path w="3439795" h="1447800">
                    <a:moveTo>
                      <a:pt x="64770" y="275160"/>
                    </a:moveTo>
                    <a:lnTo>
                      <a:pt x="60450" y="279399"/>
                    </a:lnTo>
                    <a:lnTo>
                      <a:pt x="64770" y="279399"/>
                    </a:lnTo>
                    <a:lnTo>
                      <a:pt x="64770" y="275160"/>
                    </a:lnTo>
                    <a:close/>
                  </a:path>
                  <a:path w="3439795" h="1447800">
                    <a:moveTo>
                      <a:pt x="79874" y="266699"/>
                    </a:moveTo>
                    <a:lnTo>
                      <a:pt x="73393" y="266699"/>
                    </a:lnTo>
                    <a:lnTo>
                      <a:pt x="64770" y="275160"/>
                    </a:lnTo>
                    <a:lnTo>
                      <a:pt x="64770" y="279399"/>
                    </a:lnTo>
                    <a:lnTo>
                      <a:pt x="75553" y="279399"/>
                    </a:lnTo>
                    <a:lnTo>
                      <a:pt x="79874" y="266699"/>
                    </a:lnTo>
                    <a:close/>
                  </a:path>
                  <a:path w="3439795" h="1447800">
                    <a:moveTo>
                      <a:pt x="274635" y="276859"/>
                    </a:moveTo>
                    <a:lnTo>
                      <a:pt x="274203" y="279399"/>
                    </a:lnTo>
                    <a:lnTo>
                      <a:pt x="276363" y="279399"/>
                    </a:lnTo>
                    <a:lnTo>
                      <a:pt x="274635" y="276859"/>
                    </a:lnTo>
                    <a:close/>
                  </a:path>
                  <a:path w="3439795" h="1447800">
                    <a:moveTo>
                      <a:pt x="278523" y="253999"/>
                    </a:moveTo>
                    <a:lnTo>
                      <a:pt x="274635" y="276859"/>
                    </a:lnTo>
                    <a:lnTo>
                      <a:pt x="276363" y="279399"/>
                    </a:lnTo>
                    <a:lnTo>
                      <a:pt x="278523" y="253999"/>
                    </a:lnTo>
                    <a:close/>
                  </a:path>
                  <a:path w="3439795" h="1447800">
                    <a:moveTo>
                      <a:pt x="287164" y="253999"/>
                    </a:moveTo>
                    <a:lnTo>
                      <a:pt x="278523" y="253999"/>
                    </a:lnTo>
                    <a:lnTo>
                      <a:pt x="276363" y="279399"/>
                    </a:lnTo>
                    <a:lnTo>
                      <a:pt x="285004" y="279399"/>
                    </a:lnTo>
                    <a:lnTo>
                      <a:pt x="285004" y="266699"/>
                    </a:lnTo>
                    <a:lnTo>
                      <a:pt x="286084" y="266699"/>
                    </a:lnTo>
                    <a:lnTo>
                      <a:pt x="287164" y="253999"/>
                    </a:lnTo>
                    <a:close/>
                  </a:path>
                  <a:path w="3439795" h="1447800">
                    <a:moveTo>
                      <a:pt x="286084" y="266699"/>
                    </a:moveTo>
                    <a:lnTo>
                      <a:pt x="285004" y="266699"/>
                    </a:lnTo>
                    <a:lnTo>
                      <a:pt x="285004" y="279399"/>
                    </a:lnTo>
                    <a:lnTo>
                      <a:pt x="286084" y="266699"/>
                    </a:lnTo>
                    <a:close/>
                  </a:path>
                  <a:path w="3439795" h="1447800">
                    <a:moveTo>
                      <a:pt x="287164" y="253999"/>
                    </a:moveTo>
                    <a:lnTo>
                      <a:pt x="285004" y="279399"/>
                    </a:lnTo>
                    <a:lnTo>
                      <a:pt x="293645" y="279399"/>
                    </a:lnTo>
                    <a:lnTo>
                      <a:pt x="295805" y="276859"/>
                    </a:lnTo>
                    <a:lnTo>
                      <a:pt x="295805" y="266699"/>
                    </a:lnTo>
                    <a:lnTo>
                      <a:pt x="297965" y="266699"/>
                    </a:lnTo>
                    <a:lnTo>
                      <a:pt x="287164" y="253999"/>
                    </a:lnTo>
                    <a:close/>
                  </a:path>
                  <a:path w="3439795" h="1447800">
                    <a:moveTo>
                      <a:pt x="295805" y="276859"/>
                    </a:moveTo>
                    <a:lnTo>
                      <a:pt x="293645" y="279399"/>
                    </a:lnTo>
                    <a:lnTo>
                      <a:pt x="295805" y="279399"/>
                    </a:lnTo>
                    <a:lnTo>
                      <a:pt x="295805" y="276859"/>
                    </a:lnTo>
                    <a:close/>
                  </a:path>
                  <a:path w="3439795" h="1447800">
                    <a:moveTo>
                      <a:pt x="297965" y="274319"/>
                    </a:moveTo>
                    <a:lnTo>
                      <a:pt x="295805" y="276859"/>
                    </a:lnTo>
                    <a:lnTo>
                      <a:pt x="295805" y="279399"/>
                    </a:lnTo>
                    <a:lnTo>
                      <a:pt x="297965" y="279399"/>
                    </a:lnTo>
                    <a:lnTo>
                      <a:pt x="297965" y="274319"/>
                    </a:lnTo>
                    <a:close/>
                  </a:path>
                  <a:path w="3439795" h="1447800">
                    <a:moveTo>
                      <a:pt x="304446" y="266699"/>
                    </a:moveTo>
                    <a:lnTo>
                      <a:pt x="297965" y="274319"/>
                    </a:lnTo>
                    <a:lnTo>
                      <a:pt x="297965" y="279399"/>
                    </a:lnTo>
                    <a:lnTo>
                      <a:pt x="302286" y="279399"/>
                    </a:lnTo>
                    <a:lnTo>
                      <a:pt x="304446" y="273049"/>
                    </a:lnTo>
                    <a:lnTo>
                      <a:pt x="304446" y="266699"/>
                    </a:lnTo>
                    <a:close/>
                  </a:path>
                  <a:path w="3439795" h="1447800">
                    <a:moveTo>
                      <a:pt x="304446" y="273049"/>
                    </a:moveTo>
                    <a:lnTo>
                      <a:pt x="302286" y="279399"/>
                    </a:lnTo>
                    <a:lnTo>
                      <a:pt x="304446" y="279399"/>
                    </a:lnTo>
                    <a:lnTo>
                      <a:pt x="304446" y="273049"/>
                    </a:lnTo>
                    <a:close/>
                  </a:path>
                  <a:path w="3439795" h="1447800">
                    <a:moveTo>
                      <a:pt x="306606" y="266699"/>
                    </a:moveTo>
                    <a:lnTo>
                      <a:pt x="304446" y="273049"/>
                    </a:lnTo>
                    <a:lnTo>
                      <a:pt x="304446" y="279399"/>
                    </a:lnTo>
                    <a:lnTo>
                      <a:pt x="306606" y="266699"/>
                    </a:lnTo>
                    <a:close/>
                  </a:path>
                  <a:path w="3439795" h="1447800">
                    <a:moveTo>
                      <a:pt x="313087" y="266699"/>
                    </a:moveTo>
                    <a:lnTo>
                      <a:pt x="306606" y="266699"/>
                    </a:lnTo>
                    <a:lnTo>
                      <a:pt x="304446" y="279399"/>
                    </a:lnTo>
                    <a:lnTo>
                      <a:pt x="306606" y="279399"/>
                    </a:lnTo>
                    <a:lnTo>
                      <a:pt x="313087" y="266699"/>
                    </a:lnTo>
                    <a:close/>
                  </a:path>
                  <a:path w="3439795" h="1447800">
                    <a:moveTo>
                      <a:pt x="449090" y="266699"/>
                    </a:moveTo>
                    <a:lnTo>
                      <a:pt x="442610" y="266699"/>
                    </a:lnTo>
                    <a:lnTo>
                      <a:pt x="455571" y="279399"/>
                    </a:lnTo>
                    <a:lnTo>
                      <a:pt x="449090" y="266699"/>
                    </a:lnTo>
                    <a:close/>
                  </a:path>
                  <a:path w="3439795" h="1447800">
                    <a:moveTo>
                      <a:pt x="451251" y="266699"/>
                    </a:moveTo>
                    <a:lnTo>
                      <a:pt x="449090" y="266699"/>
                    </a:lnTo>
                    <a:lnTo>
                      <a:pt x="455571" y="279399"/>
                    </a:lnTo>
                    <a:lnTo>
                      <a:pt x="462052" y="279399"/>
                    </a:lnTo>
                    <a:lnTo>
                      <a:pt x="462052" y="275771"/>
                    </a:lnTo>
                    <a:lnTo>
                      <a:pt x="451251" y="266699"/>
                    </a:lnTo>
                    <a:close/>
                  </a:path>
                  <a:path w="3439795" h="1447800">
                    <a:moveTo>
                      <a:pt x="462052" y="275771"/>
                    </a:moveTo>
                    <a:lnTo>
                      <a:pt x="462052" y="279399"/>
                    </a:lnTo>
                    <a:lnTo>
                      <a:pt x="464212" y="279399"/>
                    </a:lnTo>
                    <a:lnTo>
                      <a:pt x="464212" y="277585"/>
                    </a:lnTo>
                    <a:lnTo>
                      <a:pt x="462052" y="275771"/>
                    </a:lnTo>
                    <a:close/>
                  </a:path>
                  <a:path w="3439795" h="1447800">
                    <a:moveTo>
                      <a:pt x="464212" y="277585"/>
                    </a:moveTo>
                    <a:lnTo>
                      <a:pt x="464212" y="279399"/>
                    </a:lnTo>
                    <a:lnTo>
                      <a:pt x="466372" y="279399"/>
                    </a:lnTo>
                    <a:lnTo>
                      <a:pt x="464212" y="277585"/>
                    </a:lnTo>
                    <a:close/>
                  </a:path>
                  <a:path w="3439795" h="1447800">
                    <a:moveTo>
                      <a:pt x="464212" y="258233"/>
                    </a:moveTo>
                    <a:lnTo>
                      <a:pt x="464212" y="277585"/>
                    </a:lnTo>
                    <a:lnTo>
                      <a:pt x="466372" y="279399"/>
                    </a:lnTo>
                    <a:lnTo>
                      <a:pt x="468532" y="266699"/>
                    </a:lnTo>
                    <a:lnTo>
                      <a:pt x="464212" y="258233"/>
                    </a:lnTo>
                    <a:close/>
                  </a:path>
                  <a:path w="3439795" h="1447800">
                    <a:moveTo>
                      <a:pt x="472853" y="253999"/>
                    </a:moveTo>
                    <a:lnTo>
                      <a:pt x="464212" y="253999"/>
                    </a:lnTo>
                    <a:lnTo>
                      <a:pt x="464212" y="258233"/>
                    </a:lnTo>
                    <a:lnTo>
                      <a:pt x="468532" y="266699"/>
                    </a:lnTo>
                    <a:lnTo>
                      <a:pt x="466372" y="279399"/>
                    </a:lnTo>
                    <a:lnTo>
                      <a:pt x="472853" y="279399"/>
                    </a:lnTo>
                    <a:lnTo>
                      <a:pt x="472853" y="253999"/>
                    </a:lnTo>
                    <a:close/>
                  </a:path>
                  <a:path w="3439795" h="1447800">
                    <a:moveTo>
                      <a:pt x="483654" y="266699"/>
                    </a:moveTo>
                    <a:lnTo>
                      <a:pt x="481494" y="266699"/>
                    </a:lnTo>
                    <a:lnTo>
                      <a:pt x="481494" y="279399"/>
                    </a:lnTo>
                    <a:lnTo>
                      <a:pt x="483654" y="270933"/>
                    </a:lnTo>
                    <a:lnTo>
                      <a:pt x="483654" y="266699"/>
                    </a:lnTo>
                    <a:close/>
                  </a:path>
                  <a:path w="3439795" h="1447800">
                    <a:moveTo>
                      <a:pt x="494455" y="253999"/>
                    </a:moveTo>
                    <a:lnTo>
                      <a:pt x="487974" y="253999"/>
                    </a:lnTo>
                    <a:lnTo>
                      <a:pt x="485814" y="279399"/>
                    </a:lnTo>
                    <a:lnTo>
                      <a:pt x="487974" y="279399"/>
                    </a:lnTo>
                    <a:lnTo>
                      <a:pt x="498775" y="266699"/>
                    </a:lnTo>
                    <a:lnTo>
                      <a:pt x="494455" y="253999"/>
                    </a:lnTo>
                    <a:close/>
                  </a:path>
                  <a:path w="3439795" h="1447800">
                    <a:moveTo>
                      <a:pt x="498775" y="266699"/>
                    </a:moveTo>
                    <a:lnTo>
                      <a:pt x="487974" y="279399"/>
                    </a:lnTo>
                    <a:lnTo>
                      <a:pt x="498775" y="279399"/>
                    </a:lnTo>
                    <a:lnTo>
                      <a:pt x="498775" y="266699"/>
                    </a:lnTo>
                    <a:close/>
                  </a:path>
                  <a:path w="3439795" h="1447800">
                    <a:moveTo>
                      <a:pt x="2422628" y="253999"/>
                    </a:moveTo>
                    <a:lnTo>
                      <a:pt x="2422628" y="279399"/>
                    </a:lnTo>
                    <a:lnTo>
                      <a:pt x="2435590" y="266699"/>
                    </a:lnTo>
                    <a:lnTo>
                      <a:pt x="2424788" y="266699"/>
                    </a:lnTo>
                    <a:lnTo>
                      <a:pt x="2422628" y="253999"/>
                    </a:lnTo>
                    <a:close/>
                  </a:path>
                  <a:path w="3439795" h="1447800">
                    <a:moveTo>
                      <a:pt x="2435590" y="266699"/>
                    </a:moveTo>
                    <a:lnTo>
                      <a:pt x="2422628" y="279399"/>
                    </a:lnTo>
                    <a:lnTo>
                      <a:pt x="2431269" y="279399"/>
                    </a:lnTo>
                    <a:lnTo>
                      <a:pt x="2434150" y="275160"/>
                    </a:lnTo>
                    <a:lnTo>
                      <a:pt x="2435590" y="266699"/>
                    </a:lnTo>
                    <a:close/>
                  </a:path>
                  <a:path w="3439795" h="1447800">
                    <a:moveTo>
                      <a:pt x="2439910" y="266699"/>
                    </a:moveTo>
                    <a:lnTo>
                      <a:pt x="2434153" y="275160"/>
                    </a:lnTo>
                    <a:lnTo>
                      <a:pt x="2433429" y="279399"/>
                    </a:lnTo>
                    <a:lnTo>
                      <a:pt x="2439910" y="266699"/>
                    </a:lnTo>
                    <a:close/>
                  </a:path>
                  <a:path w="3439795" h="1447800">
                    <a:moveTo>
                      <a:pt x="2439910" y="266699"/>
                    </a:moveTo>
                    <a:lnTo>
                      <a:pt x="2433429" y="279399"/>
                    </a:lnTo>
                    <a:lnTo>
                      <a:pt x="2439910" y="279399"/>
                    </a:lnTo>
                    <a:lnTo>
                      <a:pt x="2439910" y="266699"/>
                    </a:lnTo>
                    <a:close/>
                  </a:path>
                  <a:path w="3439795" h="1447800">
                    <a:moveTo>
                      <a:pt x="2439910" y="266699"/>
                    </a:moveTo>
                    <a:lnTo>
                      <a:pt x="2439910" y="279399"/>
                    </a:lnTo>
                    <a:lnTo>
                      <a:pt x="2441980" y="279399"/>
                    </a:lnTo>
                    <a:lnTo>
                      <a:pt x="2441980" y="269774"/>
                    </a:lnTo>
                    <a:lnTo>
                      <a:pt x="2439910" y="266699"/>
                    </a:lnTo>
                    <a:close/>
                  </a:path>
                  <a:path w="3439795" h="1447800">
                    <a:moveTo>
                      <a:pt x="2441980" y="269774"/>
                    </a:moveTo>
                    <a:lnTo>
                      <a:pt x="2441980" y="279399"/>
                    </a:lnTo>
                    <a:lnTo>
                      <a:pt x="2448461" y="279399"/>
                    </a:lnTo>
                    <a:lnTo>
                      <a:pt x="2441980" y="269774"/>
                    </a:lnTo>
                    <a:close/>
                  </a:path>
                  <a:path w="3439795" h="1447800">
                    <a:moveTo>
                      <a:pt x="2448461" y="266699"/>
                    </a:moveTo>
                    <a:lnTo>
                      <a:pt x="2441980" y="266699"/>
                    </a:lnTo>
                    <a:lnTo>
                      <a:pt x="2441980" y="269774"/>
                    </a:lnTo>
                    <a:lnTo>
                      <a:pt x="2448461" y="279399"/>
                    </a:lnTo>
                    <a:lnTo>
                      <a:pt x="2448461" y="266699"/>
                    </a:lnTo>
                    <a:close/>
                  </a:path>
                  <a:path w="3439795" h="1447800">
                    <a:moveTo>
                      <a:pt x="2504626" y="253999"/>
                    </a:moveTo>
                    <a:lnTo>
                      <a:pt x="2491665" y="253999"/>
                    </a:lnTo>
                    <a:lnTo>
                      <a:pt x="2489505" y="266699"/>
                    </a:lnTo>
                    <a:lnTo>
                      <a:pt x="2493825" y="266699"/>
                    </a:lnTo>
                    <a:lnTo>
                      <a:pt x="2504626" y="279399"/>
                    </a:lnTo>
                    <a:lnTo>
                      <a:pt x="2513267" y="279399"/>
                    </a:lnTo>
                    <a:lnTo>
                      <a:pt x="2498146" y="266699"/>
                    </a:lnTo>
                    <a:lnTo>
                      <a:pt x="2504626" y="260349"/>
                    </a:lnTo>
                    <a:lnTo>
                      <a:pt x="2504626" y="253999"/>
                    </a:lnTo>
                    <a:close/>
                  </a:path>
                  <a:path w="3439795" h="1447800">
                    <a:moveTo>
                      <a:pt x="2504626" y="260349"/>
                    </a:moveTo>
                    <a:lnTo>
                      <a:pt x="2498146" y="266699"/>
                    </a:lnTo>
                    <a:lnTo>
                      <a:pt x="2513267" y="279399"/>
                    </a:lnTo>
                    <a:lnTo>
                      <a:pt x="2500306" y="266699"/>
                    </a:lnTo>
                    <a:lnTo>
                      <a:pt x="2504626" y="266699"/>
                    </a:lnTo>
                    <a:lnTo>
                      <a:pt x="2504626" y="260349"/>
                    </a:lnTo>
                    <a:close/>
                  </a:path>
                  <a:path w="3439795" h="1447800">
                    <a:moveTo>
                      <a:pt x="2513267" y="253999"/>
                    </a:moveTo>
                    <a:lnTo>
                      <a:pt x="2511107" y="253999"/>
                    </a:lnTo>
                    <a:lnTo>
                      <a:pt x="2504626" y="266699"/>
                    </a:lnTo>
                    <a:lnTo>
                      <a:pt x="2500306" y="266699"/>
                    </a:lnTo>
                    <a:lnTo>
                      <a:pt x="2513267" y="279399"/>
                    </a:lnTo>
                    <a:lnTo>
                      <a:pt x="2515428" y="266699"/>
                    </a:lnTo>
                    <a:lnTo>
                      <a:pt x="2513267" y="253999"/>
                    </a:lnTo>
                    <a:close/>
                  </a:path>
                  <a:path w="3439795" h="1447800">
                    <a:moveTo>
                      <a:pt x="2515428" y="266699"/>
                    </a:moveTo>
                    <a:lnTo>
                      <a:pt x="2513267" y="279399"/>
                    </a:lnTo>
                    <a:lnTo>
                      <a:pt x="2515428" y="279399"/>
                    </a:lnTo>
                    <a:lnTo>
                      <a:pt x="2515428" y="266699"/>
                    </a:lnTo>
                    <a:close/>
                  </a:path>
                  <a:path w="3439795" h="1447800">
                    <a:moveTo>
                      <a:pt x="2778884" y="266699"/>
                    </a:moveTo>
                    <a:lnTo>
                      <a:pt x="2781044" y="279399"/>
                    </a:lnTo>
                    <a:lnTo>
                      <a:pt x="2783204" y="279399"/>
                    </a:lnTo>
                    <a:lnTo>
                      <a:pt x="2778884" y="266699"/>
                    </a:lnTo>
                    <a:close/>
                  </a:path>
                  <a:path w="3439795" h="1447800">
                    <a:moveTo>
                      <a:pt x="2792277" y="255269"/>
                    </a:moveTo>
                    <a:lnTo>
                      <a:pt x="2785365" y="260349"/>
                    </a:lnTo>
                    <a:lnTo>
                      <a:pt x="2778884" y="266699"/>
                    </a:lnTo>
                    <a:lnTo>
                      <a:pt x="2783204" y="279399"/>
                    </a:lnTo>
                    <a:lnTo>
                      <a:pt x="2785365" y="279399"/>
                    </a:lnTo>
                    <a:lnTo>
                      <a:pt x="2796166" y="266699"/>
                    </a:lnTo>
                    <a:lnTo>
                      <a:pt x="2792277" y="255269"/>
                    </a:lnTo>
                    <a:close/>
                  </a:path>
                  <a:path w="3439795" h="1447800">
                    <a:moveTo>
                      <a:pt x="2796166" y="266699"/>
                    </a:moveTo>
                    <a:lnTo>
                      <a:pt x="2785365" y="279399"/>
                    </a:lnTo>
                    <a:lnTo>
                      <a:pt x="2791845" y="273049"/>
                    </a:lnTo>
                    <a:lnTo>
                      <a:pt x="2796166" y="266699"/>
                    </a:lnTo>
                    <a:close/>
                  </a:path>
                  <a:path w="3439795" h="1447800">
                    <a:moveTo>
                      <a:pt x="2791845" y="273049"/>
                    </a:moveTo>
                    <a:lnTo>
                      <a:pt x="2785365" y="279399"/>
                    </a:lnTo>
                    <a:lnTo>
                      <a:pt x="2789685" y="276224"/>
                    </a:lnTo>
                    <a:lnTo>
                      <a:pt x="2791845" y="273049"/>
                    </a:lnTo>
                    <a:close/>
                  </a:path>
                  <a:path w="3439795" h="1447800">
                    <a:moveTo>
                      <a:pt x="2789685" y="276224"/>
                    </a:moveTo>
                    <a:lnTo>
                      <a:pt x="2785365" y="279399"/>
                    </a:lnTo>
                    <a:lnTo>
                      <a:pt x="2787525" y="279399"/>
                    </a:lnTo>
                    <a:lnTo>
                      <a:pt x="2789685" y="276224"/>
                    </a:lnTo>
                    <a:close/>
                  </a:path>
                  <a:path w="3439795" h="1447800">
                    <a:moveTo>
                      <a:pt x="2791125" y="275166"/>
                    </a:moveTo>
                    <a:lnTo>
                      <a:pt x="2789685" y="276224"/>
                    </a:lnTo>
                    <a:lnTo>
                      <a:pt x="2787525" y="279399"/>
                    </a:lnTo>
                    <a:lnTo>
                      <a:pt x="2791125" y="275166"/>
                    </a:lnTo>
                    <a:close/>
                  </a:path>
                  <a:path w="3439795" h="1447800">
                    <a:moveTo>
                      <a:pt x="2802646" y="266699"/>
                    </a:moveTo>
                    <a:lnTo>
                      <a:pt x="2791125" y="275166"/>
                    </a:lnTo>
                    <a:lnTo>
                      <a:pt x="2787525" y="279399"/>
                    </a:lnTo>
                    <a:lnTo>
                      <a:pt x="2802646" y="266699"/>
                    </a:lnTo>
                    <a:close/>
                  </a:path>
                  <a:path w="3439795" h="1447800">
                    <a:moveTo>
                      <a:pt x="2802646" y="266699"/>
                    </a:moveTo>
                    <a:lnTo>
                      <a:pt x="2804807" y="279399"/>
                    </a:lnTo>
                    <a:lnTo>
                      <a:pt x="2804807" y="270933"/>
                    </a:lnTo>
                    <a:lnTo>
                      <a:pt x="2802646" y="266699"/>
                    </a:lnTo>
                    <a:close/>
                  </a:path>
                  <a:path w="3439795" h="1447800">
                    <a:moveTo>
                      <a:pt x="2804807" y="270933"/>
                    </a:moveTo>
                    <a:lnTo>
                      <a:pt x="2804807" y="279399"/>
                    </a:lnTo>
                    <a:lnTo>
                      <a:pt x="2809127" y="279399"/>
                    </a:lnTo>
                    <a:lnTo>
                      <a:pt x="2804807" y="270933"/>
                    </a:lnTo>
                    <a:close/>
                  </a:path>
                  <a:path w="3439795" h="1447800">
                    <a:moveTo>
                      <a:pt x="2930009" y="266699"/>
                    </a:moveTo>
                    <a:lnTo>
                      <a:pt x="2930009" y="279399"/>
                    </a:lnTo>
                    <a:lnTo>
                      <a:pt x="2940810" y="279399"/>
                    </a:lnTo>
                    <a:lnTo>
                      <a:pt x="2930009" y="266699"/>
                    </a:lnTo>
                    <a:close/>
                  </a:path>
                  <a:path w="3439795" h="1447800">
                    <a:moveTo>
                      <a:pt x="2940810" y="253999"/>
                    </a:moveTo>
                    <a:lnTo>
                      <a:pt x="2938650" y="266699"/>
                    </a:lnTo>
                    <a:lnTo>
                      <a:pt x="2930009" y="266699"/>
                    </a:lnTo>
                    <a:lnTo>
                      <a:pt x="2940810" y="279399"/>
                    </a:lnTo>
                    <a:lnTo>
                      <a:pt x="2940810" y="253999"/>
                    </a:lnTo>
                    <a:close/>
                  </a:path>
                  <a:path w="3439795" h="1447800">
                    <a:moveTo>
                      <a:pt x="2942970" y="253999"/>
                    </a:moveTo>
                    <a:lnTo>
                      <a:pt x="2940810" y="253999"/>
                    </a:lnTo>
                    <a:lnTo>
                      <a:pt x="2940810" y="279399"/>
                    </a:lnTo>
                    <a:lnTo>
                      <a:pt x="2949451" y="266699"/>
                    </a:lnTo>
                    <a:lnTo>
                      <a:pt x="2946211" y="257174"/>
                    </a:lnTo>
                    <a:lnTo>
                      <a:pt x="2942970" y="253999"/>
                    </a:lnTo>
                    <a:close/>
                  </a:path>
                  <a:path w="3439795" h="1447800">
                    <a:moveTo>
                      <a:pt x="2949451" y="260349"/>
                    </a:moveTo>
                    <a:lnTo>
                      <a:pt x="2949451" y="266699"/>
                    </a:lnTo>
                    <a:lnTo>
                      <a:pt x="2940810" y="279399"/>
                    </a:lnTo>
                    <a:lnTo>
                      <a:pt x="2947291" y="279399"/>
                    </a:lnTo>
                    <a:lnTo>
                      <a:pt x="2955932" y="266699"/>
                    </a:lnTo>
                    <a:lnTo>
                      <a:pt x="2951611" y="266699"/>
                    </a:lnTo>
                    <a:lnTo>
                      <a:pt x="2951611" y="262466"/>
                    </a:lnTo>
                    <a:lnTo>
                      <a:pt x="2949451" y="260349"/>
                    </a:lnTo>
                    <a:close/>
                  </a:path>
                  <a:path w="3439795" h="1447800">
                    <a:moveTo>
                      <a:pt x="2955932" y="266699"/>
                    </a:moveTo>
                    <a:lnTo>
                      <a:pt x="2947291" y="279399"/>
                    </a:lnTo>
                    <a:lnTo>
                      <a:pt x="2953771" y="279399"/>
                    </a:lnTo>
                    <a:lnTo>
                      <a:pt x="2955932" y="266699"/>
                    </a:lnTo>
                    <a:close/>
                  </a:path>
                  <a:path w="3439795" h="1447800">
                    <a:moveTo>
                      <a:pt x="2973213" y="253999"/>
                    </a:moveTo>
                    <a:lnTo>
                      <a:pt x="2964573" y="266699"/>
                    </a:lnTo>
                    <a:lnTo>
                      <a:pt x="2981854" y="279399"/>
                    </a:lnTo>
                    <a:lnTo>
                      <a:pt x="2984014" y="279399"/>
                    </a:lnTo>
                    <a:lnTo>
                      <a:pt x="2985095" y="266699"/>
                    </a:lnTo>
                    <a:lnTo>
                      <a:pt x="2968893" y="266699"/>
                    </a:lnTo>
                    <a:lnTo>
                      <a:pt x="2973213" y="253999"/>
                    </a:lnTo>
                    <a:close/>
                  </a:path>
                  <a:path w="3439795" h="1447800">
                    <a:moveTo>
                      <a:pt x="2986175" y="253999"/>
                    </a:moveTo>
                    <a:lnTo>
                      <a:pt x="2984014" y="279399"/>
                    </a:lnTo>
                    <a:lnTo>
                      <a:pt x="2988110" y="255269"/>
                    </a:lnTo>
                    <a:lnTo>
                      <a:pt x="2986175" y="253999"/>
                    </a:lnTo>
                    <a:close/>
                  </a:path>
                  <a:path w="3439795" h="1447800">
                    <a:moveTo>
                      <a:pt x="2988118" y="255275"/>
                    </a:moveTo>
                    <a:lnTo>
                      <a:pt x="2984014" y="279399"/>
                    </a:lnTo>
                    <a:lnTo>
                      <a:pt x="3003366" y="279399"/>
                    </a:lnTo>
                    <a:lnTo>
                      <a:pt x="3003366" y="266699"/>
                    </a:lnTo>
                    <a:lnTo>
                      <a:pt x="2990495" y="266699"/>
                    </a:lnTo>
                    <a:lnTo>
                      <a:pt x="2990495" y="256835"/>
                    </a:lnTo>
                    <a:lnTo>
                      <a:pt x="2988118" y="255275"/>
                    </a:lnTo>
                    <a:close/>
                  </a:path>
                  <a:path w="3439795" h="1447800">
                    <a:moveTo>
                      <a:pt x="3000391" y="263329"/>
                    </a:moveTo>
                    <a:lnTo>
                      <a:pt x="2996976" y="266699"/>
                    </a:lnTo>
                    <a:lnTo>
                      <a:pt x="3003366" y="266699"/>
                    </a:lnTo>
                    <a:lnTo>
                      <a:pt x="3003366" y="279399"/>
                    </a:lnTo>
                    <a:lnTo>
                      <a:pt x="3005527" y="266699"/>
                    </a:lnTo>
                    <a:lnTo>
                      <a:pt x="3000391" y="263329"/>
                    </a:lnTo>
                    <a:close/>
                  </a:path>
                  <a:path w="3439795" h="1447800">
                    <a:moveTo>
                      <a:pt x="3005527" y="266699"/>
                    </a:moveTo>
                    <a:lnTo>
                      <a:pt x="3003366" y="279399"/>
                    </a:lnTo>
                    <a:lnTo>
                      <a:pt x="3005527" y="279399"/>
                    </a:lnTo>
                    <a:lnTo>
                      <a:pt x="3005527" y="266699"/>
                    </a:lnTo>
                    <a:close/>
                  </a:path>
                  <a:path w="3439795" h="1447800">
                    <a:moveTo>
                      <a:pt x="3009847" y="253999"/>
                    </a:moveTo>
                    <a:lnTo>
                      <a:pt x="3000391" y="263329"/>
                    </a:lnTo>
                    <a:lnTo>
                      <a:pt x="3005527" y="266699"/>
                    </a:lnTo>
                    <a:lnTo>
                      <a:pt x="3005527" y="279399"/>
                    </a:lnTo>
                    <a:lnTo>
                      <a:pt x="3016328" y="266699"/>
                    </a:lnTo>
                    <a:lnTo>
                      <a:pt x="3012007" y="266699"/>
                    </a:lnTo>
                    <a:lnTo>
                      <a:pt x="3009847" y="253999"/>
                    </a:lnTo>
                    <a:close/>
                  </a:path>
                  <a:path w="3439795" h="1447800">
                    <a:moveTo>
                      <a:pt x="3016328" y="266699"/>
                    </a:moveTo>
                    <a:lnTo>
                      <a:pt x="3005527" y="279399"/>
                    </a:lnTo>
                    <a:lnTo>
                      <a:pt x="3016328" y="279399"/>
                    </a:lnTo>
                    <a:lnTo>
                      <a:pt x="3016328" y="266699"/>
                    </a:lnTo>
                    <a:close/>
                  </a:path>
                  <a:path w="3439795" h="1447800">
                    <a:moveTo>
                      <a:pt x="462052" y="253999"/>
                    </a:moveTo>
                    <a:lnTo>
                      <a:pt x="462052" y="275771"/>
                    </a:lnTo>
                    <a:lnTo>
                      <a:pt x="464212" y="277585"/>
                    </a:lnTo>
                    <a:lnTo>
                      <a:pt x="464212" y="258233"/>
                    </a:lnTo>
                    <a:lnTo>
                      <a:pt x="462052" y="253999"/>
                    </a:lnTo>
                    <a:close/>
                  </a:path>
                  <a:path w="3439795" h="1447800">
                    <a:moveTo>
                      <a:pt x="269883" y="253999"/>
                    </a:moveTo>
                    <a:lnTo>
                      <a:pt x="267722" y="266699"/>
                    </a:lnTo>
                    <a:lnTo>
                      <a:pt x="274635" y="276859"/>
                    </a:lnTo>
                    <a:lnTo>
                      <a:pt x="276363" y="266699"/>
                    </a:lnTo>
                    <a:lnTo>
                      <a:pt x="269883" y="266699"/>
                    </a:lnTo>
                    <a:lnTo>
                      <a:pt x="269883" y="253999"/>
                    </a:lnTo>
                    <a:close/>
                  </a:path>
                  <a:path w="3439795" h="1447800">
                    <a:moveTo>
                      <a:pt x="297965" y="266699"/>
                    </a:moveTo>
                    <a:lnTo>
                      <a:pt x="295805" y="266699"/>
                    </a:lnTo>
                    <a:lnTo>
                      <a:pt x="295805" y="276859"/>
                    </a:lnTo>
                    <a:lnTo>
                      <a:pt x="297965" y="274319"/>
                    </a:lnTo>
                    <a:lnTo>
                      <a:pt x="297965" y="266699"/>
                    </a:lnTo>
                    <a:close/>
                  </a:path>
                  <a:path w="3439795" h="1447800">
                    <a:moveTo>
                      <a:pt x="2798326" y="266699"/>
                    </a:moveTo>
                    <a:lnTo>
                      <a:pt x="2791845" y="273049"/>
                    </a:lnTo>
                    <a:lnTo>
                      <a:pt x="2789685" y="276224"/>
                    </a:lnTo>
                    <a:lnTo>
                      <a:pt x="2791130" y="275160"/>
                    </a:lnTo>
                    <a:lnTo>
                      <a:pt x="2798326" y="266699"/>
                    </a:lnTo>
                    <a:close/>
                  </a:path>
                  <a:path w="3439795" h="1447800">
                    <a:moveTo>
                      <a:pt x="462052" y="253999"/>
                    </a:moveTo>
                    <a:lnTo>
                      <a:pt x="453411" y="266699"/>
                    </a:lnTo>
                    <a:lnTo>
                      <a:pt x="451251" y="266699"/>
                    </a:lnTo>
                    <a:lnTo>
                      <a:pt x="462052" y="275771"/>
                    </a:lnTo>
                    <a:lnTo>
                      <a:pt x="462052" y="253999"/>
                    </a:lnTo>
                    <a:close/>
                  </a:path>
                  <a:path w="3439795" h="1447800">
                    <a:moveTo>
                      <a:pt x="2439910" y="266699"/>
                    </a:moveTo>
                    <a:lnTo>
                      <a:pt x="2435590" y="266699"/>
                    </a:lnTo>
                    <a:lnTo>
                      <a:pt x="2434149" y="275166"/>
                    </a:lnTo>
                    <a:lnTo>
                      <a:pt x="2439910" y="266699"/>
                    </a:lnTo>
                    <a:close/>
                  </a:path>
                  <a:path w="3439795" h="1447800">
                    <a:moveTo>
                      <a:pt x="2802646" y="266699"/>
                    </a:moveTo>
                    <a:lnTo>
                      <a:pt x="2798326" y="266699"/>
                    </a:lnTo>
                    <a:lnTo>
                      <a:pt x="2791125" y="275166"/>
                    </a:lnTo>
                    <a:lnTo>
                      <a:pt x="2802646" y="266699"/>
                    </a:lnTo>
                    <a:close/>
                  </a:path>
                  <a:path w="3439795" h="1447800">
                    <a:moveTo>
                      <a:pt x="73393" y="266699"/>
                    </a:moveTo>
                    <a:lnTo>
                      <a:pt x="69090" y="266699"/>
                    </a:lnTo>
                    <a:lnTo>
                      <a:pt x="64770" y="273049"/>
                    </a:lnTo>
                    <a:lnTo>
                      <a:pt x="64770" y="275160"/>
                    </a:lnTo>
                    <a:lnTo>
                      <a:pt x="73393" y="266699"/>
                    </a:lnTo>
                    <a:close/>
                  </a:path>
                  <a:path w="3439795" h="1447800">
                    <a:moveTo>
                      <a:pt x="304446" y="266699"/>
                    </a:moveTo>
                    <a:lnTo>
                      <a:pt x="297965" y="266699"/>
                    </a:lnTo>
                    <a:lnTo>
                      <a:pt x="297965" y="274319"/>
                    </a:lnTo>
                    <a:lnTo>
                      <a:pt x="304446" y="266699"/>
                    </a:lnTo>
                    <a:close/>
                  </a:path>
                  <a:path w="3439795" h="1447800">
                    <a:moveTo>
                      <a:pt x="69090" y="266699"/>
                    </a:moveTo>
                    <a:lnTo>
                      <a:pt x="64770" y="266699"/>
                    </a:lnTo>
                    <a:lnTo>
                      <a:pt x="64770" y="273049"/>
                    </a:lnTo>
                    <a:lnTo>
                      <a:pt x="69090" y="266699"/>
                    </a:lnTo>
                    <a:close/>
                  </a:path>
                  <a:path w="3439795" h="1447800">
                    <a:moveTo>
                      <a:pt x="306606" y="266699"/>
                    </a:moveTo>
                    <a:lnTo>
                      <a:pt x="304446" y="266699"/>
                    </a:lnTo>
                    <a:lnTo>
                      <a:pt x="304446" y="273049"/>
                    </a:lnTo>
                    <a:lnTo>
                      <a:pt x="306606" y="266699"/>
                    </a:lnTo>
                    <a:close/>
                  </a:path>
                  <a:path w="3439795" h="1447800">
                    <a:moveTo>
                      <a:pt x="2798326" y="266699"/>
                    </a:moveTo>
                    <a:lnTo>
                      <a:pt x="2796166" y="266699"/>
                    </a:lnTo>
                    <a:lnTo>
                      <a:pt x="2791845" y="273049"/>
                    </a:lnTo>
                    <a:lnTo>
                      <a:pt x="2798326" y="266699"/>
                    </a:lnTo>
                    <a:close/>
                  </a:path>
                  <a:path w="3439795" h="1447800">
                    <a:moveTo>
                      <a:pt x="487974" y="253999"/>
                    </a:moveTo>
                    <a:lnTo>
                      <a:pt x="483654" y="253999"/>
                    </a:lnTo>
                    <a:lnTo>
                      <a:pt x="483654" y="270933"/>
                    </a:lnTo>
                    <a:lnTo>
                      <a:pt x="487974" y="253999"/>
                    </a:lnTo>
                    <a:close/>
                  </a:path>
                  <a:path w="3439795" h="1447800">
                    <a:moveTo>
                      <a:pt x="2804807" y="266699"/>
                    </a:moveTo>
                    <a:lnTo>
                      <a:pt x="2802646" y="266699"/>
                    </a:lnTo>
                    <a:lnTo>
                      <a:pt x="2804807" y="270933"/>
                    </a:lnTo>
                    <a:lnTo>
                      <a:pt x="2804807" y="266699"/>
                    </a:lnTo>
                    <a:close/>
                  </a:path>
                  <a:path w="3439795" h="1447800">
                    <a:moveTo>
                      <a:pt x="2441980" y="253999"/>
                    </a:moveTo>
                    <a:lnTo>
                      <a:pt x="2424788" y="266699"/>
                    </a:lnTo>
                    <a:lnTo>
                      <a:pt x="2439910" y="266699"/>
                    </a:lnTo>
                    <a:lnTo>
                      <a:pt x="2441980" y="269774"/>
                    </a:lnTo>
                    <a:lnTo>
                      <a:pt x="2441980" y="253999"/>
                    </a:lnTo>
                    <a:close/>
                  </a:path>
                  <a:path w="3439795" h="1447800">
                    <a:moveTo>
                      <a:pt x="2160" y="253999"/>
                    </a:moveTo>
                    <a:lnTo>
                      <a:pt x="0" y="253999"/>
                    </a:lnTo>
                    <a:lnTo>
                      <a:pt x="2160" y="266699"/>
                    </a:lnTo>
                    <a:lnTo>
                      <a:pt x="2160" y="253999"/>
                    </a:lnTo>
                    <a:close/>
                  </a:path>
                  <a:path w="3439795" h="1447800">
                    <a:moveTo>
                      <a:pt x="2160" y="253999"/>
                    </a:moveTo>
                    <a:lnTo>
                      <a:pt x="2160" y="266699"/>
                    </a:lnTo>
                    <a:lnTo>
                      <a:pt x="17272" y="266699"/>
                    </a:lnTo>
                    <a:lnTo>
                      <a:pt x="2160" y="253999"/>
                    </a:lnTo>
                    <a:close/>
                  </a:path>
                  <a:path w="3439795" h="1447800">
                    <a:moveTo>
                      <a:pt x="8631" y="241299"/>
                    </a:moveTo>
                    <a:lnTo>
                      <a:pt x="2160" y="253999"/>
                    </a:lnTo>
                    <a:lnTo>
                      <a:pt x="17272" y="266699"/>
                    </a:lnTo>
                    <a:lnTo>
                      <a:pt x="19861" y="261619"/>
                    </a:lnTo>
                    <a:lnTo>
                      <a:pt x="17272" y="253999"/>
                    </a:lnTo>
                    <a:lnTo>
                      <a:pt x="6471" y="253999"/>
                    </a:lnTo>
                    <a:lnTo>
                      <a:pt x="8631" y="241299"/>
                    </a:lnTo>
                    <a:close/>
                  </a:path>
                  <a:path w="3439795" h="1447800">
                    <a:moveTo>
                      <a:pt x="198685" y="265341"/>
                    </a:moveTo>
                    <a:lnTo>
                      <a:pt x="198685" y="266699"/>
                    </a:lnTo>
                    <a:lnTo>
                      <a:pt x="200756" y="266699"/>
                    </a:lnTo>
                    <a:lnTo>
                      <a:pt x="198685" y="265341"/>
                    </a:lnTo>
                    <a:close/>
                  </a:path>
                  <a:path w="3439795" h="1447800">
                    <a:moveTo>
                      <a:pt x="202916" y="249825"/>
                    </a:moveTo>
                    <a:lnTo>
                      <a:pt x="198685" y="253999"/>
                    </a:lnTo>
                    <a:lnTo>
                      <a:pt x="198685" y="265341"/>
                    </a:lnTo>
                    <a:lnTo>
                      <a:pt x="200756" y="266699"/>
                    </a:lnTo>
                    <a:lnTo>
                      <a:pt x="202916" y="261619"/>
                    </a:lnTo>
                    <a:lnTo>
                      <a:pt x="202916" y="249825"/>
                    </a:lnTo>
                    <a:close/>
                  </a:path>
                  <a:path w="3439795" h="1447800">
                    <a:moveTo>
                      <a:pt x="202916" y="261619"/>
                    </a:moveTo>
                    <a:lnTo>
                      <a:pt x="200756" y="266699"/>
                    </a:lnTo>
                    <a:lnTo>
                      <a:pt x="202916" y="264159"/>
                    </a:lnTo>
                    <a:lnTo>
                      <a:pt x="202916" y="261619"/>
                    </a:lnTo>
                    <a:close/>
                  </a:path>
                  <a:path w="3439795" h="1447800">
                    <a:moveTo>
                      <a:pt x="202916" y="264159"/>
                    </a:moveTo>
                    <a:lnTo>
                      <a:pt x="200756" y="266699"/>
                    </a:lnTo>
                    <a:lnTo>
                      <a:pt x="202916" y="266699"/>
                    </a:lnTo>
                    <a:lnTo>
                      <a:pt x="202916" y="264159"/>
                    </a:lnTo>
                    <a:close/>
                  </a:path>
                  <a:path w="3439795" h="1447800">
                    <a:moveTo>
                      <a:pt x="203156" y="263877"/>
                    </a:moveTo>
                    <a:lnTo>
                      <a:pt x="202916" y="264159"/>
                    </a:lnTo>
                    <a:lnTo>
                      <a:pt x="202916" y="266699"/>
                    </a:lnTo>
                    <a:lnTo>
                      <a:pt x="203156" y="263877"/>
                    </a:lnTo>
                    <a:close/>
                  </a:path>
                  <a:path w="3439795" h="1447800">
                    <a:moveTo>
                      <a:pt x="206928" y="259442"/>
                    </a:moveTo>
                    <a:lnTo>
                      <a:pt x="203156" y="263877"/>
                    </a:lnTo>
                    <a:lnTo>
                      <a:pt x="202916" y="266699"/>
                    </a:lnTo>
                    <a:lnTo>
                      <a:pt x="205076" y="266699"/>
                    </a:lnTo>
                    <a:lnTo>
                      <a:pt x="206928" y="259442"/>
                    </a:lnTo>
                    <a:close/>
                  </a:path>
                  <a:path w="3439795" h="1447800">
                    <a:moveTo>
                      <a:pt x="209396" y="256539"/>
                    </a:moveTo>
                    <a:lnTo>
                      <a:pt x="206928" y="259442"/>
                    </a:lnTo>
                    <a:lnTo>
                      <a:pt x="205076" y="266699"/>
                    </a:lnTo>
                    <a:lnTo>
                      <a:pt x="209396" y="266699"/>
                    </a:lnTo>
                    <a:lnTo>
                      <a:pt x="209396" y="256539"/>
                    </a:lnTo>
                    <a:close/>
                  </a:path>
                  <a:path w="3439795" h="1447800">
                    <a:moveTo>
                      <a:pt x="211557" y="241299"/>
                    </a:moveTo>
                    <a:lnTo>
                      <a:pt x="211557" y="253999"/>
                    </a:lnTo>
                    <a:lnTo>
                      <a:pt x="209396" y="256539"/>
                    </a:lnTo>
                    <a:lnTo>
                      <a:pt x="209396" y="266699"/>
                    </a:lnTo>
                    <a:lnTo>
                      <a:pt x="213717" y="253999"/>
                    </a:lnTo>
                    <a:lnTo>
                      <a:pt x="211557" y="241299"/>
                    </a:lnTo>
                    <a:close/>
                  </a:path>
                  <a:path w="3439795" h="1447800">
                    <a:moveTo>
                      <a:pt x="213717" y="253999"/>
                    </a:moveTo>
                    <a:lnTo>
                      <a:pt x="209396" y="266699"/>
                    </a:lnTo>
                    <a:lnTo>
                      <a:pt x="213717" y="266699"/>
                    </a:lnTo>
                    <a:lnTo>
                      <a:pt x="213717" y="253999"/>
                    </a:lnTo>
                    <a:close/>
                  </a:path>
                  <a:path w="3439795" h="1447800">
                    <a:moveTo>
                      <a:pt x="250441" y="253999"/>
                    </a:moveTo>
                    <a:lnTo>
                      <a:pt x="213717" y="253999"/>
                    </a:lnTo>
                    <a:lnTo>
                      <a:pt x="213717" y="266699"/>
                    </a:lnTo>
                    <a:lnTo>
                      <a:pt x="246120" y="266699"/>
                    </a:lnTo>
                    <a:lnTo>
                      <a:pt x="250441" y="253999"/>
                    </a:lnTo>
                    <a:close/>
                  </a:path>
                  <a:path w="3439795" h="1447800">
                    <a:moveTo>
                      <a:pt x="250441" y="253999"/>
                    </a:moveTo>
                    <a:lnTo>
                      <a:pt x="246120" y="266699"/>
                    </a:lnTo>
                    <a:lnTo>
                      <a:pt x="248280" y="266699"/>
                    </a:lnTo>
                    <a:lnTo>
                      <a:pt x="250441" y="253999"/>
                    </a:lnTo>
                    <a:close/>
                  </a:path>
                  <a:path w="3439795" h="1447800">
                    <a:moveTo>
                      <a:pt x="261242" y="253999"/>
                    </a:moveTo>
                    <a:lnTo>
                      <a:pt x="250441" y="253999"/>
                    </a:lnTo>
                    <a:lnTo>
                      <a:pt x="248280" y="266699"/>
                    </a:lnTo>
                    <a:lnTo>
                      <a:pt x="250441" y="266699"/>
                    </a:lnTo>
                    <a:lnTo>
                      <a:pt x="261242" y="257628"/>
                    </a:lnTo>
                    <a:lnTo>
                      <a:pt x="261242" y="253999"/>
                    </a:lnTo>
                    <a:close/>
                  </a:path>
                  <a:path w="3439795" h="1447800">
                    <a:moveTo>
                      <a:pt x="261242" y="257628"/>
                    </a:moveTo>
                    <a:lnTo>
                      <a:pt x="250441" y="266699"/>
                    </a:lnTo>
                    <a:lnTo>
                      <a:pt x="256921" y="266699"/>
                    </a:lnTo>
                    <a:lnTo>
                      <a:pt x="261242" y="260349"/>
                    </a:lnTo>
                    <a:lnTo>
                      <a:pt x="261242" y="257628"/>
                    </a:lnTo>
                    <a:close/>
                  </a:path>
                  <a:path w="3439795" h="1447800">
                    <a:moveTo>
                      <a:pt x="261242" y="260349"/>
                    </a:moveTo>
                    <a:lnTo>
                      <a:pt x="256921" y="266699"/>
                    </a:lnTo>
                    <a:lnTo>
                      <a:pt x="261242" y="266699"/>
                    </a:lnTo>
                    <a:lnTo>
                      <a:pt x="261242" y="260349"/>
                    </a:lnTo>
                    <a:close/>
                  </a:path>
                  <a:path w="3439795" h="1447800">
                    <a:moveTo>
                      <a:pt x="267722" y="253999"/>
                    </a:moveTo>
                    <a:lnTo>
                      <a:pt x="265562" y="253999"/>
                    </a:lnTo>
                    <a:lnTo>
                      <a:pt x="261242" y="260349"/>
                    </a:lnTo>
                    <a:lnTo>
                      <a:pt x="261242" y="266699"/>
                    </a:lnTo>
                    <a:lnTo>
                      <a:pt x="267722" y="253999"/>
                    </a:lnTo>
                    <a:close/>
                  </a:path>
                  <a:path w="3439795" h="1447800">
                    <a:moveTo>
                      <a:pt x="269883" y="253999"/>
                    </a:moveTo>
                    <a:lnTo>
                      <a:pt x="267722" y="253999"/>
                    </a:lnTo>
                    <a:lnTo>
                      <a:pt x="261242" y="266699"/>
                    </a:lnTo>
                    <a:lnTo>
                      <a:pt x="267722" y="266699"/>
                    </a:lnTo>
                    <a:lnTo>
                      <a:pt x="269883" y="253999"/>
                    </a:lnTo>
                    <a:close/>
                  </a:path>
                  <a:path w="3439795" h="1447800">
                    <a:moveTo>
                      <a:pt x="278523" y="253999"/>
                    </a:moveTo>
                    <a:lnTo>
                      <a:pt x="269883" y="253999"/>
                    </a:lnTo>
                    <a:lnTo>
                      <a:pt x="269883" y="266699"/>
                    </a:lnTo>
                    <a:lnTo>
                      <a:pt x="276363" y="266699"/>
                    </a:lnTo>
                    <a:lnTo>
                      <a:pt x="278523" y="253999"/>
                    </a:lnTo>
                    <a:close/>
                  </a:path>
                  <a:path w="3439795" h="1447800">
                    <a:moveTo>
                      <a:pt x="462052" y="253999"/>
                    </a:moveTo>
                    <a:lnTo>
                      <a:pt x="455571" y="253999"/>
                    </a:lnTo>
                    <a:lnTo>
                      <a:pt x="453411" y="266699"/>
                    </a:lnTo>
                    <a:lnTo>
                      <a:pt x="462052" y="253999"/>
                    </a:lnTo>
                    <a:close/>
                  </a:path>
                  <a:path w="3439795" h="1447800">
                    <a:moveTo>
                      <a:pt x="2424788" y="215899"/>
                    </a:moveTo>
                    <a:lnTo>
                      <a:pt x="2422628" y="228599"/>
                    </a:lnTo>
                    <a:lnTo>
                      <a:pt x="2422628" y="253999"/>
                    </a:lnTo>
                    <a:lnTo>
                      <a:pt x="2424788" y="266699"/>
                    </a:lnTo>
                    <a:lnTo>
                      <a:pt x="2441980" y="253999"/>
                    </a:lnTo>
                    <a:lnTo>
                      <a:pt x="2439910" y="253999"/>
                    </a:lnTo>
                    <a:lnTo>
                      <a:pt x="2439910" y="228599"/>
                    </a:lnTo>
                    <a:lnTo>
                      <a:pt x="2441980" y="228599"/>
                    </a:lnTo>
                    <a:lnTo>
                      <a:pt x="2424788" y="215899"/>
                    </a:lnTo>
                    <a:close/>
                  </a:path>
                  <a:path w="3439795" h="1447800">
                    <a:moveTo>
                      <a:pt x="2463582" y="260349"/>
                    </a:moveTo>
                    <a:lnTo>
                      <a:pt x="2463582" y="266699"/>
                    </a:lnTo>
                    <a:lnTo>
                      <a:pt x="2465743" y="266699"/>
                    </a:lnTo>
                    <a:lnTo>
                      <a:pt x="2463582" y="260349"/>
                    </a:lnTo>
                    <a:close/>
                  </a:path>
                  <a:path w="3439795" h="1447800">
                    <a:moveTo>
                      <a:pt x="2463582" y="253999"/>
                    </a:moveTo>
                    <a:lnTo>
                      <a:pt x="2463582" y="260349"/>
                    </a:lnTo>
                    <a:lnTo>
                      <a:pt x="2465743" y="266699"/>
                    </a:lnTo>
                    <a:lnTo>
                      <a:pt x="2463582" y="253999"/>
                    </a:lnTo>
                    <a:close/>
                  </a:path>
                  <a:path w="3439795" h="1447800">
                    <a:moveTo>
                      <a:pt x="2468983" y="253999"/>
                    </a:moveTo>
                    <a:lnTo>
                      <a:pt x="2463582" y="253999"/>
                    </a:lnTo>
                    <a:lnTo>
                      <a:pt x="2465743" y="266699"/>
                    </a:lnTo>
                    <a:lnTo>
                      <a:pt x="2468983" y="253999"/>
                    </a:lnTo>
                    <a:close/>
                  </a:path>
                  <a:path w="3439795" h="1447800">
                    <a:moveTo>
                      <a:pt x="2476544" y="241299"/>
                    </a:moveTo>
                    <a:lnTo>
                      <a:pt x="2474383" y="241299"/>
                    </a:lnTo>
                    <a:lnTo>
                      <a:pt x="2471503" y="244122"/>
                    </a:lnTo>
                    <a:lnTo>
                      <a:pt x="2465743" y="266699"/>
                    </a:lnTo>
                    <a:lnTo>
                      <a:pt x="2476544" y="241299"/>
                    </a:lnTo>
                    <a:close/>
                  </a:path>
                  <a:path w="3439795" h="1447800">
                    <a:moveTo>
                      <a:pt x="2476544" y="241299"/>
                    </a:moveTo>
                    <a:lnTo>
                      <a:pt x="2465743" y="266699"/>
                    </a:lnTo>
                    <a:lnTo>
                      <a:pt x="2467903" y="266699"/>
                    </a:lnTo>
                    <a:lnTo>
                      <a:pt x="2476544" y="241299"/>
                    </a:lnTo>
                    <a:close/>
                  </a:path>
                  <a:path w="3439795" h="1447800">
                    <a:moveTo>
                      <a:pt x="2476544" y="241299"/>
                    </a:moveTo>
                    <a:lnTo>
                      <a:pt x="2467903" y="266699"/>
                    </a:lnTo>
                    <a:lnTo>
                      <a:pt x="2470063" y="266699"/>
                    </a:lnTo>
                    <a:lnTo>
                      <a:pt x="2476544" y="241299"/>
                    </a:lnTo>
                    <a:close/>
                  </a:path>
                  <a:path w="3439795" h="1447800">
                    <a:moveTo>
                      <a:pt x="2476544" y="241299"/>
                    </a:moveTo>
                    <a:lnTo>
                      <a:pt x="2470063" y="266699"/>
                    </a:lnTo>
                    <a:lnTo>
                      <a:pt x="2476544" y="266699"/>
                    </a:lnTo>
                    <a:lnTo>
                      <a:pt x="2476544" y="241299"/>
                    </a:lnTo>
                    <a:close/>
                  </a:path>
                  <a:path w="3439795" h="1447800">
                    <a:moveTo>
                      <a:pt x="2476544" y="241299"/>
                    </a:moveTo>
                    <a:lnTo>
                      <a:pt x="2476544" y="266699"/>
                    </a:lnTo>
                    <a:lnTo>
                      <a:pt x="2480864" y="253999"/>
                    </a:lnTo>
                    <a:lnTo>
                      <a:pt x="2476544" y="241299"/>
                    </a:lnTo>
                    <a:close/>
                  </a:path>
                  <a:path w="3439795" h="1447800">
                    <a:moveTo>
                      <a:pt x="2491665" y="253999"/>
                    </a:moveTo>
                    <a:lnTo>
                      <a:pt x="2480864" y="253999"/>
                    </a:lnTo>
                    <a:lnTo>
                      <a:pt x="2476544" y="266699"/>
                    </a:lnTo>
                    <a:lnTo>
                      <a:pt x="2487345" y="266699"/>
                    </a:lnTo>
                    <a:lnTo>
                      <a:pt x="2491665" y="253999"/>
                    </a:lnTo>
                    <a:close/>
                  </a:path>
                  <a:path w="3439795" h="1447800">
                    <a:moveTo>
                      <a:pt x="2491665" y="253999"/>
                    </a:moveTo>
                    <a:lnTo>
                      <a:pt x="2487345" y="266699"/>
                    </a:lnTo>
                    <a:lnTo>
                      <a:pt x="2489505" y="266699"/>
                    </a:lnTo>
                    <a:lnTo>
                      <a:pt x="2491665" y="253999"/>
                    </a:lnTo>
                    <a:close/>
                  </a:path>
                  <a:path w="3439795" h="1447800">
                    <a:moveTo>
                      <a:pt x="2505923" y="259079"/>
                    </a:moveTo>
                    <a:lnTo>
                      <a:pt x="2504626" y="260349"/>
                    </a:lnTo>
                    <a:lnTo>
                      <a:pt x="2504626" y="266699"/>
                    </a:lnTo>
                    <a:lnTo>
                      <a:pt x="2505923" y="259079"/>
                    </a:lnTo>
                    <a:close/>
                  </a:path>
                  <a:path w="3439795" h="1447800">
                    <a:moveTo>
                      <a:pt x="2511107" y="253999"/>
                    </a:moveTo>
                    <a:lnTo>
                      <a:pt x="2505923" y="259079"/>
                    </a:lnTo>
                    <a:lnTo>
                      <a:pt x="2504626" y="266699"/>
                    </a:lnTo>
                    <a:lnTo>
                      <a:pt x="2511107" y="253999"/>
                    </a:lnTo>
                    <a:close/>
                  </a:path>
                  <a:path w="3439795" h="1447800">
                    <a:moveTo>
                      <a:pt x="2515428" y="253999"/>
                    </a:moveTo>
                    <a:lnTo>
                      <a:pt x="2513267" y="253999"/>
                    </a:lnTo>
                    <a:lnTo>
                      <a:pt x="2515428" y="266699"/>
                    </a:lnTo>
                    <a:lnTo>
                      <a:pt x="2515428" y="253999"/>
                    </a:lnTo>
                    <a:close/>
                  </a:path>
                  <a:path w="3439795" h="1447800">
                    <a:moveTo>
                      <a:pt x="2774563" y="251883"/>
                    </a:moveTo>
                    <a:lnTo>
                      <a:pt x="2772403" y="253999"/>
                    </a:lnTo>
                    <a:lnTo>
                      <a:pt x="2776724" y="266699"/>
                    </a:lnTo>
                    <a:lnTo>
                      <a:pt x="2791845" y="253999"/>
                    </a:lnTo>
                    <a:lnTo>
                      <a:pt x="2774563" y="253999"/>
                    </a:lnTo>
                    <a:lnTo>
                      <a:pt x="2774563" y="251883"/>
                    </a:lnTo>
                    <a:close/>
                  </a:path>
                  <a:path w="3439795" h="1447800">
                    <a:moveTo>
                      <a:pt x="2791845" y="253999"/>
                    </a:moveTo>
                    <a:lnTo>
                      <a:pt x="2776724" y="266699"/>
                    </a:lnTo>
                    <a:lnTo>
                      <a:pt x="2785365" y="260349"/>
                    </a:lnTo>
                    <a:lnTo>
                      <a:pt x="2791845" y="253999"/>
                    </a:lnTo>
                    <a:close/>
                  </a:path>
                  <a:path w="3439795" h="1447800">
                    <a:moveTo>
                      <a:pt x="2785365" y="260349"/>
                    </a:moveTo>
                    <a:lnTo>
                      <a:pt x="2776724" y="266699"/>
                    </a:lnTo>
                    <a:lnTo>
                      <a:pt x="2778884" y="266699"/>
                    </a:lnTo>
                    <a:lnTo>
                      <a:pt x="2785365" y="260349"/>
                    </a:lnTo>
                    <a:close/>
                  </a:path>
                  <a:path w="3439795" h="1447800">
                    <a:moveTo>
                      <a:pt x="2794005" y="253999"/>
                    </a:moveTo>
                    <a:lnTo>
                      <a:pt x="2792277" y="255269"/>
                    </a:lnTo>
                    <a:lnTo>
                      <a:pt x="2796166" y="266699"/>
                    </a:lnTo>
                    <a:lnTo>
                      <a:pt x="2794005" y="253999"/>
                    </a:lnTo>
                    <a:close/>
                  </a:path>
                  <a:path w="3439795" h="1447800">
                    <a:moveTo>
                      <a:pt x="2895446" y="253999"/>
                    </a:moveTo>
                    <a:lnTo>
                      <a:pt x="2897606" y="266699"/>
                    </a:lnTo>
                    <a:lnTo>
                      <a:pt x="2901926" y="266699"/>
                    </a:lnTo>
                    <a:lnTo>
                      <a:pt x="2895446" y="253999"/>
                    </a:lnTo>
                    <a:close/>
                  </a:path>
                  <a:path w="3439795" h="1447800">
                    <a:moveTo>
                      <a:pt x="2905629" y="244928"/>
                    </a:moveTo>
                    <a:lnTo>
                      <a:pt x="2901926" y="247649"/>
                    </a:lnTo>
                    <a:lnTo>
                      <a:pt x="2897606" y="253999"/>
                    </a:lnTo>
                    <a:lnTo>
                      <a:pt x="2895446" y="253999"/>
                    </a:lnTo>
                    <a:lnTo>
                      <a:pt x="2901926" y="266699"/>
                    </a:lnTo>
                    <a:lnTo>
                      <a:pt x="2905629" y="244928"/>
                    </a:lnTo>
                    <a:close/>
                  </a:path>
                  <a:path w="3439795" h="1447800">
                    <a:moveTo>
                      <a:pt x="2910567" y="241299"/>
                    </a:moveTo>
                    <a:lnTo>
                      <a:pt x="2905629" y="244928"/>
                    </a:lnTo>
                    <a:lnTo>
                      <a:pt x="2901926" y="266699"/>
                    </a:lnTo>
                    <a:lnTo>
                      <a:pt x="2910567" y="256539"/>
                    </a:lnTo>
                    <a:lnTo>
                      <a:pt x="2910567" y="241299"/>
                    </a:lnTo>
                    <a:close/>
                  </a:path>
                  <a:path w="3439795" h="1447800">
                    <a:moveTo>
                      <a:pt x="2910567" y="256539"/>
                    </a:moveTo>
                    <a:lnTo>
                      <a:pt x="2901926" y="266699"/>
                    </a:lnTo>
                    <a:lnTo>
                      <a:pt x="2910567" y="266699"/>
                    </a:lnTo>
                    <a:lnTo>
                      <a:pt x="2910567" y="256539"/>
                    </a:lnTo>
                    <a:close/>
                  </a:path>
                  <a:path w="3439795" h="1447800">
                    <a:moveTo>
                      <a:pt x="2911527" y="255411"/>
                    </a:moveTo>
                    <a:lnTo>
                      <a:pt x="2910567" y="256539"/>
                    </a:lnTo>
                    <a:lnTo>
                      <a:pt x="2910567" y="266699"/>
                    </a:lnTo>
                    <a:lnTo>
                      <a:pt x="2911527" y="255411"/>
                    </a:lnTo>
                    <a:close/>
                  </a:path>
                  <a:path w="3439795" h="1447800">
                    <a:moveTo>
                      <a:pt x="2921368" y="241299"/>
                    </a:moveTo>
                    <a:lnTo>
                      <a:pt x="2912727" y="241299"/>
                    </a:lnTo>
                    <a:lnTo>
                      <a:pt x="2912017" y="249825"/>
                    </a:lnTo>
                    <a:lnTo>
                      <a:pt x="2912727" y="253999"/>
                    </a:lnTo>
                    <a:lnTo>
                      <a:pt x="2911527" y="255411"/>
                    </a:lnTo>
                    <a:lnTo>
                      <a:pt x="2910567" y="266699"/>
                    </a:lnTo>
                    <a:lnTo>
                      <a:pt x="2917048" y="266699"/>
                    </a:lnTo>
                    <a:lnTo>
                      <a:pt x="2921368" y="241299"/>
                    </a:lnTo>
                    <a:close/>
                  </a:path>
                  <a:path w="3439795" h="1447800">
                    <a:moveTo>
                      <a:pt x="2921368" y="241299"/>
                    </a:moveTo>
                    <a:lnTo>
                      <a:pt x="2917048" y="266699"/>
                    </a:lnTo>
                    <a:lnTo>
                      <a:pt x="2919208" y="266699"/>
                    </a:lnTo>
                    <a:lnTo>
                      <a:pt x="2921368" y="241299"/>
                    </a:lnTo>
                    <a:close/>
                  </a:path>
                  <a:path w="3439795" h="1447800">
                    <a:moveTo>
                      <a:pt x="2921368" y="241299"/>
                    </a:moveTo>
                    <a:lnTo>
                      <a:pt x="2919208" y="266699"/>
                    </a:lnTo>
                    <a:lnTo>
                      <a:pt x="2923528" y="266699"/>
                    </a:lnTo>
                    <a:lnTo>
                      <a:pt x="2934330" y="253999"/>
                    </a:lnTo>
                    <a:lnTo>
                      <a:pt x="2930009" y="253999"/>
                    </a:lnTo>
                    <a:lnTo>
                      <a:pt x="2921368" y="241299"/>
                    </a:lnTo>
                    <a:close/>
                  </a:path>
                  <a:path w="3439795" h="1447800">
                    <a:moveTo>
                      <a:pt x="2934330" y="253999"/>
                    </a:moveTo>
                    <a:lnTo>
                      <a:pt x="2923528" y="266699"/>
                    </a:lnTo>
                    <a:lnTo>
                      <a:pt x="2925689" y="266699"/>
                    </a:lnTo>
                    <a:lnTo>
                      <a:pt x="2934330" y="253999"/>
                    </a:lnTo>
                    <a:close/>
                  </a:path>
                  <a:path w="3439795" h="1447800">
                    <a:moveTo>
                      <a:pt x="2940810" y="253999"/>
                    </a:moveTo>
                    <a:lnTo>
                      <a:pt x="2934330" y="253999"/>
                    </a:lnTo>
                    <a:lnTo>
                      <a:pt x="2925689" y="266699"/>
                    </a:lnTo>
                    <a:lnTo>
                      <a:pt x="2932169" y="266699"/>
                    </a:lnTo>
                    <a:lnTo>
                      <a:pt x="2940810" y="253999"/>
                    </a:lnTo>
                    <a:close/>
                  </a:path>
                  <a:path w="3439795" h="1447800">
                    <a:moveTo>
                      <a:pt x="2940810" y="253999"/>
                    </a:moveTo>
                    <a:lnTo>
                      <a:pt x="2932169" y="266699"/>
                    </a:lnTo>
                    <a:lnTo>
                      <a:pt x="2938650" y="266699"/>
                    </a:lnTo>
                    <a:lnTo>
                      <a:pt x="2940810" y="253999"/>
                    </a:lnTo>
                    <a:close/>
                  </a:path>
                  <a:path w="3439795" h="1447800">
                    <a:moveTo>
                      <a:pt x="2946211" y="257174"/>
                    </a:moveTo>
                    <a:lnTo>
                      <a:pt x="2949451" y="266699"/>
                    </a:lnTo>
                    <a:lnTo>
                      <a:pt x="2949451" y="260349"/>
                    </a:lnTo>
                    <a:lnTo>
                      <a:pt x="2946211" y="257174"/>
                    </a:lnTo>
                    <a:close/>
                  </a:path>
                  <a:path w="3439795" h="1447800">
                    <a:moveTo>
                      <a:pt x="2951611" y="262466"/>
                    </a:moveTo>
                    <a:lnTo>
                      <a:pt x="2951611" y="266699"/>
                    </a:lnTo>
                    <a:lnTo>
                      <a:pt x="2955932" y="266699"/>
                    </a:lnTo>
                    <a:lnTo>
                      <a:pt x="2951611" y="262466"/>
                    </a:lnTo>
                    <a:close/>
                  </a:path>
                  <a:path w="3439795" h="1447800">
                    <a:moveTo>
                      <a:pt x="2951611" y="261257"/>
                    </a:moveTo>
                    <a:lnTo>
                      <a:pt x="2951611" y="262466"/>
                    </a:lnTo>
                    <a:lnTo>
                      <a:pt x="2955932" y="266699"/>
                    </a:lnTo>
                    <a:lnTo>
                      <a:pt x="2953051" y="262466"/>
                    </a:lnTo>
                    <a:lnTo>
                      <a:pt x="2951611" y="261257"/>
                    </a:lnTo>
                    <a:close/>
                  </a:path>
                  <a:path w="3439795" h="1447800">
                    <a:moveTo>
                      <a:pt x="2953051" y="262466"/>
                    </a:moveTo>
                    <a:lnTo>
                      <a:pt x="2955932" y="266699"/>
                    </a:lnTo>
                    <a:lnTo>
                      <a:pt x="2958092" y="266699"/>
                    </a:lnTo>
                    <a:lnTo>
                      <a:pt x="2953051" y="262466"/>
                    </a:lnTo>
                    <a:close/>
                  </a:path>
                  <a:path w="3439795" h="1447800">
                    <a:moveTo>
                      <a:pt x="2951611" y="253999"/>
                    </a:moveTo>
                    <a:lnTo>
                      <a:pt x="2951611" y="260349"/>
                    </a:lnTo>
                    <a:lnTo>
                      <a:pt x="2953051" y="262466"/>
                    </a:lnTo>
                    <a:lnTo>
                      <a:pt x="2958092" y="266699"/>
                    </a:lnTo>
                    <a:lnTo>
                      <a:pt x="2951611" y="253999"/>
                    </a:lnTo>
                    <a:close/>
                  </a:path>
                  <a:path w="3439795" h="1447800">
                    <a:moveTo>
                      <a:pt x="2960252" y="253999"/>
                    </a:moveTo>
                    <a:lnTo>
                      <a:pt x="2951611" y="253999"/>
                    </a:lnTo>
                    <a:lnTo>
                      <a:pt x="2958092" y="266699"/>
                    </a:lnTo>
                    <a:lnTo>
                      <a:pt x="2960252" y="266699"/>
                    </a:lnTo>
                    <a:lnTo>
                      <a:pt x="2960252" y="253999"/>
                    </a:lnTo>
                    <a:close/>
                  </a:path>
                  <a:path w="3439795" h="1447800">
                    <a:moveTo>
                      <a:pt x="2973213" y="253999"/>
                    </a:moveTo>
                    <a:lnTo>
                      <a:pt x="2960252" y="253999"/>
                    </a:lnTo>
                    <a:lnTo>
                      <a:pt x="2960252" y="266699"/>
                    </a:lnTo>
                    <a:lnTo>
                      <a:pt x="2964573" y="266699"/>
                    </a:lnTo>
                    <a:lnTo>
                      <a:pt x="2973213" y="253999"/>
                    </a:lnTo>
                    <a:close/>
                  </a:path>
                  <a:path w="3439795" h="1447800">
                    <a:moveTo>
                      <a:pt x="2986175" y="253999"/>
                    </a:moveTo>
                    <a:lnTo>
                      <a:pt x="2973213" y="253999"/>
                    </a:lnTo>
                    <a:lnTo>
                      <a:pt x="2968893" y="266699"/>
                    </a:lnTo>
                    <a:lnTo>
                      <a:pt x="2985095" y="266699"/>
                    </a:lnTo>
                    <a:lnTo>
                      <a:pt x="2986175" y="253999"/>
                    </a:lnTo>
                    <a:close/>
                  </a:path>
                  <a:path w="3439795" h="1447800">
                    <a:moveTo>
                      <a:pt x="2990495" y="256835"/>
                    </a:moveTo>
                    <a:lnTo>
                      <a:pt x="2990495" y="266699"/>
                    </a:lnTo>
                    <a:lnTo>
                      <a:pt x="2992655" y="266699"/>
                    </a:lnTo>
                    <a:lnTo>
                      <a:pt x="2991112" y="257628"/>
                    </a:lnTo>
                    <a:lnTo>
                      <a:pt x="2991013" y="257174"/>
                    </a:lnTo>
                    <a:lnTo>
                      <a:pt x="2990495" y="256835"/>
                    </a:lnTo>
                    <a:close/>
                  </a:path>
                  <a:path w="3439795" h="1447800">
                    <a:moveTo>
                      <a:pt x="2991038" y="257191"/>
                    </a:moveTo>
                    <a:lnTo>
                      <a:pt x="2992655" y="266699"/>
                    </a:lnTo>
                    <a:lnTo>
                      <a:pt x="2994816" y="266699"/>
                    </a:lnTo>
                    <a:lnTo>
                      <a:pt x="2999498" y="262743"/>
                    </a:lnTo>
                    <a:lnTo>
                      <a:pt x="2991038" y="257191"/>
                    </a:lnTo>
                    <a:close/>
                  </a:path>
                  <a:path w="3439795" h="1447800">
                    <a:moveTo>
                      <a:pt x="2999498" y="262743"/>
                    </a:moveTo>
                    <a:lnTo>
                      <a:pt x="2994816" y="266699"/>
                    </a:lnTo>
                    <a:lnTo>
                      <a:pt x="2996976" y="266699"/>
                    </a:lnTo>
                    <a:lnTo>
                      <a:pt x="3000391" y="263329"/>
                    </a:lnTo>
                    <a:lnTo>
                      <a:pt x="2999498" y="262743"/>
                    </a:lnTo>
                    <a:close/>
                  </a:path>
                  <a:path w="3439795" h="1447800">
                    <a:moveTo>
                      <a:pt x="202916" y="241299"/>
                    </a:moveTo>
                    <a:lnTo>
                      <a:pt x="185724" y="241299"/>
                    </a:lnTo>
                    <a:lnTo>
                      <a:pt x="181404" y="253999"/>
                    </a:lnTo>
                    <a:lnTo>
                      <a:pt x="198685" y="265341"/>
                    </a:lnTo>
                    <a:lnTo>
                      <a:pt x="198685" y="253999"/>
                    </a:lnTo>
                    <a:lnTo>
                      <a:pt x="202916" y="249825"/>
                    </a:lnTo>
                    <a:lnTo>
                      <a:pt x="202916" y="241299"/>
                    </a:lnTo>
                    <a:close/>
                  </a:path>
                  <a:path w="3439795" h="1447800">
                    <a:moveTo>
                      <a:pt x="203456" y="260349"/>
                    </a:moveTo>
                    <a:lnTo>
                      <a:pt x="202918" y="261615"/>
                    </a:lnTo>
                    <a:lnTo>
                      <a:pt x="202916" y="264159"/>
                    </a:lnTo>
                    <a:lnTo>
                      <a:pt x="203156" y="263877"/>
                    </a:lnTo>
                    <a:lnTo>
                      <a:pt x="203456" y="260349"/>
                    </a:lnTo>
                    <a:close/>
                  </a:path>
                  <a:path w="3439795" h="1447800">
                    <a:moveTo>
                      <a:pt x="211557" y="241299"/>
                    </a:moveTo>
                    <a:lnTo>
                      <a:pt x="203456" y="260349"/>
                    </a:lnTo>
                    <a:lnTo>
                      <a:pt x="203156" y="263877"/>
                    </a:lnTo>
                    <a:lnTo>
                      <a:pt x="206928" y="259442"/>
                    </a:lnTo>
                    <a:lnTo>
                      <a:pt x="211557" y="241299"/>
                    </a:lnTo>
                    <a:close/>
                  </a:path>
                  <a:path w="3439795" h="1447800">
                    <a:moveTo>
                      <a:pt x="3009847" y="253999"/>
                    </a:moveTo>
                    <a:lnTo>
                      <a:pt x="2999498" y="262743"/>
                    </a:lnTo>
                    <a:lnTo>
                      <a:pt x="3000391" y="263329"/>
                    </a:lnTo>
                    <a:lnTo>
                      <a:pt x="3009847" y="253999"/>
                    </a:lnTo>
                    <a:close/>
                  </a:path>
                  <a:path w="3439795" h="1447800">
                    <a:moveTo>
                      <a:pt x="2998383" y="229706"/>
                    </a:moveTo>
                    <a:lnTo>
                      <a:pt x="2990495" y="241299"/>
                    </a:lnTo>
                    <a:lnTo>
                      <a:pt x="2990495" y="253999"/>
                    </a:lnTo>
                    <a:lnTo>
                      <a:pt x="2991038" y="257191"/>
                    </a:lnTo>
                    <a:lnTo>
                      <a:pt x="2999498" y="262743"/>
                    </a:lnTo>
                    <a:lnTo>
                      <a:pt x="3009847" y="253999"/>
                    </a:lnTo>
                    <a:lnTo>
                      <a:pt x="2999136" y="253999"/>
                    </a:lnTo>
                    <a:lnTo>
                      <a:pt x="2999136" y="229939"/>
                    </a:lnTo>
                    <a:lnTo>
                      <a:pt x="2998383" y="229706"/>
                    </a:lnTo>
                    <a:close/>
                  </a:path>
                  <a:path w="3439795" h="1447800">
                    <a:moveTo>
                      <a:pt x="2949451" y="259442"/>
                    </a:moveTo>
                    <a:lnTo>
                      <a:pt x="2949451" y="260349"/>
                    </a:lnTo>
                    <a:lnTo>
                      <a:pt x="2951611" y="262466"/>
                    </a:lnTo>
                    <a:lnTo>
                      <a:pt x="2951611" y="261257"/>
                    </a:lnTo>
                    <a:lnTo>
                      <a:pt x="2949451" y="259442"/>
                    </a:lnTo>
                    <a:close/>
                  </a:path>
                  <a:path w="3439795" h="1447800">
                    <a:moveTo>
                      <a:pt x="2951611" y="260349"/>
                    </a:moveTo>
                    <a:lnTo>
                      <a:pt x="2951611" y="261257"/>
                    </a:lnTo>
                    <a:lnTo>
                      <a:pt x="2953051" y="262466"/>
                    </a:lnTo>
                    <a:lnTo>
                      <a:pt x="2951611" y="260349"/>
                    </a:lnTo>
                    <a:close/>
                  </a:path>
                  <a:path w="3439795" h="1447800">
                    <a:moveTo>
                      <a:pt x="204482" y="248280"/>
                    </a:moveTo>
                    <a:lnTo>
                      <a:pt x="202976" y="249766"/>
                    </a:lnTo>
                    <a:lnTo>
                      <a:pt x="202916" y="261619"/>
                    </a:lnTo>
                    <a:lnTo>
                      <a:pt x="203456" y="260349"/>
                    </a:lnTo>
                    <a:lnTo>
                      <a:pt x="204482" y="248280"/>
                    </a:lnTo>
                    <a:close/>
                  </a:path>
                  <a:path w="3439795" h="1447800">
                    <a:moveTo>
                      <a:pt x="8631" y="241299"/>
                    </a:moveTo>
                    <a:lnTo>
                      <a:pt x="6471" y="253999"/>
                    </a:lnTo>
                    <a:lnTo>
                      <a:pt x="17272" y="253999"/>
                    </a:lnTo>
                    <a:lnTo>
                      <a:pt x="19863" y="261615"/>
                    </a:lnTo>
                    <a:lnTo>
                      <a:pt x="23744" y="253999"/>
                    </a:lnTo>
                    <a:lnTo>
                      <a:pt x="22762" y="251690"/>
                    </a:lnTo>
                    <a:lnTo>
                      <a:pt x="8631" y="241299"/>
                    </a:lnTo>
                    <a:close/>
                  </a:path>
                  <a:path w="3439795" h="1447800">
                    <a:moveTo>
                      <a:pt x="2949451" y="257174"/>
                    </a:moveTo>
                    <a:lnTo>
                      <a:pt x="2949451" y="259442"/>
                    </a:lnTo>
                    <a:lnTo>
                      <a:pt x="2951611" y="261257"/>
                    </a:lnTo>
                    <a:lnTo>
                      <a:pt x="2951611" y="260349"/>
                    </a:lnTo>
                    <a:lnTo>
                      <a:pt x="2949451" y="257174"/>
                    </a:lnTo>
                    <a:close/>
                  </a:path>
                  <a:path w="3439795" h="1447800">
                    <a:moveTo>
                      <a:pt x="211557" y="241299"/>
                    </a:moveTo>
                    <a:lnTo>
                      <a:pt x="204482" y="248280"/>
                    </a:lnTo>
                    <a:lnTo>
                      <a:pt x="203456" y="260349"/>
                    </a:lnTo>
                    <a:lnTo>
                      <a:pt x="211557" y="241299"/>
                    </a:lnTo>
                    <a:close/>
                  </a:path>
                  <a:path w="3439795" h="1447800">
                    <a:moveTo>
                      <a:pt x="265562" y="253999"/>
                    </a:moveTo>
                    <a:lnTo>
                      <a:pt x="261242" y="257628"/>
                    </a:lnTo>
                    <a:lnTo>
                      <a:pt x="261242" y="260349"/>
                    </a:lnTo>
                    <a:lnTo>
                      <a:pt x="265562" y="253999"/>
                    </a:lnTo>
                    <a:close/>
                  </a:path>
                  <a:path w="3439795" h="1447800">
                    <a:moveTo>
                      <a:pt x="2471503" y="244122"/>
                    </a:moveTo>
                    <a:lnTo>
                      <a:pt x="2461422" y="253999"/>
                    </a:lnTo>
                    <a:lnTo>
                      <a:pt x="2463582" y="260349"/>
                    </a:lnTo>
                    <a:lnTo>
                      <a:pt x="2463582" y="253999"/>
                    </a:lnTo>
                    <a:lnTo>
                      <a:pt x="2468983" y="253999"/>
                    </a:lnTo>
                    <a:lnTo>
                      <a:pt x="2471503" y="244122"/>
                    </a:lnTo>
                    <a:close/>
                  </a:path>
                  <a:path w="3439795" h="1447800">
                    <a:moveTo>
                      <a:pt x="2506787" y="253999"/>
                    </a:moveTo>
                    <a:lnTo>
                      <a:pt x="2504626" y="253999"/>
                    </a:lnTo>
                    <a:lnTo>
                      <a:pt x="2504626" y="260349"/>
                    </a:lnTo>
                    <a:lnTo>
                      <a:pt x="2505923" y="259079"/>
                    </a:lnTo>
                    <a:lnTo>
                      <a:pt x="2506787" y="253999"/>
                    </a:lnTo>
                    <a:close/>
                  </a:path>
                  <a:path w="3439795" h="1447800">
                    <a:moveTo>
                      <a:pt x="2791845" y="253999"/>
                    </a:moveTo>
                    <a:lnTo>
                      <a:pt x="2785365" y="260349"/>
                    </a:lnTo>
                    <a:lnTo>
                      <a:pt x="2792277" y="255269"/>
                    </a:lnTo>
                    <a:lnTo>
                      <a:pt x="2791845" y="253999"/>
                    </a:lnTo>
                    <a:close/>
                  </a:path>
                  <a:path w="3439795" h="1447800">
                    <a:moveTo>
                      <a:pt x="2945995" y="256539"/>
                    </a:moveTo>
                    <a:lnTo>
                      <a:pt x="2946228" y="257191"/>
                    </a:lnTo>
                    <a:lnTo>
                      <a:pt x="2949451" y="260349"/>
                    </a:lnTo>
                    <a:lnTo>
                      <a:pt x="2949451" y="259442"/>
                    </a:lnTo>
                    <a:lnTo>
                      <a:pt x="2945995" y="256539"/>
                    </a:lnTo>
                    <a:close/>
                  </a:path>
                  <a:path w="3439795" h="1447800">
                    <a:moveTo>
                      <a:pt x="2951611" y="253999"/>
                    </a:moveTo>
                    <a:lnTo>
                      <a:pt x="2949451" y="253999"/>
                    </a:lnTo>
                    <a:lnTo>
                      <a:pt x="2949462" y="257191"/>
                    </a:lnTo>
                    <a:lnTo>
                      <a:pt x="2951611" y="260349"/>
                    </a:lnTo>
                    <a:lnTo>
                      <a:pt x="2951611" y="253999"/>
                    </a:lnTo>
                    <a:close/>
                  </a:path>
                  <a:path w="3439795" h="1447800">
                    <a:moveTo>
                      <a:pt x="211557" y="241299"/>
                    </a:moveTo>
                    <a:lnTo>
                      <a:pt x="206928" y="259442"/>
                    </a:lnTo>
                    <a:lnTo>
                      <a:pt x="209396" y="256539"/>
                    </a:lnTo>
                    <a:lnTo>
                      <a:pt x="209396" y="253999"/>
                    </a:lnTo>
                    <a:lnTo>
                      <a:pt x="211557" y="253999"/>
                    </a:lnTo>
                    <a:lnTo>
                      <a:pt x="211557" y="241299"/>
                    </a:lnTo>
                    <a:close/>
                  </a:path>
                  <a:path w="3439795" h="1447800">
                    <a:moveTo>
                      <a:pt x="2947291" y="253999"/>
                    </a:moveTo>
                    <a:lnTo>
                      <a:pt x="2945131" y="253999"/>
                    </a:lnTo>
                    <a:lnTo>
                      <a:pt x="2945995" y="256539"/>
                    </a:lnTo>
                    <a:lnTo>
                      <a:pt x="2949451" y="259442"/>
                    </a:lnTo>
                    <a:lnTo>
                      <a:pt x="2949451" y="257174"/>
                    </a:lnTo>
                    <a:lnTo>
                      <a:pt x="2947291" y="253999"/>
                    </a:lnTo>
                    <a:close/>
                  </a:path>
                  <a:path w="3439795" h="1447800">
                    <a:moveTo>
                      <a:pt x="2511107" y="253999"/>
                    </a:moveTo>
                    <a:lnTo>
                      <a:pt x="2506787" y="253999"/>
                    </a:lnTo>
                    <a:lnTo>
                      <a:pt x="2505923" y="259079"/>
                    </a:lnTo>
                    <a:lnTo>
                      <a:pt x="2511107" y="253999"/>
                    </a:lnTo>
                    <a:close/>
                  </a:path>
                  <a:path w="3439795" h="1447800">
                    <a:moveTo>
                      <a:pt x="464212" y="253999"/>
                    </a:moveTo>
                    <a:lnTo>
                      <a:pt x="462052" y="253999"/>
                    </a:lnTo>
                    <a:lnTo>
                      <a:pt x="464212" y="258233"/>
                    </a:lnTo>
                    <a:lnTo>
                      <a:pt x="464212" y="253999"/>
                    </a:lnTo>
                    <a:close/>
                  </a:path>
                  <a:path w="3439795" h="1447800">
                    <a:moveTo>
                      <a:pt x="265562" y="253999"/>
                    </a:moveTo>
                    <a:lnTo>
                      <a:pt x="261242" y="253999"/>
                    </a:lnTo>
                    <a:lnTo>
                      <a:pt x="261242" y="257628"/>
                    </a:lnTo>
                    <a:lnTo>
                      <a:pt x="265562" y="253999"/>
                    </a:lnTo>
                    <a:close/>
                  </a:path>
                  <a:path w="3439795" h="1447800">
                    <a:moveTo>
                      <a:pt x="2990495" y="253999"/>
                    </a:moveTo>
                    <a:lnTo>
                      <a:pt x="2990495" y="256835"/>
                    </a:lnTo>
                    <a:lnTo>
                      <a:pt x="2991038" y="257191"/>
                    </a:lnTo>
                    <a:lnTo>
                      <a:pt x="2990495" y="253999"/>
                    </a:lnTo>
                    <a:close/>
                  </a:path>
                  <a:path w="3439795" h="1447800">
                    <a:moveTo>
                      <a:pt x="2942970" y="253999"/>
                    </a:moveTo>
                    <a:lnTo>
                      <a:pt x="2946211" y="257174"/>
                    </a:lnTo>
                    <a:lnTo>
                      <a:pt x="2945995" y="256539"/>
                    </a:lnTo>
                    <a:lnTo>
                      <a:pt x="2942970" y="253999"/>
                    </a:lnTo>
                    <a:close/>
                  </a:path>
                  <a:path w="3439795" h="1447800">
                    <a:moveTo>
                      <a:pt x="2949451" y="253999"/>
                    </a:moveTo>
                    <a:lnTo>
                      <a:pt x="2947291" y="253999"/>
                    </a:lnTo>
                    <a:lnTo>
                      <a:pt x="2949451" y="257174"/>
                    </a:lnTo>
                    <a:lnTo>
                      <a:pt x="2949451" y="253999"/>
                    </a:lnTo>
                    <a:close/>
                  </a:path>
                  <a:path w="3439795" h="1447800">
                    <a:moveTo>
                      <a:pt x="211557" y="253999"/>
                    </a:moveTo>
                    <a:lnTo>
                      <a:pt x="209396" y="253999"/>
                    </a:lnTo>
                    <a:lnTo>
                      <a:pt x="209396" y="256539"/>
                    </a:lnTo>
                    <a:lnTo>
                      <a:pt x="211557" y="253999"/>
                    </a:lnTo>
                    <a:close/>
                  </a:path>
                  <a:path w="3439795" h="1447800">
                    <a:moveTo>
                      <a:pt x="2910567" y="241299"/>
                    </a:moveTo>
                    <a:lnTo>
                      <a:pt x="2910567" y="256539"/>
                    </a:lnTo>
                    <a:lnTo>
                      <a:pt x="2911527" y="255411"/>
                    </a:lnTo>
                    <a:lnTo>
                      <a:pt x="2912007" y="249766"/>
                    </a:lnTo>
                    <a:lnTo>
                      <a:pt x="2910567" y="241299"/>
                    </a:lnTo>
                    <a:close/>
                  </a:path>
                  <a:path w="3439795" h="1447800">
                    <a:moveTo>
                      <a:pt x="2945131" y="253999"/>
                    </a:moveTo>
                    <a:lnTo>
                      <a:pt x="2942970" y="253999"/>
                    </a:lnTo>
                    <a:lnTo>
                      <a:pt x="2945995" y="256539"/>
                    </a:lnTo>
                    <a:lnTo>
                      <a:pt x="2945131" y="253999"/>
                    </a:lnTo>
                    <a:close/>
                  </a:path>
                  <a:path w="3439795" h="1447800">
                    <a:moveTo>
                      <a:pt x="2912007" y="249766"/>
                    </a:moveTo>
                    <a:lnTo>
                      <a:pt x="2911527" y="255411"/>
                    </a:lnTo>
                    <a:lnTo>
                      <a:pt x="2912727" y="253999"/>
                    </a:lnTo>
                    <a:lnTo>
                      <a:pt x="2912007" y="249766"/>
                    </a:lnTo>
                    <a:close/>
                  </a:path>
                  <a:path w="3439795" h="1447800">
                    <a:moveTo>
                      <a:pt x="2988335" y="253999"/>
                    </a:moveTo>
                    <a:lnTo>
                      <a:pt x="2986175" y="253999"/>
                    </a:lnTo>
                    <a:lnTo>
                      <a:pt x="2988118" y="255275"/>
                    </a:lnTo>
                    <a:lnTo>
                      <a:pt x="2988335" y="253999"/>
                    </a:lnTo>
                    <a:close/>
                  </a:path>
                  <a:path w="3439795" h="1447800">
                    <a:moveTo>
                      <a:pt x="2794005" y="253999"/>
                    </a:moveTo>
                    <a:lnTo>
                      <a:pt x="2791845" y="253999"/>
                    </a:lnTo>
                    <a:lnTo>
                      <a:pt x="2792277" y="255269"/>
                    </a:lnTo>
                    <a:lnTo>
                      <a:pt x="2794005" y="253999"/>
                    </a:lnTo>
                    <a:close/>
                  </a:path>
                  <a:path w="3439795" h="1447800">
                    <a:moveTo>
                      <a:pt x="22762" y="251690"/>
                    </a:moveTo>
                    <a:lnTo>
                      <a:pt x="23744" y="253999"/>
                    </a:lnTo>
                    <a:lnTo>
                      <a:pt x="24464" y="252941"/>
                    </a:lnTo>
                    <a:lnTo>
                      <a:pt x="22762" y="251690"/>
                    </a:lnTo>
                    <a:close/>
                  </a:path>
                  <a:path w="3439795" h="1447800">
                    <a:moveTo>
                      <a:pt x="24464" y="252941"/>
                    </a:moveTo>
                    <a:lnTo>
                      <a:pt x="23744" y="253999"/>
                    </a:lnTo>
                    <a:lnTo>
                      <a:pt x="25904" y="253999"/>
                    </a:lnTo>
                    <a:lnTo>
                      <a:pt x="24464" y="252941"/>
                    </a:lnTo>
                    <a:close/>
                  </a:path>
                  <a:path w="3439795" h="1447800">
                    <a:moveTo>
                      <a:pt x="25904" y="250824"/>
                    </a:moveTo>
                    <a:lnTo>
                      <a:pt x="24464" y="252941"/>
                    </a:lnTo>
                    <a:lnTo>
                      <a:pt x="25904" y="253999"/>
                    </a:lnTo>
                    <a:lnTo>
                      <a:pt x="25904" y="250824"/>
                    </a:lnTo>
                    <a:close/>
                  </a:path>
                  <a:path w="3439795" h="1447800">
                    <a:moveTo>
                      <a:pt x="120918" y="228599"/>
                    </a:moveTo>
                    <a:lnTo>
                      <a:pt x="90675" y="228599"/>
                    </a:lnTo>
                    <a:lnTo>
                      <a:pt x="82034" y="241299"/>
                    </a:lnTo>
                    <a:lnTo>
                      <a:pt x="118757" y="253999"/>
                    </a:lnTo>
                    <a:lnTo>
                      <a:pt x="120918" y="253999"/>
                    </a:lnTo>
                    <a:lnTo>
                      <a:pt x="120918" y="228599"/>
                    </a:lnTo>
                    <a:close/>
                  </a:path>
                  <a:path w="3439795" h="1447800">
                    <a:moveTo>
                      <a:pt x="123078" y="228599"/>
                    </a:moveTo>
                    <a:lnTo>
                      <a:pt x="120918" y="228599"/>
                    </a:lnTo>
                    <a:lnTo>
                      <a:pt x="120918" y="253999"/>
                    </a:lnTo>
                    <a:lnTo>
                      <a:pt x="123078" y="228599"/>
                    </a:lnTo>
                    <a:close/>
                  </a:path>
                  <a:path w="3439795" h="1447800">
                    <a:moveTo>
                      <a:pt x="131719" y="228599"/>
                    </a:moveTo>
                    <a:lnTo>
                      <a:pt x="123078" y="228599"/>
                    </a:lnTo>
                    <a:lnTo>
                      <a:pt x="120918" y="253999"/>
                    </a:lnTo>
                    <a:lnTo>
                      <a:pt x="129558" y="253999"/>
                    </a:lnTo>
                    <a:lnTo>
                      <a:pt x="131719" y="228599"/>
                    </a:lnTo>
                    <a:close/>
                  </a:path>
                  <a:path w="3439795" h="1447800">
                    <a:moveTo>
                      <a:pt x="146840" y="228599"/>
                    </a:moveTo>
                    <a:lnTo>
                      <a:pt x="131719" y="228599"/>
                    </a:lnTo>
                    <a:lnTo>
                      <a:pt x="129558" y="253999"/>
                    </a:lnTo>
                    <a:lnTo>
                      <a:pt x="146840" y="253999"/>
                    </a:lnTo>
                    <a:lnTo>
                      <a:pt x="146840" y="228599"/>
                    </a:lnTo>
                    <a:close/>
                  </a:path>
                  <a:path w="3439795" h="1447800">
                    <a:moveTo>
                      <a:pt x="164122" y="228599"/>
                    </a:moveTo>
                    <a:lnTo>
                      <a:pt x="146840" y="228599"/>
                    </a:lnTo>
                    <a:lnTo>
                      <a:pt x="146840" y="253999"/>
                    </a:lnTo>
                    <a:lnTo>
                      <a:pt x="161962" y="253999"/>
                    </a:lnTo>
                    <a:lnTo>
                      <a:pt x="168442" y="241299"/>
                    </a:lnTo>
                    <a:lnTo>
                      <a:pt x="164122" y="228599"/>
                    </a:lnTo>
                    <a:close/>
                  </a:path>
                  <a:path w="3439795" h="1447800">
                    <a:moveTo>
                      <a:pt x="168442" y="241299"/>
                    </a:moveTo>
                    <a:lnTo>
                      <a:pt x="161962" y="253999"/>
                    </a:lnTo>
                    <a:lnTo>
                      <a:pt x="164122" y="253999"/>
                    </a:lnTo>
                    <a:lnTo>
                      <a:pt x="168442" y="241299"/>
                    </a:lnTo>
                    <a:close/>
                  </a:path>
                  <a:path w="3439795" h="1447800">
                    <a:moveTo>
                      <a:pt x="185724" y="241299"/>
                    </a:moveTo>
                    <a:lnTo>
                      <a:pt x="168442" y="241299"/>
                    </a:lnTo>
                    <a:lnTo>
                      <a:pt x="164122" y="253999"/>
                    </a:lnTo>
                    <a:lnTo>
                      <a:pt x="181404" y="253999"/>
                    </a:lnTo>
                    <a:lnTo>
                      <a:pt x="185724" y="241299"/>
                    </a:lnTo>
                    <a:close/>
                  </a:path>
                  <a:path w="3439795" h="1447800">
                    <a:moveTo>
                      <a:pt x="2461422" y="228599"/>
                    </a:moveTo>
                    <a:lnTo>
                      <a:pt x="2459262" y="241299"/>
                    </a:lnTo>
                    <a:lnTo>
                      <a:pt x="2459262" y="253999"/>
                    </a:lnTo>
                    <a:lnTo>
                      <a:pt x="2461422" y="253999"/>
                    </a:lnTo>
                    <a:lnTo>
                      <a:pt x="2471503" y="244122"/>
                    </a:lnTo>
                    <a:lnTo>
                      <a:pt x="2472223" y="241299"/>
                    </a:lnTo>
                    <a:lnTo>
                      <a:pt x="2468335" y="233679"/>
                    </a:lnTo>
                    <a:lnTo>
                      <a:pt x="2461422" y="228599"/>
                    </a:lnTo>
                    <a:close/>
                  </a:path>
                  <a:path w="3439795" h="1447800">
                    <a:moveTo>
                      <a:pt x="2591035" y="228599"/>
                    </a:moveTo>
                    <a:lnTo>
                      <a:pt x="2588875" y="228599"/>
                    </a:lnTo>
                    <a:lnTo>
                      <a:pt x="2578517" y="238749"/>
                    </a:lnTo>
                    <a:lnTo>
                      <a:pt x="2578074" y="241299"/>
                    </a:lnTo>
                    <a:lnTo>
                      <a:pt x="2586715" y="253999"/>
                    </a:lnTo>
                    <a:lnTo>
                      <a:pt x="2591035" y="228599"/>
                    </a:lnTo>
                    <a:close/>
                  </a:path>
                  <a:path w="3439795" h="1447800">
                    <a:moveTo>
                      <a:pt x="2597516" y="228599"/>
                    </a:moveTo>
                    <a:lnTo>
                      <a:pt x="2591035" y="228599"/>
                    </a:lnTo>
                    <a:lnTo>
                      <a:pt x="2586715" y="253999"/>
                    </a:lnTo>
                    <a:lnTo>
                      <a:pt x="2597516" y="228599"/>
                    </a:lnTo>
                    <a:close/>
                  </a:path>
                  <a:path w="3439795" h="1447800">
                    <a:moveTo>
                      <a:pt x="2606157" y="228599"/>
                    </a:moveTo>
                    <a:lnTo>
                      <a:pt x="2597516" y="228599"/>
                    </a:lnTo>
                    <a:lnTo>
                      <a:pt x="2586715" y="253999"/>
                    </a:lnTo>
                    <a:lnTo>
                      <a:pt x="2606157" y="253999"/>
                    </a:lnTo>
                    <a:lnTo>
                      <a:pt x="2606157" y="228599"/>
                    </a:lnTo>
                    <a:close/>
                  </a:path>
                  <a:path w="3439795" h="1447800">
                    <a:moveTo>
                      <a:pt x="2621278" y="228599"/>
                    </a:moveTo>
                    <a:lnTo>
                      <a:pt x="2606157" y="228599"/>
                    </a:lnTo>
                    <a:lnTo>
                      <a:pt x="2606157" y="253999"/>
                    </a:lnTo>
                    <a:lnTo>
                      <a:pt x="2621278" y="253999"/>
                    </a:lnTo>
                    <a:lnTo>
                      <a:pt x="2621278" y="244474"/>
                    </a:lnTo>
                    <a:lnTo>
                      <a:pt x="2619118" y="241299"/>
                    </a:lnTo>
                    <a:lnTo>
                      <a:pt x="2621278" y="237066"/>
                    </a:lnTo>
                    <a:lnTo>
                      <a:pt x="2621278" y="228599"/>
                    </a:lnTo>
                    <a:close/>
                  </a:path>
                  <a:path w="3439795" h="1447800">
                    <a:moveTo>
                      <a:pt x="2621278" y="244474"/>
                    </a:moveTo>
                    <a:lnTo>
                      <a:pt x="2621278" y="253999"/>
                    </a:lnTo>
                    <a:lnTo>
                      <a:pt x="2627759" y="253999"/>
                    </a:lnTo>
                    <a:lnTo>
                      <a:pt x="2621278" y="244474"/>
                    </a:lnTo>
                    <a:close/>
                  </a:path>
                  <a:path w="3439795" h="1447800">
                    <a:moveTo>
                      <a:pt x="2625599" y="228599"/>
                    </a:moveTo>
                    <a:lnTo>
                      <a:pt x="2621309" y="237007"/>
                    </a:lnTo>
                    <a:lnTo>
                      <a:pt x="2621278" y="244474"/>
                    </a:lnTo>
                    <a:lnTo>
                      <a:pt x="2627759" y="253999"/>
                    </a:lnTo>
                    <a:lnTo>
                      <a:pt x="2627744" y="230716"/>
                    </a:lnTo>
                    <a:lnTo>
                      <a:pt x="2625599" y="228599"/>
                    </a:lnTo>
                    <a:close/>
                  </a:path>
                  <a:path w="3439795" h="1447800">
                    <a:moveTo>
                      <a:pt x="2627759" y="230731"/>
                    </a:moveTo>
                    <a:lnTo>
                      <a:pt x="2627759" y="253999"/>
                    </a:lnTo>
                    <a:lnTo>
                      <a:pt x="2635229" y="239181"/>
                    </a:lnTo>
                    <a:lnTo>
                      <a:pt x="2634119" y="237007"/>
                    </a:lnTo>
                    <a:lnTo>
                      <a:pt x="2627759" y="230731"/>
                    </a:lnTo>
                    <a:close/>
                  </a:path>
                  <a:path w="3439795" h="1447800">
                    <a:moveTo>
                      <a:pt x="2634149" y="241299"/>
                    </a:moveTo>
                    <a:lnTo>
                      <a:pt x="2627759" y="253999"/>
                    </a:lnTo>
                    <a:lnTo>
                      <a:pt x="2631989" y="253999"/>
                    </a:lnTo>
                    <a:lnTo>
                      <a:pt x="2634149" y="241299"/>
                    </a:lnTo>
                    <a:close/>
                  </a:path>
                  <a:path w="3439795" h="1447800">
                    <a:moveTo>
                      <a:pt x="2731359" y="228599"/>
                    </a:moveTo>
                    <a:lnTo>
                      <a:pt x="2720558" y="241299"/>
                    </a:lnTo>
                    <a:lnTo>
                      <a:pt x="2724879" y="253999"/>
                    </a:lnTo>
                    <a:lnTo>
                      <a:pt x="2733519" y="241299"/>
                    </a:lnTo>
                    <a:lnTo>
                      <a:pt x="2724879" y="241299"/>
                    </a:lnTo>
                    <a:lnTo>
                      <a:pt x="2731359" y="228599"/>
                    </a:lnTo>
                    <a:close/>
                  </a:path>
                  <a:path w="3439795" h="1447800">
                    <a:moveTo>
                      <a:pt x="2735680" y="228599"/>
                    </a:moveTo>
                    <a:lnTo>
                      <a:pt x="2731359" y="228599"/>
                    </a:lnTo>
                    <a:lnTo>
                      <a:pt x="2724879" y="241299"/>
                    </a:lnTo>
                    <a:lnTo>
                      <a:pt x="2733519" y="241299"/>
                    </a:lnTo>
                    <a:lnTo>
                      <a:pt x="2724879" y="253999"/>
                    </a:lnTo>
                    <a:lnTo>
                      <a:pt x="2742160" y="241299"/>
                    </a:lnTo>
                    <a:lnTo>
                      <a:pt x="2735680" y="228599"/>
                    </a:lnTo>
                    <a:close/>
                  </a:path>
                  <a:path w="3439795" h="1447800">
                    <a:moveTo>
                      <a:pt x="2755122" y="241299"/>
                    </a:moveTo>
                    <a:lnTo>
                      <a:pt x="2742160" y="241299"/>
                    </a:lnTo>
                    <a:lnTo>
                      <a:pt x="2724879" y="253999"/>
                    </a:lnTo>
                    <a:lnTo>
                      <a:pt x="2755122" y="253999"/>
                    </a:lnTo>
                    <a:lnTo>
                      <a:pt x="2755122" y="241299"/>
                    </a:lnTo>
                    <a:close/>
                  </a:path>
                  <a:path w="3439795" h="1447800">
                    <a:moveTo>
                      <a:pt x="2774563" y="241299"/>
                    </a:moveTo>
                    <a:lnTo>
                      <a:pt x="2755122" y="241299"/>
                    </a:lnTo>
                    <a:lnTo>
                      <a:pt x="2755122" y="253999"/>
                    </a:lnTo>
                    <a:lnTo>
                      <a:pt x="2768083" y="253999"/>
                    </a:lnTo>
                    <a:lnTo>
                      <a:pt x="2774563" y="241299"/>
                    </a:lnTo>
                    <a:close/>
                  </a:path>
                  <a:path w="3439795" h="1447800">
                    <a:moveTo>
                      <a:pt x="2774563" y="241299"/>
                    </a:moveTo>
                    <a:lnTo>
                      <a:pt x="2768083" y="253999"/>
                    </a:lnTo>
                    <a:lnTo>
                      <a:pt x="2772403" y="253999"/>
                    </a:lnTo>
                    <a:lnTo>
                      <a:pt x="2774563" y="251883"/>
                    </a:lnTo>
                    <a:lnTo>
                      <a:pt x="2774563" y="241299"/>
                    </a:lnTo>
                    <a:close/>
                  </a:path>
                  <a:path w="3439795" h="1447800">
                    <a:moveTo>
                      <a:pt x="2785365" y="241299"/>
                    </a:moveTo>
                    <a:lnTo>
                      <a:pt x="2774563" y="251883"/>
                    </a:lnTo>
                    <a:lnTo>
                      <a:pt x="2774563" y="253999"/>
                    </a:lnTo>
                    <a:lnTo>
                      <a:pt x="2785365" y="241299"/>
                    </a:lnTo>
                    <a:close/>
                  </a:path>
                  <a:path w="3439795" h="1447800">
                    <a:moveTo>
                      <a:pt x="2787525" y="241299"/>
                    </a:moveTo>
                    <a:lnTo>
                      <a:pt x="2785365" y="241299"/>
                    </a:lnTo>
                    <a:lnTo>
                      <a:pt x="2774563" y="253999"/>
                    </a:lnTo>
                    <a:lnTo>
                      <a:pt x="2791845" y="253999"/>
                    </a:lnTo>
                    <a:lnTo>
                      <a:pt x="2787525" y="241299"/>
                    </a:lnTo>
                    <a:close/>
                  </a:path>
                  <a:path w="3439795" h="1447800">
                    <a:moveTo>
                      <a:pt x="2882484" y="241299"/>
                    </a:moveTo>
                    <a:lnTo>
                      <a:pt x="2882484" y="253999"/>
                    </a:lnTo>
                    <a:lnTo>
                      <a:pt x="2893285" y="253999"/>
                    </a:lnTo>
                    <a:lnTo>
                      <a:pt x="2882484" y="241299"/>
                    </a:lnTo>
                    <a:close/>
                  </a:path>
                  <a:path w="3439795" h="1447800">
                    <a:moveTo>
                      <a:pt x="2893285" y="228599"/>
                    </a:moveTo>
                    <a:lnTo>
                      <a:pt x="2886805" y="228599"/>
                    </a:lnTo>
                    <a:lnTo>
                      <a:pt x="2882484" y="241299"/>
                    </a:lnTo>
                    <a:lnTo>
                      <a:pt x="2893285" y="253999"/>
                    </a:lnTo>
                    <a:lnTo>
                      <a:pt x="2888965" y="241299"/>
                    </a:lnTo>
                    <a:lnTo>
                      <a:pt x="2893285" y="241299"/>
                    </a:lnTo>
                    <a:lnTo>
                      <a:pt x="2893285" y="228599"/>
                    </a:lnTo>
                    <a:close/>
                  </a:path>
                  <a:path w="3439795" h="1447800">
                    <a:moveTo>
                      <a:pt x="2893285" y="241299"/>
                    </a:moveTo>
                    <a:lnTo>
                      <a:pt x="2888965" y="241299"/>
                    </a:lnTo>
                    <a:lnTo>
                      <a:pt x="2893285" y="253999"/>
                    </a:lnTo>
                    <a:lnTo>
                      <a:pt x="2893285" y="241299"/>
                    </a:lnTo>
                    <a:close/>
                  </a:path>
                  <a:path w="3439795" h="1447800">
                    <a:moveTo>
                      <a:pt x="2893285" y="228599"/>
                    </a:moveTo>
                    <a:lnTo>
                      <a:pt x="2893285" y="253999"/>
                    </a:lnTo>
                    <a:lnTo>
                      <a:pt x="2897606" y="247649"/>
                    </a:lnTo>
                    <a:lnTo>
                      <a:pt x="2897606" y="234949"/>
                    </a:lnTo>
                    <a:lnTo>
                      <a:pt x="2893285" y="228599"/>
                    </a:lnTo>
                    <a:close/>
                  </a:path>
                  <a:path w="3439795" h="1447800">
                    <a:moveTo>
                      <a:pt x="2897606" y="247649"/>
                    </a:moveTo>
                    <a:lnTo>
                      <a:pt x="2893285" y="253999"/>
                    </a:lnTo>
                    <a:lnTo>
                      <a:pt x="2897606" y="250824"/>
                    </a:lnTo>
                    <a:lnTo>
                      <a:pt x="2897606" y="247649"/>
                    </a:lnTo>
                    <a:close/>
                  </a:path>
                  <a:path w="3439795" h="1447800">
                    <a:moveTo>
                      <a:pt x="2897606" y="250824"/>
                    </a:moveTo>
                    <a:lnTo>
                      <a:pt x="2893285" y="253999"/>
                    </a:lnTo>
                    <a:lnTo>
                      <a:pt x="2897606" y="253999"/>
                    </a:lnTo>
                    <a:lnTo>
                      <a:pt x="2897606" y="250824"/>
                    </a:lnTo>
                    <a:close/>
                  </a:path>
                  <a:path w="3439795" h="1447800">
                    <a:moveTo>
                      <a:pt x="2901926" y="247649"/>
                    </a:moveTo>
                    <a:lnTo>
                      <a:pt x="2897606" y="250824"/>
                    </a:lnTo>
                    <a:lnTo>
                      <a:pt x="2897606" y="253999"/>
                    </a:lnTo>
                    <a:lnTo>
                      <a:pt x="2901926" y="247649"/>
                    </a:lnTo>
                    <a:close/>
                  </a:path>
                  <a:path w="3439795" h="1447800">
                    <a:moveTo>
                      <a:pt x="2999136" y="229939"/>
                    </a:moveTo>
                    <a:lnTo>
                      <a:pt x="2999136" y="253999"/>
                    </a:lnTo>
                    <a:lnTo>
                      <a:pt x="3005527" y="253999"/>
                    </a:lnTo>
                    <a:lnTo>
                      <a:pt x="3005527" y="238091"/>
                    </a:lnTo>
                    <a:lnTo>
                      <a:pt x="3000276" y="230293"/>
                    </a:lnTo>
                    <a:lnTo>
                      <a:pt x="2999136" y="229939"/>
                    </a:lnTo>
                    <a:close/>
                  </a:path>
                  <a:path w="3439795" h="1447800">
                    <a:moveTo>
                      <a:pt x="3005527" y="238091"/>
                    </a:moveTo>
                    <a:lnTo>
                      <a:pt x="3005527" y="253999"/>
                    </a:lnTo>
                    <a:lnTo>
                      <a:pt x="3007687" y="253999"/>
                    </a:lnTo>
                    <a:lnTo>
                      <a:pt x="3007687" y="241299"/>
                    </a:lnTo>
                    <a:lnTo>
                      <a:pt x="3005527" y="238091"/>
                    </a:lnTo>
                    <a:close/>
                  </a:path>
                  <a:path w="3439795" h="1447800">
                    <a:moveTo>
                      <a:pt x="3007687" y="232591"/>
                    </a:moveTo>
                    <a:lnTo>
                      <a:pt x="3007687" y="253999"/>
                    </a:lnTo>
                    <a:lnTo>
                      <a:pt x="3016328" y="253999"/>
                    </a:lnTo>
                    <a:lnTo>
                      <a:pt x="3016328" y="235270"/>
                    </a:lnTo>
                    <a:lnTo>
                      <a:pt x="3007687" y="232591"/>
                    </a:lnTo>
                    <a:close/>
                  </a:path>
                  <a:path w="3439795" h="1447800">
                    <a:moveTo>
                      <a:pt x="3016328" y="235270"/>
                    </a:moveTo>
                    <a:lnTo>
                      <a:pt x="3016328" y="253999"/>
                    </a:lnTo>
                    <a:lnTo>
                      <a:pt x="3022808" y="253999"/>
                    </a:lnTo>
                    <a:lnTo>
                      <a:pt x="3027129" y="241299"/>
                    </a:lnTo>
                    <a:lnTo>
                      <a:pt x="3031449" y="241299"/>
                    </a:lnTo>
                    <a:lnTo>
                      <a:pt x="3030294" y="239601"/>
                    </a:lnTo>
                    <a:lnTo>
                      <a:pt x="3016328" y="235270"/>
                    </a:lnTo>
                    <a:close/>
                  </a:path>
                  <a:path w="3439795" h="1447800">
                    <a:moveTo>
                      <a:pt x="3031449" y="241299"/>
                    </a:moveTo>
                    <a:lnTo>
                      <a:pt x="3027129" y="241299"/>
                    </a:lnTo>
                    <a:lnTo>
                      <a:pt x="3022808" y="253999"/>
                    </a:lnTo>
                    <a:lnTo>
                      <a:pt x="3031449" y="241299"/>
                    </a:lnTo>
                    <a:close/>
                  </a:path>
                  <a:path w="3439795" h="1447800">
                    <a:moveTo>
                      <a:pt x="3040090" y="241299"/>
                    </a:moveTo>
                    <a:lnTo>
                      <a:pt x="3031449" y="241299"/>
                    </a:lnTo>
                    <a:lnTo>
                      <a:pt x="3022808" y="253999"/>
                    </a:lnTo>
                    <a:lnTo>
                      <a:pt x="3040090" y="253999"/>
                    </a:lnTo>
                    <a:lnTo>
                      <a:pt x="3040090" y="241299"/>
                    </a:lnTo>
                    <a:close/>
                  </a:path>
                  <a:path w="3439795" h="1447800">
                    <a:moveTo>
                      <a:pt x="3042250" y="241299"/>
                    </a:moveTo>
                    <a:lnTo>
                      <a:pt x="3040090" y="241299"/>
                    </a:lnTo>
                    <a:lnTo>
                      <a:pt x="3040090" y="253999"/>
                    </a:lnTo>
                    <a:lnTo>
                      <a:pt x="3042250" y="241299"/>
                    </a:lnTo>
                    <a:close/>
                  </a:path>
                  <a:path w="3439795" h="1447800">
                    <a:moveTo>
                      <a:pt x="3042250" y="241299"/>
                    </a:moveTo>
                    <a:lnTo>
                      <a:pt x="3040090" y="253999"/>
                    </a:lnTo>
                    <a:lnTo>
                      <a:pt x="3044411" y="253999"/>
                    </a:lnTo>
                    <a:lnTo>
                      <a:pt x="3044411" y="243839"/>
                    </a:lnTo>
                    <a:lnTo>
                      <a:pt x="3042250" y="241299"/>
                    </a:lnTo>
                    <a:close/>
                  </a:path>
                  <a:path w="3439795" h="1447800">
                    <a:moveTo>
                      <a:pt x="3044411" y="243839"/>
                    </a:moveTo>
                    <a:lnTo>
                      <a:pt x="3044411" y="253999"/>
                    </a:lnTo>
                    <a:lnTo>
                      <a:pt x="3046571" y="253999"/>
                    </a:lnTo>
                    <a:lnTo>
                      <a:pt x="3046571" y="246379"/>
                    </a:lnTo>
                    <a:lnTo>
                      <a:pt x="3044411" y="243839"/>
                    </a:lnTo>
                    <a:close/>
                  </a:path>
                  <a:path w="3439795" h="1447800">
                    <a:moveTo>
                      <a:pt x="3046571" y="246379"/>
                    </a:moveTo>
                    <a:lnTo>
                      <a:pt x="3046571" y="253999"/>
                    </a:lnTo>
                    <a:lnTo>
                      <a:pt x="3053051" y="253999"/>
                    </a:lnTo>
                    <a:lnTo>
                      <a:pt x="3046571" y="246379"/>
                    </a:lnTo>
                    <a:close/>
                  </a:path>
                  <a:path w="3439795" h="1447800">
                    <a:moveTo>
                      <a:pt x="3046571" y="244928"/>
                    </a:moveTo>
                    <a:lnTo>
                      <a:pt x="3046571" y="246379"/>
                    </a:lnTo>
                    <a:lnTo>
                      <a:pt x="3053051" y="253999"/>
                    </a:lnTo>
                    <a:lnTo>
                      <a:pt x="3051323" y="248919"/>
                    </a:lnTo>
                    <a:lnTo>
                      <a:pt x="3046571" y="244928"/>
                    </a:lnTo>
                    <a:close/>
                  </a:path>
                  <a:path w="3439795" h="1447800">
                    <a:moveTo>
                      <a:pt x="3051323" y="248919"/>
                    </a:moveTo>
                    <a:lnTo>
                      <a:pt x="3053051" y="253999"/>
                    </a:lnTo>
                    <a:lnTo>
                      <a:pt x="3055212" y="253999"/>
                    </a:lnTo>
                    <a:lnTo>
                      <a:pt x="3055212" y="252185"/>
                    </a:lnTo>
                    <a:lnTo>
                      <a:pt x="3051323" y="248919"/>
                    </a:lnTo>
                    <a:close/>
                  </a:path>
                  <a:path w="3439795" h="1447800">
                    <a:moveTo>
                      <a:pt x="3055212" y="252185"/>
                    </a:moveTo>
                    <a:lnTo>
                      <a:pt x="3055212" y="253999"/>
                    </a:lnTo>
                    <a:lnTo>
                      <a:pt x="3057372" y="253999"/>
                    </a:lnTo>
                    <a:lnTo>
                      <a:pt x="3055212" y="252185"/>
                    </a:lnTo>
                    <a:close/>
                  </a:path>
                  <a:path w="3439795" h="1447800">
                    <a:moveTo>
                      <a:pt x="3055212" y="251883"/>
                    </a:moveTo>
                    <a:lnTo>
                      <a:pt x="3055212" y="252185"/>
                    </a:lnTo>
                    <a:lnTo>
                      <a:pt x="3057372" y="253999"/>
                    </a:lnTo>
                    <a:lnTo>
                      <a:pt x="3055212" y="251883"/>
                    </a:lnTo>
                    <a:close/>
                  </a:path>
                  <a:path w="3439795" h="1447800">
                    <a:moveTo>
                      <a:pt x="3055212" y="250824"/>
                    </a:moveTo>
                    <a:lnTo>
                      <a:pt x="3055212" y="251883"/>
                    </a:lnTo>
                    <a:lnTo>
                      <a:pt x="3057372" y="253999"/>
                    </a:lnTo>
                    <a:lnTo>
                      <a:pt x="3055212" y="250824"/>
                    </a:lnTo>
                    <a:close/>
                  </a:path>
                  <a:path w="3439795" h="1447800">
                    <a:moveTo>
                      <a:pt x="3055212" y="248919"/>
                    </a:moveTo>
                    <a:lnTo>
                      <a:pt x="3055212" y="250824"/>
                    </a:lnTo>
                    <a:lnTo>
                      <a:pt x="3057372" y="253999"/>
                    </a:lnTo>
                    <a:lnTo>
                      <a:pt x="3059532" y="253999"/>
                    </a:lnTo>
                    <a:lnTo>
                      <a:pt x="3055212" y="248919"/>
                    </a:lnTo>
                    <a:close/>
                  </a:path>
                  <a:path w="3439795" h="1447800">
                    <a:moveTo>
                      <a:pt x="3055212" y="228599"/>
                    </a:moveTo>
                    <a:lnTo>
                      <a:pt x="3055212" y="248919"/>
                    </a:lnTo>
                    <a:lnTo>
                      <a:pt x="3059532" y="253999"/>
                    </a:lnTo>
                    <a:lnTo>
                      <a:pt x="3055212" y="228599"/>
                    </a:lnTo>
                    <a:close/>
                  </a:path>
                  <a:path w="3439795" h="1447800">
                    <a:moveTo>
                      <a:pt x="3061692" y="215899"/>
                    </a:moveTo>
                    <a:lnTo>
                      <a:pt x="3044411" y="215899"/>
                    </a:lnTo>
                    <a:lnTo>
                      <a:pt x="3055212" y="228599"/>
                    </a:lnTo>
                    <a:lnTo>
                      <a:pt x="3059532" y="253999"/>
                    </a:lnTo>
                    <a:lnTo>
                      <a:pt x="3059532" y="228599"/>
                    </a:lnTo>
                    <a:lnTo>
                      <a:pt x="3061692" y="228599"/>
                    </a:lnTo>
                    <a:lnTo>
                      <a:pt x="3061692" y="215899"/>
                    </a:lnTo>
                    <a:close/>
                  </a:path>
                  <a:path w="3439795" h="1447800">
                    <a:moveTo>
                      <a:pt x="3070333" y="228599"/>
                    </a:moveTo>
                    <a:lnTo>
                      <a:pt x="3059532" y="228599"/>
                    </a:lnTo>
                    <a:lnTo>
                      <a:pt x="3059532" y="253999"/>
                    </a:lnTo>
                    <a:lnTo>
                      <a:pt x="3068173" y="253999"/>
                    </a:lnTo>
                    <a:lnTo>
                      <a:pt x="3070333" y="248919"/>
                    </a:lnTo>
                    <a:lnTo>
                      <a:pt x="3070333" y="228599"/>
                    </a:lnTo>
                    <a:close/>
                  </a:path>
                  <a:path w="3439795" h="1447800">
                    <a:moveTo>
                      <a:pt x="3070333" y="248919"/>
                    </a:moveTo>
                    <a:lnTo>
                      <a:pt x="3068173" y="253999"/>
                    </a:lnTo>
                    <a:lnTo>
                      <a:pt x="3070333" y="253999"/>
                    </a:lnTo>
                    <a:lnTo>
                      <a:pt x="3070333" y="248919"/>
                    </a:lnTo>
                    <a:close/>
                  </a:path>
                  <a:path w="3439795" h="1447800">
                    <a:moveTo>
                      <a:pt x="3078974" y="228599"/>
                    </a:moveTo>
                    <a:lnTo>
                      <a:pt x="3070333" y="248919"/>
                    </a:lnTo>
                    <a:lnTo>
                      <a:pt x="3070333" y="253999"/>
                    </a:lnTo>
                    <a:lnTo>
                      <a:pt x="3072493" y="253999"/>
                    </a:lnTo>
                    <a:lnTo>
                      <a:pt x="3078974" y="228599"/>
                    </a:lnTo>
                    <a:close/>
                  </a:path>
                  <a:path w="3439795" h="1447800">
                    <a:moveTo>
                      <a:pt x="3078974" y="228599"/>
                    </a:moveTo>
                    <a:lnTo>
                      <a:pt x="3072493" y="253999"/>
                    </a:lnTo>
                    <a:lnTo>
                      <a:pt x="3074654" y="253999"/>
                    </a:lnTo>
                    <a:lnTo>
                      <a:pt x="3089775" y="241299"/>
                    </a:lnTo>
                    <a:lnTo>
                      <a:pt x="3087615" y="241299"/>
                    </a:lnTo>
                    <a:lnTo>
                      <a:pt x="3078974" y="228599"/>
                    </a:lnTo>
                    <a:close/>
                  </a:path>
                  <a:path w="3439795" h="1447800">
                    <a:moveTo>
                      <a:pt x="3089775" y="241299"/>
                    </a:moveTo>
                    <a:lnTo>
                      <a:pt x="3074654" y="253999"/>
                    </a:lnTo>
                    <a:lnTo>
                      <a:pt x="3076814" y="253999"/>
                    </a:lnTo>
                    <a:lnTo>
                      <a:pt x="3089775" y="241299"/>
                    </a:lnTo>
                    <a:close/>
                  </a:path>
                  <a:path w="3439795" h="1447800">
                    <a:moveTo>
                      <a:pt x="3372673" y="228599"/>
                    </a:moveTo>
                    <a:lnTo>
                      <a:pt x="3359712" y="228599"/>
                    </a:lnTo>
                    <a:lnTo>
                      <a:pt x="3355392" y="241299"/>
                    </a:lnTo>
                    <a:lnTo>
                      <a:pt x="3370513" y="253999"/>
                    </a:lnTo>
                    <a:lnTo>
                      <a:pt x="3372673" y="228599"/>
                    </a:lnTo>
                    <a:close/>
                  </a:path>
                  <a:path w="3439795" h="1447800">
                    <a:moveTo>
                      <a:pt x="3376904" y="228599"/>
                    </a:moveTo>
                    <a:lnTo>
                      <a:pt x="3372673" y="228599"/>
                    </a:lnTo>
                    <a:lnTo>
                      <a:pt x="3370513" y="253999"/>
                    </a:lnTo>
                    <a:lnTo>
                      <a:pt x="3376904" y="228599"/>
                    </a:lnTo>
                    <a:close/>
                  </a:path>
                  <a:path w="3439795" h="1447800">
                    <a:moveTo>
                      <a:pt x="3398506" y="228599"/>
                    </a:moveTo>
                    <a:lnTo>
                      <a:pt x="3376904" y="228599"/>
                    </a:lnTo>
                    <a:lnTo>
                      <a:pt x="3370513" y="253999"/>
                    </a:lnTo>
                    <a:lnTo>
                      <a:pt x="3374834" y="253999"/>
                    </a:lnTo>
                    <a:lnTo>
                      <a:pt x="3400666" y="241299"/>
                    </a:lnTo>
                    <a:lnTo>
                      <a:pt x="3398506" y="241299"/>
                    </a:lnTo>
                    <a:lnTo>
                      <a:pt x="3398506" y="228599"/>
                    </a:lnTo>
                    <a:close/>
                  </a:path>
                  <a:path w="3439795" h="1447800">
                    <a:moveTo>
                      <a:pt x="3402826" y="241299"/>
                    </a:moveTo>
                    <a:lnTo>
                      <a:pt x="3402826" y="253999"/>
                    </a:lnTo>
                    <a:lnTo>
                      <a:pt x="3413628" y="253999"/>
                    </a:lnTo>
                    <a:lnTo>
                      <a:pt x="3402826" y="241299"/>
                    </a:lnTo>
                    <a:close/>
                  </a:path>
                  <a:path w="3439795" h="1447800">
                    <a:moveTo>
                      <a:pt x="3411467" y="231139"/>
                    </a:moveTo>
                    <a:lnTo>
                      <a:pt x="3402826" y="241299"/>
                    </a:lnTo>
                    <a:lnTo>
                      <a:pt x="3413628" y="253999"/>
                    </a:lnTo>
                    <a:lnTo>
                      <a:pt x="3417948" y="253999"/>
                    </a:lnTo>
                    <a:lnTo>
                      <a:pt x="3417948" y="245533"/>
                    </a:lnTo>
                    <a:lnTo>
                      <a:pt x="3416868" y="241299"/>
                    </a:lnTo>
                    <a:lnTo>
                      <a:pt x="3411467" y="241299"/>
                    </a:lnTo>
                    <a:lnTo>
                      <a:pt x="3411467" y="231139"/>
                    </a:lnTo>
                    <a:close/>
                  </a:path>
                  <a:path w="3439795" h="1447800">
                    <a:moveTo>
                      <a:pt x="3417948" y="245533"/>
                    </a:moveTo>
                    <a:lnTo>
                      <a:pt x="3417948" y="253999"/>
                    </a:lnTo>
                    <a:lnTo>
                      <a:pt x="3420108" y="253999"/>
                    </a:lnTo>
                    <a:lnTo>
                      <a:pt x="3417948" y="245533"/>
                    </a:lnTo>
                    <a:close/>
                  </a:path>
                  <a:path w="3439795" h="1447800">
                    <a:moveTo>
                      <a:pt x="3417948" y="234949"/>
                    </a:moveTo>
                    <a:lnTo>
                      <a:pt x="3417948" y="245533"/>
                    </a:lnTo>
                    <a:lnTo>
                      <a:pt x="3420108" y="253999"/>
                    </a:lnTo>
                    <a:lnTo>
                      <a:pt x="3420085" y="238091"/>
                    </a:lnTo>
                    <a:lnTo>
                      <a:pt x="3417948" y="234949"/>
                    </a:lnTo>
                    <a:close/>
                  </a:path>
                  <a:path w="3439795" h="1447800">
                    <a:moveTo>
                      <a:pt x="3420108" y="238124"/>
                    </a:moveTo>
                    <a:lnTo>
                      <a:pt x="3420108" y="253999"/>
                    </a:lnTo>
                    <a:lnTo>
                      <a:pt x="3426589" y="253999"/>
                    </a:lnTo>
                    <a:lnTo>
                      <a:pt x="3430909" y="241299"/>
                    </a:lnTo>
                    <a:lnTo>
                      <a:pt x="3422268" y="241299"/>
                    </a:lnTo>
                    <a:lnTo>
                      <a:pt x="3420108" y="238124"/>
                    </a:lnTo>
                    <a:close/>
                  </a:path>
                  <a:path w="3439795" h="1447800">
                    <a:moveTo>
                      <a:pt x="12952" y="228599"/>
                    </a:moveTo>
                    <a:lnTo>
                      <a:pt x="22762" y="251690"/>
                    </a:lnTo>
                    <a:lnTo>
                      <a:pt x="24464" y="252941"/>
                    </a:lnTo>
                    <a:lnTo>
                      <a:pt x="25904" y="250824"/>
                    </a:lnTo>
                    <a:lnTo>
                      <a:pt x="25904" y="241299"/>
                    </a:lnTo>
                    <a:lnTo>
                      <a:pt x="12952" y="228599"/>
                    </a:lnTo>
                    <a:close/>
                  </a:path>
                  <a:path w="3439795" h="1447800">
                    <a:moveTo>
                      <a:pt x="3050891" y="247649"/>
                    </a:moveTo>
                    <a:lnTo>
                      <a:pt x="3051323" y="248919"/>
                    </a:lnTo>
                    <a:lnTo>
                      <a:pt x="3055212" y="252185"/>
                    </a:lnTo>
                    <a:lnTo>
                      <a:pt x="3055212" y="251883"/>
                    </a:lnTo>
                    <a:lnTo>
                      <a:pt x="3050891" y="247649"/>
                    </a:lnTo>
                    <a:close/>
                  </a:path>
                  <a:path w="3439795" h="1447800">
                    <a:moveTo>
                      <a:pt x="2785365" y="241299"/>
                    </a:moveTo>
                    <a:lnTo>
                      <a:pt x="2774563" y="241299"/>
                    </a:lnTo>
                    <a:lnTo>
                      <a:pt x="2774563" y="251883"/>
                    </a:lnTo>
                    <a:lnTo>
                      <a:pt x="2785365" y="241299"/>
                    </a:lnTo>
                    <a:close/>
                  </a:path>
                  <a:path w="3439795" h="1447800">
                    <a:moveTo>
                      <a:pt x="3048731" y="241299"/>
                    </a:moveTo>
                    <a:lnTo>
                      <a:pt x="3050891" y="247649"/>
                    </a:lnTo>
                    <a:lnTo>
                      <a:pt x="3055212" y="251883"/>
                    </a:lnTo>
                    <a:lnTo>
                      <a:pt x="3055212" y="250824"/>
                    </a:lnTo>
                    <a:lnTo>
                      <a:pt x="3048731" y="241299"/>
                    </a:lnTo>
                    <a:close/>
                  </a:path>
                  <a:path w="3439795" h="1447800">
                    <a:moveTo>
                      <a:pt x="12952" y="228599"/>
                    </a:moveTo>
                    <a:lnTo>
                      <a:pt x="10792" y="241299"/>
                    </a:lnTo>
                    <a:lnTo>
                      <a:pt x="8631" y="241299"/>
                    </a:lnTo>
                    <a:lnTo>
                      <a:pt x="22762" y="251690"/>
                    </a:lnTo>
                    <a:lnTo>
                      <a:pt x="12952" y="228599"/>
                    </a:lnTo>
                    <a:close/>
                  </a:path>
                  <a:path w="3439795" h="1447800">
                    <a:moveTo>
                      <a:pt x="19432" y="228599"/>
                    </a:moveTo>
                    <a:lnTo>
                      <a:pt x="12952" y="228599"/>
                    </a:lnTo>
                    <a:lnTo>
                      <a:pt x="25904" y="241299"/>
                    </a:lnTo>
                    <a:lnTo>
                      <a:pt x="25904" y="250824"/>
                    </a:lnTo>
                    <a:lnTo>
                      <a:pt x="32385" y="241299"/>
                    </a:lnTo>
                    <a:lnTo>
                      <a:pt x="32385" y="239484"/>
                    </a:lnTo>
                    <a:lnTo>
                      <a:pt x="19432" y="228599"/>
                    </a:lnTo>
                    <a:close/>
                  </a:path>
                  <a:path w="3439795" h="1447800">
                    <a:moveTo>
                      <a:pt x="2897606" y="228599"/>
                    </a:moveTo>
                    <a:lnTo>
                      <a:pt x="2897606" y="234949"/>
                    </a:lnTo>
                    <a:lnTo>
                      <a:pt x="2901926" y="241299"/>
                    </a:lnTo>
                    <a:lnTo>
                      <a:pt x="2897606" y="247649"/>
                    </a:lnTo>
                    <a:lnTo>
                      <a:pt x="2897606" y="250824"/>
                    </a:lnTo>
                    <a:lnTo>
                      <a:pt x="2901926" y="247649"/>
                    </a:lnTo>
                    <a:lnTo>
                      <a:pt x="2906247" y="241299"/>
                    </a:lnTo>
                    <a:lnTo>
                      <a:pt x="2904086" y="241299"/>
                    </a:lnTo>
                    <a:lnTo>
                      <a:pt x="2904953" y="239601"/>
                    </a:lnTo>
                    <a:lnTo>
                      <a:pt x="2904913" y="239339"/>
                    </a:lnTo>
                    <a:lnTo>
                      <a:pt x="2897606" y="228599"/>
                    </a:lnTo>
                    <a:close/>
                  </a:path>
                  <a:path w="3439795" h="1447800">
                    <a:moveTo>
                      <a:pt x="3048731" y="241299"/>
                    </a:moveTo>
                    <a:lnTo>
                      <a:pt x="3055212" y="250824"/>
                    </a:lnTo>
                    <a:lnTo>
                      <a:pt x="3055212" y="248919"/>
                    </a:lnTo>
                    <a:lnTo>
                      <a:pt x="3048731" y="241299"/>
                    </a:lnTo>
                    <a:close/>
                  </a:path>
                  <a:path w="3439795" h="1447800">
                    <a:moveTo>
                      <a:pt x="205076" y="241299"/>
                    </a:moveTo>
                    <a:lnTo>
                      <a:pt x="202916" y="241299"/>
                    </a:lnTo>
                    <a:lnTo>
                      <a:pt x="202916" y="249825"/>
                    </a:lnTo>
                    <a:lnTo>
                      <a:pt x="204482" y="248280"/>
                    </a:lnTo>
                    <a:lnTo>
                      <a:pt x="205076" y="241299"/>
                    </a:lnTo>
                    <a:close/>
                  </a:path>
                  <a:path w="3439795" h="1447800">
                    <a:moveTo>
                      <a:pt x="2912727" y="241299"/>
                    </a:moveTo>
                    <a:lnTo>
                      <a:pt x="2910567" y="241299"/>
                    </a:lnTo>
                    <a:lnTo>
                      <a:pt x="2912007" y="249766"/>
                    </a:lnTo>
                    <a:lnTo>
                      <a:pt x="2912727" y="241299"/>
                    </a:lnTo>
                    <a:close/>
                  </a:path>
                  <a:path w="3439795" h="1447800">
                    <a:moveTo>
                      <a:pt x="3046571" y="243416"/>
                    </a:moveTo>
                    <a:lnTo>
                      <a:pt x="3046571" y="244928"/>
                    </a:lnTo>
                    <a:lnTo>
                      <a:pt x="3051323" y="248919"/>
                    </a:lnTo>
                    <a:lnTo>
                      <a:pt x="3050891" y="247649"/>
                    </a:lnTo>
                    <a:lnTo>
                      <a:pt x="3046571" y="243416"/>
                    </a:lnTo>
                    <a:close/>
                  </a:path>
                  <a:path w="3439795" h="1447800">
                    <a:moveTo>
                      <a:pt x="3044411" y="215899"/>
                    </a:moveTo>
                    <a:lnTo>
                      <a:pt x="3047651" y="222249"/>
                    </a:lnTo>
                    <a:lnTo>
                      <a:pt x="3053051" y="228599"/>
                    </a:lnTo>
                    <a:lnTo>
                      <a:pt x="3050891" y="228599"/>
                    </a:lnTo>
                    <a:lnTo>
                      <a:pt x="3048731" y="241299"/>
                    </a:lnTo>
                    <a:lnTo>
                      <a:pt x="3055212" y="248919"/>
                    </a:lnTo>
                    <a:lnTo>
                      <a:pt x="3055212" y="228599"/>
                    </a:lnTo>
                    <a:lnTo>
                      <a:pt x="3053051" y="228599"/>
                    </a:lnTo>
                    <a:lnTo>
                      <a:pt x="3047651" y="222249"/>
                    </a:lnTo>
                    <a:lnTo>
                      <a:pt x="3049811" y="222249"/>
                    </a:lnTo>
                    <a:lnTo>
                      <a:pt x="3044411" y="215899"/>
                    </a:lnTo>
                    <a:close/>
                  </a:path>
                  <a:path w="3439795" h="1447800">
                    <a:moveTo>
                      <a:pt x="3074654" y="215899"/>
                    </a:moveTo>
                    <a:lnTo>
                      <a:pt x="3072493" y="215899"/>
                    </a:lnTo>
                    <a:lnTo>
                      <a:pt x="3072493" y="228599"/>
                    </a:lnTo>
                    <a:lnTo>
                      <a:pt x="3070333" y="228599"/>
                    </a:lnTo>
                    <a:lnTo>
                      <a:pt x="3070333" y="248919"/>
                    </a:lnTo>
                    <a:lnTo>
                      <a:pt x="3078974" y="228599"/>
                    </a:lnTo>
                    <a:lnTo>
                      <a:pt x="3074654" y="215899"/>
                    </a:lnTo>
                    <a:close/>
                  </a:path>
                  <a:path w="3439795" h="1447800">
                    <a:moveTo>
                      <a:pt x="211557" y="241299"/>
                    </a:moveTo>
                    <a:lnTo>
                      <a:pt x="205076" y="241299"/>
                    </a:lnTo>
                    <a:lnTo>
                      <a:pt x="204482" y="248280"/>
                    </a:lnTo>
                    <a:lnTo>
                      <a:pt x="211557" y="241299"/>
                    </a:lnTo>
                    <a:close/>
                  </a:path>
                  <a:path w="3439795" h="1447800">
                    <a:moveTo>
                      <a:pt x="2897606" y="234949"/>
                    </a:moveTo>
                    <a:lnTo>
                      <a:pt x="2897606" y="247649"/>
                    </a:lnTo>
                    <a:lnTo>
                      <a:pt x="2901926" y="241299"/>
                    </a:lnTo>
                    <a:lnTo>
                      <a:pt x="2897606" y="234949"/>
                    </a:lnTo>
                    <a:close/>
                  </a:path>
                  <a:path w="3439795" h="1447800">
                    <a:moveTo>
                      <a:pt x="2906247" y="241299"/>
                    </a:moveTo>
                    <a:lnTo>
                      <a:pt x="2901926" y="247649"/>
                    </a:lnTo>
                    <a:lnTo>
                      <a:pt x="2905629" y="244928"/>
                    </a:lnTo>
                    <a:lnTo>
                      <a:pt x="2906247" y="241299"/>
                    </a:lnTo>
                    <a:close/>
                  </a:path>
                  <a:path w="3439795" h="1447800">
                    <a:moveTo>
                      <a:pt x="3048731" y="241299"/>
                    </a:moveTo>
                    <a:lnTo>
                      <a:pt x="3046571" y="241299"/>
                    </a:lnTo>
                    <a:lnTo>
                      <a:pt x="3046571" y="243416"/>
                    </a:lnTo>
                    <a:lnTo>
                      <a:pt x="3050891" y="247649"/>
                    </a:lnTo>
                    <a:lnTo>
                      <a:pt x="3048731" y="241299"/>
                    </a:lnTo>
                    <a:close/>
                  </a:path>
                  <a:path w="3439795" h="1447800">
                    <a:moveTo>
                      <a:pt x="3044411" y="243114"/>
                    </a:moveTo>
                    <a:lnTo>
                      <a:pt x="3044411" y="243839"/>
                    </a:lnTo>
                    <a:lnTo>
                      <a:pt x="3046571" y="246379"/>
                    </a:lnTo>
                    <a:lnTo>
                      <a:pt x="3046571" y="244928"/>
                    </a:lnTo>
                    <a:lnTo>
                      <a:pt x="3044411" y="243114"/>
                    </a:lnTo>
                    <a:close/>
                  </a:path>
                  <a:path w="3439795" h="1447800">
                    <a:moveTo>
                      <a:pt x="3413628" y="228599"/>
                    </a:moveTo>
                    <a:lnTo>
                      <a:pt x="3417948" y="245533"/>
                    </a:lnTo>
                    <a:lnTo>
                      <a:pt x="3417948" y="234949"/>
                    </a:lnTo>
                    <a:lnTo>
                      <a:pt x="3413628" y="228599"/>
                    </a:lnTo>
                    <a:close/>
                  </a:path>
                  <a:path w="3439795" h="1447800">
                    <a:moveTo>
                      <a:pt x="2910567" y="241299"/>
                    </a:moveTo>
                    <a:lnTo>
                      <a:pt x="2906247" y="241299"/>
                    </a:lnTo>
                    <a:lnTo>
                      <a:pt x="2905629" y="244928"/>
                    </a:lnTo>
                    <a:lnTo>
                      <a:pt x="2910567" y="241299"/>
                    </a:lnTo>
                    <a:close/>
                  </a:path>
                  <a:path w="3439795" h="1447800">
                    <a:moveTo>
                      <a:pt x="3044411" y="241299"/>
                    </a:moveTo>
                    <a:lnTo>
                      <a:pt x="3044411" y="243114"/>
                    </a:lnTo>
                    <a:lnTo>
                      <a:pt x="3046571" y="244928"/>
                    </a:lnTo>
                    <a:lnTo>
                      <a:pt x="3046571" y="243416"/>
                    </a:lnTo>
                    <a:lnTo>
                      <a:pt x="3044411" y="241299"/>
                    </a:lnTo>
                    <a:close/>
                  </a:path>
                  <a:path w="3439795" h="1447800">
                    <a:moveTo>
                      <a:pt x="2621278" y="237066"/>
                    </a:moveTo>
                    <a:lnTo>
                      <a:pt x="2619118" y="241299"/>
                    </a:lnTo>
                    <a:lnTo>
                      <a:pt x="2621278" y="244474"/>
                    </a:lnTo>
                    <a:lnTo>
                      <a:pt x="2621278" y="237066"/>
                    </a:lnTo>
                    <a:close/>
                  </a:path>
                  <a:path w="3439795" h="1447800">
                    <a:moveTo>
                      <a:pt x="2468335" y="233679"/>
                    </a:moveTo>
                    <a:lnTo>
                      <a:pt x="2472223" y="241299"/>
                    </a:lnTo>
                    <a:lnTo>
                      <a:pt x="2471503" y="244122"/>
                    </a:lnTo>
                    <a:lnTo>
                      <a:pt x="2474383" y="241299"/>
                    </a:lnTo>
                    <a:lnTo>
                      <a:pt x="2476544" y="241299"/>
                    </a:lnTo>
                    <a:lnTo>
                      <a:pt x="2474383" y="238124"/>
                    </a:lnTo>
                    <a:lnTo>
                      <a:pt x="2468335" y="233679"/>
                    </a:lnTo>
                    <a:close/>
                  </a:path>
                  <a:path w="3439795" h="1447800">
                    <a:moveTo>
                      <a:pt x="3042250" y="241299"/>
                    </a:moveTo>
                    <a:lnTo>
                      <a:pt x="3044411" y="243839"/>
                    </a:lnTo>
                    <a:lnTo>
                      <a:pt x="3044411" y="243114"/>
                    </a:lnTo>
                    <a:lnTo>
                      <a:pt x="3042250" y="241299"/>
                    </a:lnTo>
                    <a:close/>
                  </a:path>
                  <a:path w="3439795" h="1447800">
                    <a:moveTo>
                      <a:pt x="3048731" y="228599"/>
                    </a:moveTo>
                    <a:lnTo>
                      <a:pt x="3044411" y="241299"/>
                    </a:lnTo>
                    <a:lnTo>
                      <a:pt x="3046571" y="243416"/>
                    </a:lnTo>
                    <a:lnTo>
                      <a:pt x="3046571" y="241299"/>
                    </a:lnTo>
                    <a:lnTo>
                      <a:pt x="3048731" y="228599"/>
                    </a:lnTo>
                    <a:close/>
                  </a:path>
                  <a:path w="3439795" h="1447800">
                    <a:moveTo>
                      <a:pt x="3037930" y="215899"/>
                    </a:moveTo>
                    <a:lnTo>
                      <a:pt x="3035770" y="215899"/>
                    </a:lnTo>
                    <a:lnTo>
                      <a:pt x="3035770" y="241299"/>
                    </a:lnTo>
                    <a:lnTo>
                      <a:pt x="3042250" y="241299"/>
                    </a:lnTo>
                    <a:lnTo>
                      <a:pt x="3044411" y="243114"/>
                    </a:lnTo>
                    <a:lnTo>
                      <a:pt x="3044411" y="241299"/>
                    </a:lnTo>
                    <a:lnTo>
                      <a:pt x="3037930" y="215899"/>
                    </a:lnTo>
                    <a:close/>
                  </a:path>
                  <a:path w="3439795" h="1447800">
                    <a:moveTo>
                      <a:pt x="32385" y="239484"/>
                    </a:moveTo>
                    <a:lnTo>
                      <a:pt x="32385" y="241299"/>
                    </a:lnTo>
                    <a:lnTo>
                      <a:pt x="34545" y="241299"/>
                    </a:lnTo>
                    <a:lnTo>
                      <a:pt x="32385" y="239484"/>
                    </a:lnTo>
                    <a:close/>
                  </a:path>
                  <a:path w="3439795" h="1447800">
                    <a:moveTo>
                      <a:pt x="32385" y="239181"/>
                    </a:moveTo>
                    <a:lnTo>
                      <a:pt x="32386" y="239485"/>
                    </a:lnTo>
                    <a:lnTo>
                      <a:pt x="34545" y="241299"/>
                    </a:lnTo>
                    <a:lnTo>
                      <a:pt x="32385" y="239181"/>
                    </a:lnTo>
                    <a:close/>
                  </a:path>
                  <a:path w="3439795" h="1447800">
                    <a:moveTo>
                      <a:pt x="32385" y="215899"/>
                    </a:moveTo>
                    <a:lnTo>
                      <a:pt x="32386" y="239183"/>
                    </a:lnTo>
                    <a:lnTo>
                      <a:pt x="34545" y="241299"/>
                    </a:lnTo>
                    <a:lnTo>
                      <a:pt x="38865" y="228599"/>
                    </a:lnTo>
                    <a:lnTo>
                      <a:pt x="32385" y="215899"/>
                    </a:lnTo>
                    <a:close/>
                  </a:path>
                  <a:path w="3439795" h="1447800">
                    <a:moveTo>
                      <a:pt x="56138" y="215899"/>
                    </a:moveTo>
                    <a:lnTo>
                      <a:pt x="32385" y="215899"/>
                    </a:lnTo>
                    <a:lnTo>
                      <a:pt x="38865" y="228599"/>
                    </a:lnTo>
                    <a:lnTo>
                      <a:pt x="34545" y="241299"/>
                    </a:lnTo>
                    <a:lnTo>
                      <a:pt x="56138" y="241299"/>
                    </a:lnTo>
                    <a:lnTo>
                      <a:pt x="56138" y="215899"/>
                    </a:lnTo>
                    <a:close/>
                  </a:path>
                  <a:path w="3439795" h="1447800">
                    <a:moveTo>
                      <a:pt x="79874" y="215899"/>
                    </a:moveTo>
                    <a:lnTo>
                      <a:pt x="56138" y="215899"/>
                    </a:lnTo>
                    <a:lnTo>
                      <a:pt x="56138" y="241299"/>
                    </a:lnTo>
                    <a:lnTo>
                      <a:pt x="73393" y="241299"/>
                    </a:lnTo>
                    <a:lnTo>
                      <a:pt x="71251" y="228599"/>
                    </a:lnTo>
                    <a:lnTo>
                      <a:pt x="86354" y="228599"/>
                    </a:lnTo>
                    <a:lnTo>
                      <a:pt x="79874" y="215899"/>
                    </a:lnTo>
                    <a:close/>
                  </a:path>
                  <a:path w="3439795" h="1447800">
                    <a:moveTo>
                      <a:pt x="84194" y="228599"/>
                    </a:moveTo>
                    <a:lnTo>
                      <a:pt x="71251" y="228599"/>
                    </a:lnTo>
                    <a:lnTo>
                      <a:pt x="73393" y="241299"/>
                    </a:lnTo>
                    <a:lnTo>
                      <a:pt x="83474" y="232833"/>
                    </a:lnTo>
                    <a:lnTo>
                      <a:pt x="84194" y="228599"/>
                    </a:lnTo>
                    <a:close/>
                  </a:path>
                  <a:path w="3439795" h="1447800">
                    <a:moveTo>
                      <a:pt x="83474" y="232833"/>
                    </a:moveTo>
                    <a:lnTo>
                      <a:pt x="73393" y="241299"/>
                    </a:lnTo>
                    <a:lnTo>
                      <a:pt x="79874" y="241299"/>
                    </a:lnTo>
                    <a:lnTo>
                      <a:pt x="83114" y="234949"/>
                    </a:lnTo>
                    <a:lnTo>
                      <a:pt x="83474" y="232833"/>
                    </a:lnTo>
                    <a:close/>
                  </a:path>
                  <a:path w="3439795" h="1447800">
                    <a:moveTo>
                      <a:pt x="83114" y="234949"/>
                    </a:moveTo>
                    <a:lnTo>
                      <a:pt x="79874" y="241299"/>
                    </a:lnTo>
                    <a:lnTo>
                      <a:pt x="82034" y="241299"/>
                    </a:lnTo>
                    <a:lnTo>
                      <a:pt x="83114" y="234949"/>
                    </a:lnTo>
                    <a:close/>
                  </a:path>
                  <a:path w="3439795" h="1447800">
                    <a:moveTo>
                      <a:pt x="90675" y="228599"/>
                    </a:moveTo>
                    <a:lnTo>
                      <a:pt x="88514" y="228599"/>
                    </a:lnTo>
                    <a:lnTo>
                      <a:pt x="84734" y="231774"/>
                    </a:lnTo>
                    <a:lnTo>
                      <a:pt x="83114" y="234949"/>
                    </a:lnTo>
                    <a:lnTo>
                      <a:pt x="82034" y="241299"/>
                    </a:lnTo>
                    <a:lnTo>
                      <a:pt x="90675" y="228599"/>
                    </a:lnTo>
                    <a:close/>
                  </a:path>
                  <a:path w="3439795" h="1447800">
                    <a:moveTo>
                      <a:pt x="166282" y="228599"/>
                    </a:moveTo>
                    <a:lnTo>
                      <a:pt x="164122" y="228599"/>
                    </a:lnTo>
                    <a:lnTo>
                      <a:pt x="168442" y="241299"/>
                    </a:lnTo>
                    <a:lnTo>
                      <a:pt x="166282" y="228599"/>
                    </a:lnTo>
                    <a:close/>
                  </a:path>
                  <a:path w="3439795" h="1447800">
                    <a:moveTo>
                      <a:pt x="2474383" y="238124"/>
                    </a:moveTo>
                    <a:lnTo>
                      <a:pt x="2476544" y="241299"/>
                    </a:lnTo>
                    <a:lnTo>
                      <a:pt x="2476544" y="239712"/>
                    </a:lnTo>
                    <a:lnTo>
                      <a:pt x="2474383" y="238124"/>
                    </a:lnTo>
                    <a:close/>
                  </a:path>
                  <a:path w="3439795" h="1447800">
                    <a:moveTo>
                      <a:pt x="2476544" y="239712"/>
                    </a:moveTo>
                    <a:lnTo>
                      <a:pt x="2476544" y="241299"/>
                    </a:lnTo>
                    <a:lnTo>
                      <a:pt x="2477264" y="240241"/>
                    </a:lnTo>
                    <a:lnTo>
                      <a:pt x="2476544" y="239712"/>
                    </a:lnTo>
                    <a:close/>
                  </a:path>
                  <a:path w="3439795" h="1447800">
                    <a:moveTo>
                      <a:pt x="2477264" y="240241"/>
                    </a:moveTo>
                    <a:lnTo>
                      <a:pt x="2476544" y="241299"/>
                    </a:lnTo>
                    <a:lnTo>
                      <a:pt x="2478704" y="241299"/>
                    </a:lnTo>
                    <a:lnTo>
                      <a:pt x="2477264" y="240241"/>
                    </a:lnTo>
                    <a:close/>
                  </a:path>
                  <a:path w="3439795" h="1447800">
                    <a:moveTo>
                      <a:pt x="2479424" y="237066"/>
                    </a:moveTo>
                    <a:lnTo>
                      <a:pt x="2477264" y="240241"/>
                    </a:lnTo>
                    <a:lnTo>
                      <a:pt x="2478704" y="241299"/>
                    </a:lnTo>
                    <a:lnTo>
                      <a:pt x="2479424" y="237066"/>
                    </a:lnTo>
                    <a:close/>
                  </a:path>
                  <a:path w="3439795" h="1447800">
                    <a:moveTo>
                      <a:pt x="2483024" y="231774"/>
                    </a:moveTo>
                    <a:lnTo>
                      <a:pt x="2479464" y="237007"/>
                    </a:lnTo>
                    <a:lnTo>
                      <a:pt x="2479369" y="237392"/>
                    </a:lnTo>
                    <a:lnTo>
                      <a:pt x="2478704" y="241299"/>
                    </a:lnTo>
                    <a:lnTo>
                      <a:pt x="2483024" y="241299"/>
                    </a:lnTo>
                    <a:lnTo>
                      <a:pt x="2484520" y="232507"/>
                    </a:lnTo>
                    <a:lnTo>
                      <a:pt x="2483024" y="231774"/>
                    </a:lnTo>
                    <a:close/>
                  </a:path>
                  <a:path w="3439795" h="1447800">
                    <a:moveTo>
                      <a:pt x="2504626" y="215899"/>
                    </a:moveTo>
                    <a:lnTo>
                      <a:pt x="2476544" y="215899"/>
                    </a:lnTo>
                    <a:lnTo>
                      <a:pt x="2476544" y="220662"/>
                    </a:lnTo>
                    <a:lnTo>
                      <a:pt x="2487345" y="228599"/>
                    </a:lnTo>
                    <a:lnTo>
                      <a:pt x="2485185" y="228599"/>
                    </a:lnTo>
                    <a:lnTo>
                      <a:pt x="2484520" y="232507"/>
                    </a:lnTo>
                    <a:lnTo>
                      <a:pt x="2502466" y="241299"/>
                    </a:lnTo>
                    <a:lnTo>
                      <a:pt x="2504626" y="215899"/>
                    </a:lnTo>
                    <a:close/>
                  </a:path>
                  <a:path w="3439795" h="1447800">
                    <a:moveTo>
                      <a:pt x="2517588" y="215899"/>
                    </a:moveTo>
                    <a:lnTo>
                      <a:pt x="2504626" y="215899"/>
                    </a:lnTo>
                    <a:lnTo>
                      <a:pt x="2502466" y="241299"/>
                    </a:lnTo>
                    <a:lnTo>
                      <a:pt x="2517588" y="241299"/>
                    </a:lnTo>
                    <a:lnTo>
                      <a:pt x="2517588" y="215899"/>
                    </a:lnTo>
                    <a:close/>
                  </a:path>
                  <a:path w="3439795" h="1447800">
                    <a:moveTo>
                      <a:pt x="2528389" y="215899"/>
                    </a:moveTo>
                    <a:lnTo>
                      <a:pt x="2517588" y="215899"/>
                    </a:lnTo>
                    <a:lnTo>
                      <a:pt x="2517588" y="241299"/>
                    </a:lnTo>
                    <a:lnTo>
                      <a:pt x="2528389" y="241299"/>
                    </a:lnTo>
                    <a:lnTo>
                      <a:pt x="2528389" y="215899"/>
                    </a:lnTo>
                    <a:close/>
                  </a:path>
                  <a:path w="3439795" h="1447800">
                    <a:moveTo>
                      <a:pt x="2543510" y="215899"/>
                    </a:moveTo>
                    <a:lnTo>
                      <a:pt x="2528389" y="215899"/>
                    </a:lnTo>
                    <a:lnTo>
                      <a:pt x="2528389" y="241299"/>
                    </a:lnTo>
                    <a:lnTo>
                      <a:pt x="2541350" y="241299"/>
                    </a:lnTo>
                    <a:lnTo>
                      <a:pt x="2539190" y="228599"/>
                    </a:lnTo>
                    <a:lnTo>
                      <a:pt x="2543510" y="215899"/>
                    </a:lnTo>
                    <a:close/>
                  </a:path>
                  <a:path w="3439795" h="1447800">
                    <a:moveTo>
                      <a:pt x="2543510" y="215899"/>
                    </a:moveTo>
                    <a:lnTo>
                      <a:pt x="2539190" y="228599"/>
                    </a:lnTo>
                    <a:lnTo>
                      <a:pt x="2541350" y="241299"/>
                    </a:lnTo>
                    <a:lnTo>
                      <a:pt x="2543510" y="228599"/>
                    </a:lnTo>
                    <a:lnTo>
                      <a:pt x="2543510" y="215899"/>
                    </a:lnTo>
                    <a:close/>
                  </a:path>
                  <a:path w="3439795" h="1447800">
                    <a:moveTo>
                      <a:pt x="2543510" y="228599"/>
                    </a:moveTo>
                    <a:lnTo>
                      <a:pt x="2541350" y="241299"/>
                    </a:lnTo>
                    <a:lnTo>
                      <a:pt x="2543401" y="235270"/>
                    </a:lnTo>
                    <a:lnTo>
                      <a:pt x="2543510" y="228599"/>
                    </a:lnTo>
                    <a:close/>
                  </a:path>
                  <a:path w="3439795" h="1447800">
                    <a:moveTo>
                      <a:pt x="2543510" y="234949"/>
                    </a:moveTo>
                    <a:lnTo>
                      <a:pt x="2541350" y="241299"/>
                    </a:lnTo>
                    <a:lnTo>
                      <a:pt x="2543510" y="241299"/>
                    </a:lnTo>
                    <a:lnTo>
                      <a:pt x="2543510" y="234949"/>
                    </a:lnTo>
                    <a:close/>
                  </a:path>
                  <a:path w="3439795" h="1447800">
                    <a:moveTo>
                      <a:pt x="2560792" y="215899"/>
                    </a:moveTo>
                    <a:lnTo>
                      <a:pt x="2549991" y="215899"/>
                    </a:lnTo>
                    <a:lnTo>
                      <a:pt x="2543510" y="234949"/>
                    </a:lnTo>
                    <a:lnTo>
                      <a:pt x="2543510" y="241299"/>
                    </a:lnTo>
                    <a:lnTo>
                      <a:pt x="2558632" y="241299"/>
                    </a:lnTo>
                    <a:lnTo>
                      <a:pt x="2560792" y="215899"/>
                    </a:lnTo>
                    <a:close/>
                  </a:path>
                  <a:path w="3439795" h="1447800">
                    <a:moveTo>
                      <a:pt x="2560792" y="215899"/>
                    </a:moveTo>
                    <a:lnTo>
                      <a:pt x="2558632" y="241299"/>
                    </a:lnTo>
                    <a:lnTo>
                      <a:pt x="2560792" y="241299"/>
                    </a:lnTo>
                    <a:lnTo>
                      <a:pt x="2560792" y="215899"/>
                    </a:lnTo>
                    <a:close/>
                  </a:path>
                  <a:path w="3439795" h="1447800">
                    <a:moveTo>
                      <a:pt x="2562952" y="215899"/>
                    </a:moveTo>
                    <a:lnTo>
                      <a:pt x="2560792" y="215899"/>
                    </a:lnTo>
                    <a:lnTo>
                      <a:pt x="2560792" y="241299"/>
                    </a:lnTo>
                    <a:lnTo>
                      <a:pt x="2573753" y="241299"/>
                    </a:lnTo>
                    <a:lnTo>
                      <a:pt x="2580234" y="228599"/>
                    </a:lnTo>
                    <a:lnTo>
                      <a:pt x="2562952" y="215899"/>
                    </a:lnTo>
                    <a:close/>
                  </a:path>
                  <a:path w="3439795" h="1447800">
                    <a:moveTo>
                      <a:pt x="2580234" y="228599"/>
                    </a:moveTo>
                    <a:lnTo>
                      <a:pt x="2573753" y="241299"/>
                    </a:lnTo>
                    <a:lnTo>
                      <a:pt x="2575914" y="241299"/>
                    </a:lnTo>
                    <a:lnTo>
                      <a:pt x="2578506" y="238759"/>
                    </a:lnTo>
                    <a:lnTo>
                      <a:pt x="2580234" y="228599"/>
                    </a:lnTo>
                    <a:close/>
                  </a:path>
                  <a:path w="3439795" h="1447800">
                    <a:moveTo>
                      <a:pt x="2578506" y="238759"/>
                    </a:moveTo>
                    <a:lnTo>
                      <a:pt x="2575914" y="241299"/>
                    </a:lnTo>
                    <a:lnTo>
                      <a:pt x="2578074" y="241299"/>
                    </a:lnTo>
                    <a:lnTo>
                      <a:pt x="2578506" y="238759"/>
                    </a:lnTo>
                    <a:close/>
                  </a:path>
                  <a:path w="3439795" h="1447800">
                    <a:moveTo>
                      <a:pt x="2635230" y="239183"/>
                    </a:moveTo>
                    <a:lnTo>
                      <a:pt x="2634149" y="241299"/>
                    </a:lnTo>
                    <a:lnTo>
                      <a:pt x="2635305" y="239601"/>
                    </a:lnTo>
                    <a:lnTo>
                      <a:pt x="2635230" y="239183"/>
                    </a:lnTo>
                    <a:close/>
                  </a:path>
                  <a:path w="3439795" h="1447800">
                    <a:moveTo>
                      <a:pt x="2635384" y="239485"/>
                    </a:moveTo>
                    <a:lnTo>
                      <a:pt x="2634149" y="241299"/>
                    </a:lnTo>
                    <a:lnTo>
                      <a:pt x="2635662" y="240029"/>
                    </a:lnTo>
                    <a:lnTo>
                      <a:pt x="2635384" y="239485"/>
                    </a:lnTo>
                    <a:close/>
                  </a:path>
                  <a:path w="3439795" h="1447800">
                    <a:moveTo>
                      <a:pt x="2635662" y="240029"/>
                    </a:moveTo>
                    <a:lnTo>
                      <a:pt x="2634149" y="241299"/>
                    </a:lnTo>
                    <a:lnTo>
                      <a:pt x="2636310" y="241299"/>
                    </a:lnTo>
                    <a:lnTo>
                      <a:pt x="2635662" y="240029"/>
                    </a:lnTo>
                    <a:close/>
                  </a:path>
                  <a:path w="3439795" h="1447800">
                    <a:moveTo>
                      <a:pt x="2636483" y="239339"/>
                    </a:moveTo>
                    <a:lnTo>
                      <a:pt x="2635662" y="240029"/>
                    </a:lnTo>
                    <a:lnTo>
                      <a:pt x="2636310" y="241299"/>
                    </a:lnTo>
                    <a:lnTo>
                      <a:pt x="2638470" y="241299"/>
                    </a:lnTo>
                    <a:lnTo>
                      <a:pt x="2636483" y="239339"/>
                    </a:lnTo>
                    <a:close/>
                  </a:path>
                  <a:path w="3439795" h="1447800">
                    <a:moveTo>
                      <a:pt x="2638802" y="237392"/>
                    </a:moveTo>
                    <a:lnTo>
                      <a:pt x="2636483" y="239339"/>
                    </a:lnTo>
                    <a:lnTo>
                      <a:pt x="2638470" y="241299"/>
                    </a:lnTo>
                    <a:lnTo>
                      <a:pt x="2640630" y="241299"/>
                    </a:lnTo>
                    <a:lnTo>
                      <a:pt x="2640629" y="239181"/>
                    </a:lnTo>
                    <a:lnTo>
                      <a:pt x="2638802" y="237392"/>
                    </a:lnTo>
                    <a:close/>
                  </a:path>
                  <a:path w="3439795" h="1447800">
                    <a:moveTo>
                      <a:pt x="2640630" y="239183"/>
                    </a:moveTo>
                    <a:lnTo>
                      <a:pt x="2640630" y="241299"/>
                    </a:lnTo>
                    <a:lnTo>
                      <a:pt x="2642790" y="241299"/>
                    </a:lnTo>
                    <a:lnTo>
                      <a:pt x="2640630" y="239183"/>
                    </a:lnTo>
                    <a:close/>
                  </a:path>
                  <a:path w="3439795" h="1447800">
                    <a:moveTo>
                      <a:pt x="2668713" y="228599"/>
                    </a:moveTo>
                    <a:lnTo>
                      <a:pt x="2649271" y="228599"/>
                    </a:lnTo>
                    <a:lnTo>
                      <a:pt x="2640630" y="235857"/>
                    </a:lnTo>
                    <a:lnTo>
                      <a:pt x="2640630" y="239183"/>
                    </a:lnTo>
                    <a:lnTo>
                      <a:pt x="2642790" y="241299"/>
                    </a:lnTo>
                    <a:lnTo>
                      <a:pt x="2668713" y="241299"/>
                    </a:lnTo>
                    <a:lnTo>
                      <a:pt x="2668713" y="228599"/>
                    </a:lnTo>
                    <a:close/>
                  </a:path>
                  <a:path w="3439795" h="1447800">
                    <a:moveTo>
                      <a:pt x="2688155" y="228599"/>
                    </a:moveTo>
                    <a:lnTo>
                      <a:pt x="2668713" y="228599"/>
                    </a:lnTo>
                    <a:lnTo>
                      <a:pt x="2668713" y="241299"/>
                    </a:lnTo>
                    <a:lnTo>
                      <a:pt x="2692475" y="241299"/>
                    </a:lnTo>
                    <a:lnTo>
                      <a:pt x="2692445" y="237007"/>
                    </a:lnTo>
                    <a:lnTo>
                      <a:pt x="2688155" y="228599"/>
                    </a:lnTo>
                    <a:close/>
                  </a:path>
                  <a:path w="3439795" h="1447800">
                    <a:moveTo>
                      <a:pt x="2692475" y="237066"/>
                    </a:moveTo>
                    <a:lnTo>
                      <a:pt x="2692475" y="241299"/>
                    </a:lnTo>
                    <a:lnTo>
                      <a:pt x="2694635" y="241299"/>
                    </a:lnTo>
                    <a:lnTo>
                      <a:pt x="2692475" y="237066"/>
                    </a:lnTo>
                    <a:close/>
                  </a:path>
                  <a:path w="3439795" h="1447800">
                    <a:moveTo>
                      <a:pt x="2692475" y="232833"/>
                    </a:moveTo>
                    <a:lnTo>
                      <a:pt x="2692475" y="237066"/>
                    </a:lnTo>
                    <a:lnTo>
                      <a:pt x="2694635" y="241299"/>
                    </a:lnTo>
                    <a:lnTo>
                      <a:pt x="2694605" y="237007"/>
                    </a:lnTo>
                    <a:lnTo>
                      <a:pt x="2692475" y="232833"/>
                    </a:lnTo>
                    <a:close/>
                  </a:path>
                  <a:path w="3439795" h="1447800">
                    <a:moveTo>
                      <a:pt x="2694635" y="237066"/>
                    </a:moveTo>
                    <a:lnTo>
                      <a:pt x="2694635" y="241299"/>
                    </a:lnTo>
                    <a:lnTo>
                      <a:pt x="2696796" y="241299"/>
                    </a:lnTo>
                    <a:lnTo>
                      <a:pt x="2694635" y="237066"/>
                    </a:lnTo>
                    <a:close/>
                  </a:path>
                  <a:path w="3439795" h="1447800">
                    <a:moveTo>
                      <a:pt x="2694635" y="232228"/>
                    </a:moveTo>
                    <a:lnTo>
                      <a:pt x="2694635" y="237066"/>
                    </a:lnTo>
                    <a:lnTo>
                      <a:pt x="2696796" y="241299"/>
                    </a:lnTo>
                    <a:lnTo>
                      <a:pt x="2698956" y="241299"/>
                    </a:lnTo>
                    <a:lnTo>
                      <a:pt x="2700285" y="237392"/>
                    </a:lnTo>
                    <a:lnTo>
                      <a:pt x="2700325" y="237007"/>
                    </a:lnTo>
                    <a:lnTo>
                      <a:pt x="2694635" y="232228"/>
                    </a:lnTo>
                    <a:close/>
                  </a:path>
                  <a:path w="3439795" h="1447800">
                    <a:moveTo>
                      <a:pt x="2700396" y="237066"/>
                    </a:moveTo>
                    <a:lnTo>
                      <a:pt x="2698956" y="241299"/>
                    </a:lnTo>
                    <a:lnTo>
                      <a:pt x="2703276" y="241299"/>
                    </a:lnTo>
                    <a:lnTo>
                      <a:pt x="2703275" y="239484"/>
                    </a:lnTo>
                    <a:lnTo>
                      <a:pt x="2700396" y="237066"/>
                    </a:lnTo>
                    <a:close/>
                  </a:path>
                  <a:path w="3439795" h="1447800">
                    <a:moveTo>
                      <a:pt x="2703276" y="239485"/>
                    </a:moveTo>
                    <a:lnTo>
                      <a:pt x="2703276" y="241299"/>
                    </a:lnTo>
                    <a:lnTo>
                      <a:pt x="2705437" y="241299"/>
                    </a:lnTo>
                    <a:lnTo>
                      <a:pt x="2703276" y="239485"/>
                    </a:lnTo>
                    <a:close/>
                  </a:path>
                  <a:path w="3439795" h="1447800">
                    <a:moveTo>
                      <a:pt x="2709757" y="228599"/>
                    </a:moveTo>
                    <a:lnTo>
                      <a:pt x="2703276" y="228599"/>
                    </a:lnTo>
                    <a:lnTo>
                      <a:pt x="2703276" y="239485"/>
                    </a:lnTo>
                    <a:lnTo>
                      <a:pt x="2705437" y="241299"/>
                    </a:lnTo>
                    <a:lnTo>
                      <a:pt x="2709757" y="228599"/>
                    </a:lnTo>
                    <a:close/>
                  </a:path>
                  <a:path w="3439795" h="1447800">
                    <a:moveTo>
                      <a:pt x="2714077" y="228599"/>
                    </a:moveTo>
                    <a:lnTo>
                      <a:pt x="2709757" y="228599"/>
                    </a:lnTo>
                    <a:lnTo>
                      <a:pt x="2705437" y="241299"/>
                    </a:lnTo>
                    <a:lnTo>
                      <a:pt x="2714077" y="228599"/>
                    </a:lnTo>
                    <a:close/>
                  </a:path>
                  <a:path w="3439795" h="1447800">
                    <a:moveTo>
                      <a:pt x="2714077" y="228599"/>
                    </a:moveTo>
                    <a:lnTo>
                      <a:pt x="2705437" y="241299"/>
                    </a:lnTo>
                    <a:lnTo>
                      <a:pt x="2714077" y="241299"/>
                    </a:lnTo>
                    <a:lnTo>
                      <a:pt x="2714077" y="228599"/>
                    </a:lnTo>
                    <a:close/>
                  </a:path>
                  <a:path w="3439795" h="1447800">
                    <a:moveTo>
                      <a:pt x="2720558" y="228599"/>
                    </a:moveTo>
                    <a:lnTo>
                      <a:pt x="2714077" y="228599"/>
                    </a:lnTo>
                    <a:lnTo>
                      <a:pt x="2714077" y="241299"/>
                    </a:lnTo>
                    <a:lnTo>
                      <a:pt x="2716238" y="241299"/>
                    </a:lnTo>
                    <a:lnTo>
                      <a:pt x="2720558" y="228599"/>
                    </a:lnTo>
                    <a:close/>
                  </a:path>
                  <a:path w="3439795" h="1447800">
                    <a:moveTo>
                      <a:pt x="2720558" y="228599"/>
                    </a:moveTo>
                    <a:lnTo>
                      <a:pt x="2716238" y="241299"/>
                    </a:lnTo>
                    <a:lnTo>
                      <a:pt x="2720558" y="241299"/>
                    </a:lnTo>
                    <a:lnTo>
                      <a:pt x="2720558" y="228599"/>
                    </a:lnTo>
                    <a:close/>
                  </a:path>
                  <a:path w="3439795" h="1447800">
                    <a:moveTo>
                      <a:pt x="2731359" y="228599"/>
                    </a:moveTo>
                    <a:lnTo>
                      <a:pt x="2720558" y="228599"/>
                    </a:lnTo>
                    <a:lnTo>
                      <a:pt x="2720558" y="241299"/>
                    </a:lnTo>
                    <a:lnTo>
                      <a:pt x="2731359" y="228599"/>
                    </a:lnTo>
                    <a:close/>
                  </a:path>
                  <a:path w="3439795" h="1447800">
                    <a:moveTo>
                      <a:pt x="2886805" y="228599"/>
                    </a:moveTo>
                    <a:lnTo>
                      <a:pt x="2882484" y="228599"/>
                    </a:lnTo>
                    <a:lnTo>
                      <a:pt x="2882484" y="241299"/>
                    </a:lnTo>
                    <a:lnTo>
                      <a:pt x="2886805" y="228599"/>
                    </a:lnTo>
                    <a:close/>
                  </a:path>
                  <a:path w="3439795" h="1447800">
                    <a:moveTo>
                      <a:pt x="2905012" y="239485"/>
                    </a:moveTo>
                    <a:lnTo>
                      <a:pt x="2904086" y="241299"/>
                    </a:lnTo>
                    <a:lnTo>
                      <a:pt x="2906247" y="241299"/>
                    </a:lnTo>
                    <a:lnTo>
                      <a:pt x="2905012" y="239485"/>
                    </a:lnTo>
                    <a:close/>
                  </a:path>
                  <a:path w="3439795" h="1447800">
                    <a:moveTo>
                      <a:pt x="2905707" y="238124"/>
                    </a:moveTo>
                    <a:lnTo>
                      <a:pt x="2905167" y="239181"/>
                    </a:lnTo>
                    <a:lnTo>
                      <a:pt x="2905091" y="239601"/>
                    </a:lnTo>
                    <a:lnTo>
                      <a:pt x="2906247" y="241299"/>
                    </a:lnTo>
                    <a:lnTo>
                      <a:pt x="2905707" y="238124"/>
                    </a:lnTo>
                    <a:close/>
                  </a:path>
                  <a:path w="3439795" h="1447800">
                    <a:moveTo>
                      <a:pt x="2908407" y="215899"/>
                    </a:moveTo>
                    <a:lnTo>
                      <a:pt x="2899766" y="215899"/>
                    </a:lnTo>
                    <a:lnTo>
                      <a:pt x="2910567" y="228599"/>
                    </a:lnTo>
                    <a:lnTo>
                      <a:pt x="2906679" y="236219"/>
                    </a:lnTo>
                    <a:lnTo>
                      <a:pt x="2908407" y="241299"/>
                    </a:lnTo>
                    <a:lnTo>
                      <a:pt x="2914888" y="241299"/>
                    </a:lnTo>
                    <a:lnTo>
                      <a:pt x="2908407" y="215899"/>
                    </a:lnTo>
                    <a:close/>
                  </a:path>
                  <a:path w="3439795" h="1447800">
                    <a:moveTo>
                      <a:pt x="2910567" y="215899"/>
                    </a:moveTo>
                    <a:lnTo>
                      <a:pt x="2908407" y="215899"/>
                    </a:lnTo>
                    <a:lnTo>
                      <a:pt x="2914888" y="241299"/>
                    </a:lnTo>
                    <a:lnTo>
                      <a:pt x="2910567" y="215899"/>
                    </a:lnTo>
                    <a:close/>
                  </a:path>
                  <a:path w="3439795" h="1447800">
                    <a:moveTo>
                      <a:pt x="2917048" y="215899"/>
                    </a:moveTo>
                    <a:lnTo>
                      <a:pt x="2910567" y="215899"/>
                    </a:lnTo>
                    <a:lnTo>
                      <a:pt x="2914888" y="241299"/>
                    </a:lnTo>
                    <a:lnTo>
                      <a:pt x="2917048" y="228599"/>
                    </a:lnTo>
                    <a:lnTo>
                      <a:pt x="2923528" y="228599"/>
                    </a:lnTo>
                    <a:lnTo>
                      <a:pt x="2917048" y="215899"/>
                    </a:lnTo>
                    <a:close/>
                  </a:path>
                  <a:path w="3439795" h="1447800">
                    <a:moveTo>
                      <a:pt x="2996976" y="215899"/>
                    </a:moveTo>
                    <a:lnTo>
                      <a:pt x="2973213" y="215899"/>
                    </a:lnTo>
                    <a:lnTo>
                      <a:pt x="2971053" y="228599"/>
                    </a:lnTo>
                    <a:lnTo>
                      <a:pt x="2990495" y="228599"/>
                    </a:lnTo>
                    <a:lnTo>
                      <a:pt x="2990495" y="241299"/>
                    </a:lnTo>
                    <a:lnTo>
                      <a:pt x="2998383" y="229706"/>
                    </a:lnTo>
                    <a:lnTo>
                      <a:pt x="2994816" y="228599"/>
                    </a:lnTo>
                    <a:lnTo>
                      <a:pt x="2996976" y="215899"/>
                    </a:lnTo>
                    <a:close/>
                  </a:path>
                  <a:path w="3439795" h="1447800">
                    <a:moveTo>
                      <a:pt x="3005527" y="231921"/>
                    </a:moveTo>
                    <a:lnTo>
                      <a:pt x="3005549" y="238124"/>
                    </a:lnTo>
                    <a:lnTo>
                      <a:pt x="3007687" y="241299"/>
                    </a:lnTo>
                    <a:lnTo>
                      <a:pt x="3007687" y="232591"/>
                    </a:lnTo>
                    <a:lnTo>
                      <a:pt x="3005527" y="231921"/>
                    </a:lnTo>
                    <a:close/>
                  </a:path>
                  <a:path w="3439795" h="1447800">
                    <a:moveTo>
                      <a:pt x="3030294" y="239601"/>
                    </a:moveTo>
                    <a:lnTo>
                      <a:pt x="3031449" y="241299"/>
                    </a:lnTo>
                    <a:lnTo>
                      <a:pt x="3030940" y="239802"/>
                    </a:lnTo>
                    <a:lnTo>
                      <a:pt x="3030294" y="239601"/>
                    </a:lnTo>
                    <a:close/>
                  </a:path>
                  <a:path w="3439795" h="1447800">
                    <a:moveTo>
                      <a:pt x="3035770" y="228599"/>
                    </a:moveTo>
                    <a:lnTo>
                      <a:pt x="3027129" y="228599"/>
                    </a:lnTo>
                    <a:lnTo>
                      <a:pt x="3030940" y="239802"/>
                    </a:lnTo>
                    <a:lnTo>
                      <a:pt x="3035770" y="241299"/>
                    </a:lnTo>
                    <a:lnTo>
                      <a:pt x="3035770" y="228599"/>
                    </a:lnTo>
                    <a:close/>
                  </a:path>
                  <a:path w="3439795" h="1447800">
                    <a:moveTo>
                      <a:pt x="3042250" y="215899"/>
                    </a:moveTo>
                    <a:lnTo>
                      <a:pt x="3037930" y="215899"/>
                    </a:lnTo>
                    <a:lnTo>
                      <a:pt x="3044411" y="241299"/>
                    </a:lnTo>
                    <a:lnTo>
                      <a:pt x="3044411" y="218439"/>
                    </a:lnTo>
                    <a:lnTo>
                      <a:pt x="3042250" y="215899"/>
                    </a:lnTo>
                    <a:close/>
                  </a:path>
                  <a:path w="3439795" h="1447800">
                    <a:moveTo>
                      <a:pt x="3044411" y="218439"/>
                    </a:moveTo>
                    <a:lnTo>
                      <a:pt x="3044411" y="241299"/>
                    </a:lnTo>
                    <a:lnTo>
                      <a:pt x="3048731" y="228599"/>
                    </a:lnTo>
                    <a:lnTo>
                      <a:pt x="3050891" y="228599"/>
                    </a:lnTo>
                    <a:lnTo>
                      <a:pt x="3047651" y="222249"/>
                    </a:lnTo>
                    <a:lnTo>
                      <a:pt x="3044411" y="218439"/>
                    </a:lnTo>
                    <a:close/>
                  </a:path>
                  <a:path w="3439795" h="1447800">
                    <a:moveTo>
                      <a:pt x="3314348" y="215899"/>
                    </a:moveTo>
                    <a:lnTo>
                      <a:pt x="3307867" y="215899"/>
                    </a:lnTo>
                    <a:lnTo>
                      <a:pt x="3292745" y="228599"/>
                    </a:lnTo>
                    <a:lnTo>
                      <a:pt x="3297066" y="228599"/>
                    </a:lnTo>
                    <a:lnTo>
                      <a:pt x="3307867" y="241299"/>
                    </a:lnTo>
                    <a:lnTo>
                      <a:pt x="3308518" y="238749"/>
                    </a:lnTo>
                    <a:lnTo>
                      <a:pt x="3308390" y="238091"/>
                    </a:lnTo>
                    <a:lnTo>
                      <a:pt x="3303546" y="228599"/>
                    </a:lnTo>
                    <a:lnTo>
                      <a:pt x="3314348" y="215899"/>
                    </a:lnTo>
                    <a:close/>
                  </a:path>
                  <a:path w="3439795" h="1447800">
                    <a:moveTo>
                      <a:pt x="3318668" y="215899"/>
                    </a:moveTo>
                    <a:lnTo>
                      <a:pt x="3314348" y="215899"/>
                    </a:lnTo>
                    <a:lnTo>
                      <a:pt x="3308587" y="238477"/>
                    </a:lnTo>
                    <a:lnTo>
                      <a:pt x="3310027" y="241299"/>
                    </a:lnTo>
                    <a:lnTo>
                      <a:pt x="3316508" y="228599"/>
                    </a:lnTo>
                    <a:lnTo>
                      <a:pt x="3322988" y="228599"/>
                    </a:lnTo>
                    <a:lnTo>
                      <a:pt x="3318668" y="215899"/>
                    </a:lnTo>
                    <a:close/>
                  </a:path>
                  <a:path w="3439795" h="1447800">
                    <a:moveTo>
                      <a:pt x="3322988" y="228599"/>
                    </a:moveTo>
                    <a:lnTo>
                      <a:pt x="3316508" y="228599"/>
                    </a:lnTo>
                    <a:lnTo>
                      <a:pt x="3310027" y="241299"/>
                    </a:lnTo>
                    <a:lnTo>
                      <a:pt x="3322988" y="228599"/>
                    </a:lnTo>
                    <a:close/>
                  </a:path>
                  <a:path w="3439795" h="1447800">
                    <a:moveTo>
                      <a:pt x="3325149" y="228599"/>
                    </a:moveTo>
                    <a:lnTo>
                      <a:pt x="3322988" y="228599"/>
                    </a:lnTo>
                    <a:lnTo>
                      <a:pt x="3310027" y="241299"/>
                    </a:lnTo>
                    <a:lnTo>
                      <a:pt x="3322988" y="241299"/>
                    </a:lnTo>
                    <a:lnTo>
                      <a:pt x="3325149" y="228599"/>
                    </a:lnTo>
                    <a:close/>
                  </a:path>
                  <a:path w="3439795" h="1447800">
                    <a:moveTo>
                      <a:pt x="3327309" y="228599"/>
                    </a:moveTo>
                    <a:lnTo>
                      <a:pt x="3325149" y="228599"/>
                    </a:lnTo>
                    <a:lnTo>
                      <a:pt x="3322988" y="241299"/>
                    </a:lnTo>
                    <a:lnTo>
                      <a:pt x="3327309" y="228599"/>
                    </a:lnTo>
                    <a:close/>
                  </a:path>
                  <a:path w="3439795" h="1447800">
                    <a:moveTo>
                      <a:pt x="3335950" y="228599"/>
                    </a:moveTo>
                    <a:lnTo>
                      <a:pt x="3327309" y="228599"/>
                    </a:lnTo>
                    <a:lnTo>
                      <a:pt x="3322988" y="241299"/>
                    </a:lnTo>
                    <a:lnTo>
                      <a:pt x="3342430" y="241299"/>
                    </a:lnTo>
                    <a:lnTo>
                      <a:pt x="3335950" y="228599"/>
                    </a:lnTo>
                    <a:close/>
                  </a:path>
                  <a:path w="3439795" h="1447800">
                    <a:moveTo>
                      <a:pt x="3338110" y="228599"/>
                    </a:moveTo>
                    <a:lnTo>
                      <a:pt x="3335950" y="228599"/>
                    </a:lnTo>
                    <a:lnTo>
                      <a:pt x="3342430" y="241299"/>
                    </a:lnTo>
                    <a:lnTo>
                      <a:pt x="3342430" y="232833"/>
                    </a:lnTo>
                    <a:lnTo>
                      <a:pt x="3338110" y="228599"/>
                    </a:lnTo>
                    <a:close/>
                  </a:path>
                  <a:path w="3439795" h="1447800">
                    <a:moveTo>
                      <a:pt x="3342430" y="232833"/>
                    </a:moveTo>
                    <a:lnTo>
                      <a:pt x="3342430" y="241299"/>
                    </a:lnTo>
                    <a:lnTo>
                      <a:pt x="3344591" y="241299"/>
                    </a:lnTo>
                    <a:lnTo>
                      <a:pt x="3343294" y="233679"/>
                    </a:lnTo>
                    <a:lnTo>
                      <a:pt x="3342430" y="232833"/>
                    </a:lnTo>
                    <a:close/>
                  </a:path>
                  <a:path w="3439795" h="1447800">
                    <a:moveTo>
                      <a:pt x="3343294" y="233679"/>
                    </a:moveTo>
                    <a:lnTo>
                      <a:pt x="3344591" y="241299"/>
                    </a:lnTo>
                    <a:lnTo>
                      <a:pt x="3348080" y="238369"/>
                    </a:lnTo>
                    <a:lnTo>
                      <a:pt x="3343294" y="233679"/>
                    </a:lnTo>
                    <a:close/>
                  </a:path>
                  <a:path w="3439795" h="1447800">
                    <a:moveTo>
                      <a:pt x="3348080" y="238369"/>
                    </a:moveTo>
                    <a:lnTo>
                      <a:pt x="3344591" y="241299"/>
                    </a:lnTo>
                    <a:lnTo>
                      <a:pt x="3351071" y="241299"/>
                    </a:lnTo>
                    <a:lnTo>
                      <a:pt x="3348080" y="238369"/>
                    </a:lnTo>
                    <a:close/>
                  </a:path>
                  <a:path w="3439795" h="1447800">
                    <a:moveTo>
                      <a:pt x="3348715" y="237836"/>
                    </a:moveTo>
                    <a:lnTo>
                      <a:pt x="3348080" y="238369"/>
                    </a:lnTo>
                    <a:lnTo>
                      <a:pt x="3351071" y="241299"/>
                    </a:lnTo>
                    <a:lnTo>
                      <a:pt x="3348715" y="237836"/>
                    </a:lnTo>
                    <a:close/>
                  </a:path>
                  <a:path w="3439795" h="1447800">
                    <a:moveTo>
                      <a:pt x="3354672" y="232833"/>
                    </a:moveTo>
                    <a:lnTo>
                      <a:pt x="3348715" y="237836"/>
                    </a:lnTo>
                    <a:lnTo>
                      <a:pt x="3351071" y="241299"/>
                    </a:lnTo>
                    <a:lnTo>
                      <a:pt x="3353231" y="241299"/>
                    </a:lnTo>
                    <a:lnTo>
                      <a:pt x="3354672" y="232833"/>
                    </a:lnTo>
                    <a:close/>
                  </a:path>
                  <a:path w="3439795" h="1447800">
                    <a:moveTo>
                      <a:pt x="3359712" y="228599"/>
                    </a:moveTo>
                    <a:lnTo>
                      <a:pt x="3354672" y="232833"/>
                    </a:lnTo>
                    <a:lnTo>
                      <a:pt x="3353231" y="241299"/>
                    </a:lnTo>
                    <a:lnTo>
                      <a:pt x="3355392" y="241299"/>
                    </a:lnTo>
                    <a:lnTo>
                      <a:pt x="3359712" y="228599"/>
                    </a:lnTo>
                    <a:close/>
                  </a:path>
                  <a:path w="3439795" h="1447800">
                    <a:moveTo>
                      <a:pt x="3398506" y="228599"/>
                    </a:moveTo>
                    <a:lnTo>
                      <a:pt x="3398506" y="241299"/>
                    </a:lnTo>
                    <a:lnTo>
                      <a:pt x="3400666" y="241299"/>
                    </a:lnTo>
                    <a:lnTo>
                      <a:pt x="3398506" y="228599"/>
                    </a:lnTo>
                    <a:close/>
                  </a:path>
                  <a:path w="3439795" h="1447800">
                    <a:moveTo>
                      <a:pt x="3411467" y="228599"/>
                    </a:moveTo>
                    <a:lnTo>
                      <a:pt x="3398506" y="228599"/>
                    </a:lnTo>
                    <a:lnTo>
                      <a:pt x="3400666" y="241299"/>
                    </a:lnTo>
                    <a:lnTo>
                      <a:pt x="3402826" y="241299"/>
                    </a:lnTo>
                    <a:lnTo>
                      <a:pt x="3411467" y="231139"/>
                    </a:lnTo>
                    <a:lnTo>
                      <a:pt x="3411467" y="228599"/>
                    </a:lnTo>
                    <a:close/>
                  </a:path>
                  <a:path w="3439795" h="1447800">
                    <a:moveTo>
                      <a:pt x="3413628" y="228599"/>
                    </a:moveTo>
                    <a:lnTo>
                      <a:pt x="3411467" y="231139"/>
                    </a:lnTo>
                    <a:lnTo>
                      <a:pt x="3411467" y="241299"/>
                    </a:lnTo>
                    <a:lnTo>
                      <a:pt x="3413628" y="241299"/>
                    </a:lnTo>
                    <a:lnTo>
                      <a:pt x="3413628" y="228599"/>
                    </a:lnTo>
                    <a:close/>
                  </a:path>
                  <a:path w="3439795" h="1447800">
                    <a:moveTo>
                      <a:pt x="3413628" y="228599"/>
                    </a:moveTo>
                    <a:lnTo>
                      <a:pt x="3413628" y="241299"/>
                    </a:lnTo>
                    <a:lnTo>
                      <a:pt x="3416868" y="241299"/>
                    </a:lnTo>
                    <a:lnTo>
                      <a:pt x="3413628" y="228599"/>
                    </a:lnTo>
                    <a:close/>
                  </a:path>
                  <a:path w="3439795" h="1447800">
                    <a:moveTo>
                      <a:pt x="3420108" y="228599"/>
                    </a:moveTo>
                    <a:lnTo>
                      <a:pt x="3420108" y="238124"/>
                    </a:lnTo>
                    <a:lnTo>
                      <a:pt x="3422268" y="241299"/>
                    </a:lnTo>
                    <a:lnTo>
                      <a:pt x="3422268" y="231139"/>
                    </a:lnTo>
                    <a:lnTo>
                      <a:pt x="3420108" y="228599"/>
                    </a:lnTo>
                    <a:close/>
                  </a:path>
                  <a:path w="3439795" h="1447800">
                    <a:moveTo>
                      <a:pt x="3422268" y="231139"/>
                    </a:moveTo>
                    <a:lnTo>
                      <a:pt x="3422268" y="241299"/>
                    </a:lnTo>
                    <a:lnTo>
                      <a:pt x="3430909" y="241299"/>
                    </a:lnTo>
                    <a:lnTo>
                      <a:pt x="3422268" y="231139"/>
                    </a:lnTo>
                    <a:close/>
                  </a:path>
                  <a:path w="3439795" h="1447800">
                    <a:moveTo>
                      <a:pt x="3422268" y="230716"/>
                    </a:moveTo>
                    <a:lnTo>
                      <a:pt x="3422268" y="231139"/>
                    </a:lnTo>
                    <a:lnTo>
                      <a:pt x="3430909" y="241299"/>
                    </a:lnTo>
                    <a:lnTo>
                      <a:pt x="3433069" y="241299"/>
                    </a:lnTo>
                    <a:lnTo>
                      <a:pt x="3422268" y="230716"/>
                    </a:lnTo>
                    <a:close/>
                  </a:path>
                  <a:path w="3439795" h="1447800">
                    <a:moveTo>
                      <a:pt x="3424429" y="228599"/>
                    </a:moveTo>
                    <a:lnTo>
                      <a:pt x="3422268" y="228599"/>
                    </a:lnTo>
                    <a:lnTo>
                      <a:pt x="3422283" y="230731"/>
                    </a:lnTo>
                    <a:lnTo>
                      <a:pt x="3433069" y="241299"/>
                    </a:lnTo>
                    <a:lnTo>
                      <a:pt x="3424429" y="228599"/>
                    </a:lnTo>
                    <a:close/>
                  </a:path>
                  <a:path w="3439795" h="1447800">
                    <a:moveTo>
                      <a:pt x="3437390" y="228599"/>
                    </a:moveTo>
                    <a:lnTo>
                      <a:pt x="3424429" y="228599"/>
                    </a:lnTo>
                    <a:lnTo>
                      <a:pt x="3433069" y="241299"/>
                    </a:lnTo>
                    <a:lnTo>
                      <a:pt x="3437390" y="228599"/>
                    </a:lnTo>
                    <a:close/>
                  </a:path>
                  <a:path w="3439795" h="1447800">
                    <a:moveTo>
                      <a:pt x="3437390" y="228599"/>
                    </a:moveTo>
                    <a:lnTo>
                      <a:pt x="3433069" y="241299"/>
                    </a:lnTo>
                    <a:lnTo>
                      <a:pt x="3437390" y="241299"/>
                    </a:lnTo>
                    <a:lnTo>
                      <a:pt x="3437390" y="228599"/>
                    </a:lnTo>
                    <a:close/>
                  </a:path>
                  <a:path w="3439795" h="1447800">
                    <a:moveTo>
                      <a:pt x="2476544" y="228599"/>
                    </a:moveTo>
                    <a:lnTo>
                      <a:pt x="2476666" y="239802"/>
                    </a:lnTo>
                    <a:lnTo>
                      <a:pt x="2477264" y="240241"/>
                    </a:lnTo>
                    <a:lnTo>
                      <a:pt x="2479424" y="237066"/>
                    </a:lnTo>
                    <a:lnTo>
                      <a:pt x="2480532" y="230553"/>
                    </a:lnTo>
                    <a:lnTo>
                      <a:pt x="2476544" y="228599"/>
                    </a:lnTo>
                    <a:close/>
                  </a:path>
                  <a:path w="3439795" h="1447800">
                    <a:moveTo>
                      <a:pt x="2635885" y="238749"/>
                    </a:moveTo>
                    <a:lnTo>
                      <a:pt x="2635483" y="239339"/>
                    </a:lnTo>
                    <a:lnTo>
                      <a:pt x="2635443" y="239601"/>
                    </a:lnTo>
                    <a:lnTo>
                      <a:pt x="2635662" y="240029"/>
                    </a:lnTo>
                    <a:lnTo>
                      <a:pt x="2636483" y="239339"/>
                    </a:lnTo>
                    <a:lnTo>
                      <a:pt x="2635885" y="238749"/>
                    </a:lnTo>
                    <a:close/>
                  </a:path>
                  <a:path w="3439795" h="1447800">
                    <a:moveTo>
                      <a:pt x="3027129" y="228599"/>
                    </a:moveTo>
                    <a:lnTo>
                      <a:pt x="3022808" y="228599"/>
                    </a:lnTo>
                    <a:lnTo>
                      <a:pt x="3030294" y="239601"/>
                    </a:lnTo>
                    <a:lnTo>
                      <a:pt x="3030940" y="239802"/>
                    </a:lnTo>
                    <a:lnTo>
                      <a:pt x="3027129" y="228599"/>
                    </a:lnTo>
                    <a:close/>
                  </a:path>
                  <a:path w="3439795" h="1447800">
                    <a:moveTo>
                      <a:pt x="2471143" y="218016"/>
                    </a:moveTo>
                    <a:lnTo>
                      <a:pt x="2468983" y="222249"/>
                    </a:lnTo>
                    <a:lnTo>
                      <a:pt x="2467903" y="228599"/>
                    </a:lnTo>
                    <a:lnTo>
                      <a:pt x="2474383" y="238124"/>
                    </a:lnTo>
                    <a:lnTo>
                      <a:pt x="2476544" y="239712"/>
                    </a:lnTo>
                    <a:lnTo>
                      <a:pt x="2476544" y="228599"/>
                    </a:lnTo>
                    <a:lnTo>
                      <a:pt x="2471143" y="218016"/>
                    </a:lnTo>
                    <a:close/>
                  </a:path>
                  <a:path w="3439795" h="1447800">
                    <a:moveTo>
                      <a:pt x="3022808" y="228599"/>
                    </a:moveTo>
                    <a:lnTo>
                      <a:pt x="3016328" y="228599"/>
                    </a:lnTo>
                    <a:lnTo>
                      <a:pt x="3016328" y="235270"/>
                    </a:lnTo>
                    <a:lnTo>
                      <a:pt x="3030294" y="239601"/>
                    </a:lnTo>
                    <a:lnTo>
                      <a:pt x="3022808" y="228599"/>
                    </a:lnTo>
                    <a:close/>
                  </a:path>
                  <a:path w="3439795" h="1447800">
                    <a:moveTo>
                      <a:pt x="2635596" y="238464"/>
                    </a:moveTo>
                    <a:lnTo>
                      <a:pt x="2635230" y="239181"/>
                    </a:lnTo>
                    <a:lnTo>
                      <a:pt x="2635384" y="239485"/>
                    </a:lnTo>
                    <a:lnTo>
                      <a:pt x="2635885" y="238749"/>
                    </a:lnTo>
                    <a:lnTo>
                      <a:pt x="2635596" y="238464"/>
                    </a:lnTo>
                    <a:close/>
                  </a:path>
                  <a:path w="3439795" h="1447800">
                    <a:moveTo>
                      <a:pt x="2703276" y="228599"/>
                    </a:moveTo>
                    <a:lnTo>
                      <a:pt x="2700396" y="237066"/>
                    </a:lnTo>
                    <a:lnTo>
                      <a:pt x="2703276" y="239485"/>
                    </a:lnTo>
                    <a:lnTo>
                      <a:pt x="2703276" y="228599"/>
                    </a:lnTo>
                    <a:close/>
                  </a:path>
                  <a:path w="3439795" h="1447800">
                    <a:moveTo>
                      <a:pt x="2904086" y="228599"/>
                    </a:moveTo>
                    <a:lnTo>
                      <a:pt x="2897606" y="228599"/>
                    </a:lnTo>
                    <a:lnTo>
                      <a:pt x="2905012" y="239485"/>
                    </a:lnTo>
                    <a:lnTo>
                      <a:pt x="2905582" y="238369"/>
                    </a:lnTo>
                    <a:lnTo>
                      <a:pt x="2905516" y="237007"/>
                    </a:lnTo>
                    <a:lnTo>
                      <a:pt x="2904086" y="228599"/>
                    </a:lnTo>
                    <a:close/>
                  </a:path>
                  <a:path w="3439795" h="1447800">
                    <a:moveTo>
                      <a:pt x="21593" y="228599"/>
                    </a:moveTo>
                    <a:lnTo>
                      <a:pt x="19432" y="228599"/>
                    </a:lnTo>
                    <a:lnTo>
                      <a:pt x="32385" y="239484"/>
                    </a:lnTo>
                    <a:lnTo>
                      <a:pt x="32385" y="239181"/>
                    </a:lnTo>
                    <a:lnTo>
                      <a:pt x="21593" y="228599"/>
                    </a:lnTo>
                    <a:close/>
                  </a:path>
                  <a:path w="3439795" h="1447800">
                    <a:moveTo>
                      <a:pt x="2637606" y="236219"/>
                    </a:moveTo>
                    <a:lnTo>
                      <a:pt x="2635885" y="238749"/>
                    </a:lnTo>
                    <a:lnTo>
                      <a:pt x="2636483" y="239339"/>
                    </a:lnTo>
                    <a:lnTo>
                      <a:pt x="2638802" y="237392"/>
                    </a:lnTo>
                    <a:lnTo>
                      <a:pt x="2637606" y="236219"/>
                    </a:lnTo>
                    <a:close/>
                  </a:path>
                  <a:path w="3439795" h="1447800">
                    <a:moveTo>
                      <a:pt x="2634119" y="237007"/>
                    </a:moveTo>
                    <a:lnTo>
                      <a:pt x="2635230" y="239183"/>
                    </a:lnTo>
                    <a:lnTo>
                      <a:pt x="2635590" y="238477"/>
                    </a:lnTo>
                    <a:lnTo>
                      <a:pt x="2634119" y="237007"/>
                    </a:lnTo>
                    <a:close/>
                  </a:path>
                  <a:path w="3439795" h="1447800">
                    <a:moveTo>
                      <a:pt x="2640630" y="235857"/>
                    </a:moveTo>
                    <a:lnTo>
                      <a:pt x="2638802" y="237392"/>
                    </a:lnTo>
                    <a:lnTo>
                      <a:pt x="2640630" y="239183"/>
                    </a:lnTo>
                    <a:lnTo>
                      <a:pt x="2640630" y="235857"/>
                    </a:lnTo>
                    <a:close/>
                  </a:path>
                  <a:path w="3439795" h="1447800">
                    <a:moveTo>
                      <a:pt x="32385" y="215899"/>
                    </a:moveTo>
                    <a:lnTo>
                      <a:pt x="25904" y="228599"/>
                    </a:lnTo>
                    <a:lnTo>
                      <a:pt x="21593" y="228599"/>
                    </a:lnTo>
                    <a:lnTo>
                      <a:pt x="32385" y="239181"/>
                    </a:lnTo>
                    <a:lnTo>
                      <a:pt x="32385" y="215899"/>
                    </a:lnTo>
                    <a:close/>
                  </a:path>
                  <a:path w="3439795" h="1447800">
                    <a:moveTo>
                      <a:pt x="2588875" y="228599"/>
                    </a:moveTo>
                    <a:lnTo>
                      <a:pt x="2580234" y="228599"/>
                    </a:lnTo>
                    <a:lnTo>
                      <a:pt x="2578506" y="238759"/>
                    </a:lnTo>
                    <a:lnTo>
                      <a:pt x="2588875" y="228599"/>
                    </a:lnTo>
                    <a:close/>
                  </a:path>
                  <a:path w="3439795" h="1447800">
                    <a:moveTo>
                      <a:pt x="2637030" y="235655"/>
                    </a:moveTo>
                    <a:lnTo>
                      <a:pt x="2635645" y="238369"/>
                    </a:lnTo>
                    <a:lnTo>
                      <a:pt x="2635885" y="238749"/>
                    </a:lnTo>
                    <a:lnTo>
                      <a:pt x="2637606" y="236219"/>
                    </a:lnTo>
                    <a:lnTo>
                      <a:pt x="2637030" y="235655"/>
                    </a:lnTo>
                    <a:close/>
                  </a:path>
                  <a:path w="3439795" h="1447800">
                    <a:moveTo>
                      <a:pt x="3314348" y="215899"/>
                    </a:moveTo>
                    <a:lnTo>
                      <a:pt x="3303546" y="228599"/>
                    </a:lnTo>
                    <a:lnTo>
                      <a:pt x="3308587" y="238477"/>
                    </a:lnTo>
                    <a:lnTo>
                      <a:pt x="3314348" y="215899"/>
                    </a:lnTo>
                    <a:close/>
                  </a:path>
                  <a:path w="3439795" h="1447800">
                    <a:moveTo>
                      <a:pt x="2629829" y="228599"/>
                    </a:moveTo>
                    <a:lnTo>
                      <a:pt x="2634119" y="237007"/>
                    </a:lnTo>
                    <a:lnTo>
                      <a:pt x="2635596" y="238464"/>
                    </a:lnTo>
                    <a:lnTo>
                      <a:pt x="2637030" y="235655"/>
                    </a:lnTo>
                    <a:lnTo>
                      <a:pt x="2629829" y="228599"/>
                    </a:lnTo>
                    <a:close/>
                  </a:path>
                  <a:path w="3439795" h="1447800">
                    <a:moveTo>
                      <a:pt x="3342430" y="228599"/>
                    </a:moveTo>
                    <a:lnTo>
                      <a:pt x="3343294" y="233679"/>
                    </a:lnTo>
                    <a:lnTo>
                      <a:pt x="3348080" y="238369"/>
                    </a:lnTo>
                    <a:lnTo>
                      <a:pt x="3348715" y="237836"/>
                    </a:lnTo>
                    <a:lnTo>
                      <a:pt x="3342430" y="228599"/>
                    </a:lnTo>
                    <a:close/>
                  </a:path>
                  <a:path w="3439795" h="1447800">
                    <a:moveTo>
                      <a:pt x="2468983" y="222249"/>
                    </a:moveTo>
                    <a:lnTo>
                      <a:pt x="2465743" y="228599"/>
                    </a:lnTo>
                    <a:lnTo>
                      <a:pt x="2468335" y="233679"/>
                    </a:lnTo>
                    <a:lnTo>
                      <a:pt x="2474383" y="238124"/>
                    </a:lnTo>
                    <a:lnTo>
                      <a:pt x="2467903" y="228599"/>
                    </a:lnTo>
                    <a:lnTo>
                      <a:pt x="2468983" y="222249"/>
                    </a:lnTo>
                    <a:close/>
                  </a:path>
                  <a:path w="3439795" h="1447800">
                    <a:moveTo>
                      <a:pt x="2904086" y="228599"/>
                    </a:moveTo>
                    <a:lnTo>
                      <a:pt x="2905707" y="238124"/>
                    </a:lnTo>
                    <a:lnTo>
                      <a:pt x="2906679" y="236219"/>
                    </a:lnTo>
                    <a:lnTo>
                      <a:pt x="2904086" y="228599"/>
                    </a:lnTo>
                    <a:close/>
                  </a:path>
                  <a:path w="3439795" h="1447800">
                    <a:moveTo>
                      <a:pt x="3420108" y="228599"/>
                    </a:moveTo>
                    <a:lnTo>
                      <a:pt x="3417948" y="228599"/>
                    </a:lnTo>
                    <a:lnTo>
                      <a:pt x="3417948" y="234949"/>
                    </a:lnTo>
                    <a:lnTo>
                      <a:pt x="3420108" y="238124"/>
                    </a:lnTo>
                    <a:lnTo>
                      <a:pt x="3420108" y="228599"/>
                    </a:lnTo>
                    <a:close/>
                  </a:path>
                  <a:path w="3439795" h="1447800">
                    <a:moveTo>
                      <a:pt x="3000276" y="230293"/>
                    </a:moveTo>
                    <a:lnTo>
                      <a:pt x="3005527" y="238091"/>
                    </a:lnTo>
                    <a:lnTo>
                      <a:pt x="3005527" y="231921"/>
                    </a:lnTo>
                    <a:lnTo>
                      <a:pt x="3000276" y="230293"/>
                    </a:lnTo>
                    <a:close/>
                  </a:path>
                  <a:path w="3439795" h="1447800">
                    <a:moveTo>
                      <a:pt x="3342430" y="215899"/>
                    </a:moveTo>
                    <a:lnTo>
                      <a:pt x="3342430" y="228599"/>
                    </a:lnTo>
                    <a:lnTo>
                      <a:pt x="3348715" y="237836"/>
                    </a:lnTo>
                    <a:lnTo>
                      <a:pt x="3354672" y="232833"/>
                    </a:lnTo>
                    <a:lnTo>
                      <a:pt x="3355392" y="228599"/>
                    </a:lnTo>
                    <a:lnTo>
                      <a:pt x="3342430" y="215899"/>
                    </a:lnTo>
                    <a:close/>
                  </a:path>
                  <a:path w="3439795" h="1447800">
                    <a:moveTo>
                      <a:pt x="2640630" y="231774"/>
                    </a:moveTo>
                    <a:lnTo>
                      <a:pt x="2637606" y="236219"/>
                    </a:lnTo>
                    <a:lnTo>
                      <a:pt x="2638802" y="237392"/>
                    </a:lnTo>
                    <a:lnTo>
                      <a:pt x="2640630" y="235857"/>
                    </a:lnTo>
                    <a:lnTo>
                      <a:pt x="2640630" y="231774"/>
                    </a:lnTo>
                    <a:close/>
                  </a:path>
                  <a:path w="3439795" h="1447800">
                    <a:moveTo>
                      <a:pt x="2480532" y="230553"/>
                    </a:moveTo>
                    <a:lnTo>
                      <a:pt x="2479424" y="237066"/>
                    </a:lnTo>
                    <a:lnTo>
                      <a:pt x="2483024" y="231774"/>
                    </a:lnTo>
                    <a:lnTo>
                      <a:pt x="2480532" y="230553"/>
                    </a:lnTo>
                    <a:close/>
                  </a:path>
                  <a:path w="3439795" h="1447800">
                    <a:moveTo>
                      <a:pt x="2625599" y="228599"/>
                    </a:moveTo>
                    <a:lnTo>
                      <a:pt x="2621278" y="228599"/>
                    </a:lnTo>
                    <a:lnTo>
                      <a:pt x="2621278" y="237066"/>
                    </a:lnTo>
                    <a:lnTo>
                      <a:pt x="2625599" y="228599"/>
                    </a:lnTo>
                    <a:close/>
                  </a:path>
                  <a:path w="3439795" h="1447800">
                    <a:moveTo>
                      <a:pt x="2690315" y="228599"/>
                    </a:moveTo>
                    <a:lnTo>
                      <a:pt x="2688155" y="228599"/>
                    </a:lnTo>
                    <a:lnTo>
                      <a:pt x="2692475" y="237066"/>
                    </a:lnTo>
                    <a:lnTo>
                      <a:pt x="2692352" y="232591"/>
                    </a:lnTo>
                    <a:lnTo>
                      <a:pt x="2690315" y="228599"/>
                    </a:lnTo>
                    <a:close/>
                  </a:path>
                  <a:path w="3439795" h="1447800">
                    <a:moveTo>
                      <a:pt x="2692475" y="230414"/>
                    </a:moveTo>
                    <a:lnTo>
                      <a:pt x="2692475" y="232833"/>
                    </a:lnTo>
                    <a:lnTo>
                      <a:pt x="2694635" y="237066"/>
                    </a:lnTo>
                    <a:lnTo>
                      <a:pt x="2694635" y="232228"/>
                    </a:lnTo>
                    <a:lnTo>
                      <a:pt x="2692475" y="230414"/>
                    </a:lnTo>
                    <a:close/>
                  </a:path>
                  <a:path w="3439795" h="1447800">
                    <a:moveTo>
                      <a:pt x="2703276" y="228599"/>
                    </a:moveTo>
                    <a:lnTo>
                      <a:pt x="2694635" y="228599"/>
                    </a:lnTo>
                    <a:lnTo>
                      <a:pt x="2694635" y="232228"/>
                    </a:lnTo>
                    <a:lnTo>
                      <a:pt x="2700396" y="237066"/>
                    </a:lnTo>
                    <a:lnTo>
                      <a:pt x="2703276" y="228599"/>
                    </a:lnTo>
                    <a:close/>
                  </a:path>
                  <a:path w="3439795" h="1447800">
                    <a:moveTo>
                      <a:pt x="2629829" y="228599"/>
                    </a:moveTo>
                    <a:lnTo>
                      <a:pt x="2627759" y="228599"/>
                    </a:lnTo>
                    <a:lnTo>
                      <a:pt x="2627759" y="230731"/>
                    </a:lnTo>
                    <a:lnTo>
                      <a:pt x="2634119" y="237007"/>
                    </a:lnTo>
                    <a:lnTo>
                      <a:pt x="2629829" y="228599"/>
                    </a:lnTo>
                    <a:close/>
                  </a:path>
                  <a:path w="3439795" h="1447800">
                    <a:moveTo>
                      <a:pt x="2640630" y="228599"/>
                    </a:moveTo>
                    <a:lnTo>
                      <a:pt x="2637030" y="235655"/>
                    </a:lnTo>
                    <a:lnTo>
                      <a:pt x="2637606" y="236219"/>
                    </a:lnTo>
                    <a:lnTo>
                      <a:pt x="2640530" y="231921"/>
                    </a:lnTo>
                    <a:lnTo>
                      <a:pt x="2640630" y="228599"/>
                    </a:lnTo>
                    <a:close/>
                  </a:path>
                  <a:path w="3439795" h="1447800">
                    <a:moveTo>
                      <a:pt x="2899766" y="215899"/>
                    </a:moveTo>
                    <a:lnTo>
                      <a:pt x="2906679" y="236219"/>
                    </a:lnTo>
                    <a:lnTo>
                      <a:pt x="2910567" y="228599"/>
                    </a:lnTo>
                    <a:lnTo>
                      <a:pt x="2899766" y="215899"/>
                    </a:lnTo>
                    <a:close/>
                  </a:path>
                  <a:path w="3439795" h="1447800">
                    <a:moveTo>
                      <a:pt x="2649271" y="228599"/>
                    </a:moveTo>
                    <a:lnTo>
                      <a:pt x="2642790" y="228599"/>
                    </a:lnTo>
                    <a:lnTo>
                      <a:pt x="2640630" y="231774"/>
                    </a:lnTo>
                    <a:lnTo>
                      <a:pt x="2640630" y="235857"/>
                    </a:lnTo>
                    <a:lnTo>
                      <a:pt x="2649271" y="228599"/>
                    </a:lnTo>
                    <a:close/>
                  </a:path>
                  <a:path w="3439795" h="1447800">
                    <a:moveTo>
                      <a:pt x="2640630" y="228599"/>
                    </a:moveTo>
                    <a:lnTo>
                      <a:pt x="2629829" y="228599"/>
                    </a:lnTo>
                    <a:lnTo>
                      <a:pt x="2637030" y="235655"/>
                    </a:lnTo>
                    <a:lnTo>
                      <a:pt x="2640630" y="228599"/>
                    </a:lnTo>
                    <a:close/>
                  </a:path>
                  <a:path w="3439795" h="1447800">
                    <a:moveTo>
                      <a:pt x="3016328" y="228599"/>
                    </a:moveTo>
                    <a:lnTo>
                      <a:pt x="3007687" y="228599"/>
                    </a:lnTo>
                    <a:lnTo>
                      <a:pt x="3007687" y="232591"/>
                    </a:lnTo>
                    <a:lnTo>
                      <a:pt x="3016328" y="235270"/>
                    </a:lnTo>
                    <a:lnTo>
                      <a:pt x="3016328" y="228599"/>
                    </a:lnTo>
                    <a:close/>
                  </a:path>
                  <a:path w="3439795" h="1447800">
                    <a:moveTo>
                      <a:pt x="84734" y="231774"/>
                    </a:moveTo>
                    <a:lnTo>
                      <a:pt x="83474" y="232833"/>
                    </a:lnTo>
                    <a:lnTo>
                      <a:pt x="83114" y="234949"/>
                    </a:lnTo>
                    <a:lnTo>
                      <a:pt x="84734" y="231774"/>
                    </a:lnTo>
                    <a:close/>
                  </a:path>
                  <a:path w="3439795" h="1447800">
                    <a:moveTo>
                      <a:pt x="2549991" y="215899"/>
                    </a:moveTo>
                    <a:lnTo>
                      <a:pt x="2545671" y="215899"/>
                    </a:lnTo>
                    <a:lnTo>
                      <a:pt x="2543510" y="228599"/>
                    </a:lnTo>
                    <a:lnTo>
                      <a:pt x="2543510" y="234949"/>
                    </a:lnTo>
                    <a:lnTo>
                      <a:pt x="2549991" y="215899"/>
                    </a:lnTo>
                    <a:close/>
                  </a:path>
                  <a:path w="3439795" h="1447800">
                    <a:moveTo>
                      <a:pt x="2899766" y="215899"/>
                    </a:moveTo>
                    <a:lnTo>
                      <a:pt x="2893285" y="228599"/>
                    </a:lnTo>
                    <a:lnTo>
                      <a:pt x="2897606" y="234949"/>
                    </a:lnTo>
                    <a:lnTo>
                      <a:pt x="2897606" y="228599"/>
                    </a:lnTo>
                    <a:lnTo>
                      <a:pt x="2904086" y="228599"/>
                    </a:lnTo>
                    <a:lnTo>
                      <a:pt x="2899766" y="215899"/>
                    </a:lnTo>
                    <a:close/>
                  </a:path>
                  <a:path w="3439795" h="1447800">
                    <a:moveTo>
                      <a:pt x="3417948" y="228599"/>
                    </a:moveTo>
                    <a:lnTo>
                      <a:pt x="3413628" y="228599"/>
                    </a:lnTo>
                    <a:lnTo>
                      <a:pt x="3417948" y="234949"/>
                    </a:lnTo>
                    <a:lnTo>
                      <a:pt x="3417948" y="228599"/>
                    </a:lnTo>
                    <a:close/>
                  </a:path>
                  <a:path w="3439795" h="1447800">
                    <a:moveTo>
                      <a:pt x="2465743" y="228599"/>
                    </a:moveTo>
                    <a:lnTo>
                      <a:pt x="2461422" y="228599"/>
                    </a:lnTo>
                    <a:lnTo>
                      <a:pt x="2468335" y="233679"/>
                    </a:lnTo>
                    <a:lnTo>
                      <a:pt x="2465743" y="228599"/>
                    </a:lnTo>
                    <a:close/>
                  </a:path>
                  <a:path w="3439795" h="1447800">
                    <a:moveTo>
                      <a:pt x="3342430" y="228599"/>
                    </a:moveTo>
                    <a:lnTo>
                      <a:pt x="3342430" y="232833"/>
                    </a:lnTo>
                    <a:lnTo>
                      <a:pt x="3343294" y="233679"/>
                    </a:lnTo>
                    <a:lnTo>
                      <a:pt x="3342430" y="228599"/>
                    </a:lnTo>
                    <a:close/>
                  </a:path>
                  <a:path w="3439795" h="1447800">
                    <a:moveTo>
                      <a:pt x="86354" y="228599"/>
                    </a:moveTo>
                    <a:lnTo>
                      <a:pt x="84194" y="228599"/>
                    </a:lnTo>
                    <a:lnTo>
                      <a:pt x="83474" y="232833"/>
                    </a:lnTo>
                    <a:lnTo>
                      <a:pt x="84734" y="231774"/>
                    </a:lnTo>
                    <a:lnTo>
                      <a:pt x="86354" y="228599"/>
                    </a:lnTo>
                    <a:close/>
                  </a:path>
                  <a:path w="3439795" h="1447800">
                    <a:moveTo>
                      <a:pt x="2690315" y="228599"/>
                    </a:moveTo>
                    <a:lnTo>
                      <a:pt x="2692475" y="232833"/>
                    </a:lnTo>
                    <a:lnTo>
                      <a:pt x="2692475" y="230414"/>
                    </a:lnTo>
                    <a:lnTo>
                      <a:pt x="2690315" y="228599"/>
                    </a:lnTo>
                    <a:close/>
                  </a:path>
                  <a:path w="3439795" h="1447800">
                    <a:moveTo>
                      <a:pt x="3342430" y="215899"/>
                    </a:moveTo>
                    <a:lnTo>
                      <a:pt x="3338110" y="228599"/>
                    </a:lnTo>
                    <a:lnTo>
                      <a:pt x="3342430" y="232833"/>
                    </a:lnTo>
                    <a:lnTo>
                      <a:pt x="3342430" y="215899"/>
                    </a:lnTo>
                    <a:close/>
                  </a:path>
                  <a:path w="3439795" h="1447800">
                    <a:moveTo>
                      <a:pt x="3355392" y="215899"/>
                    </a:moveTo>
                    <a:lnTo>
                      <a:pt x="3342430" y="215899"/>
                    </a:lnTo>
                    <a:lnTo>
                      <a:pt x="3355392" y="228599"/>
                    </a:lnTo>
                    <a:lnTo>
                      <a:pt x="3354672" y="232833"/>
                    </a:lnTo>
                    <a:lnTo>
                      <a:pt x="3359712" y="228599"/>
                    </a:lnTo>
                    <a:lnTo>
                      <a:pt x="3355392" y="215899"/>
                    </a:lnTo>
                    <a:close/>
                  </a:path>
                  <a:path w="3439795" h="1447800">
                    <a:moveTo>
                      <a:pt x="3007687" y="228599"/>
                    </a:moveTo>
                    <a:lnTo>
                      <a:pt x="3005527" y="228599"/>
                    </a:lnTo>
                    <a:lnTo>
                      <a:pt x="3005527" y="231921"/>
                    </a:lnTo>
                    <a:lnTo>
                      <a:pt x="3007687" y="232591"/>
                    </a:lnTo>
                    <a:lnTo>
                      <a:pt x="3007687" y="228599"/>
                    </a:lnTo>
                    <a:close/>
                  </a:path>
                  <a:path w="3439795" h="1447800">
                    <a:moveTo>
                      <a:pt x="2485185" y="228599"/>
                    </a:moveTo>
                    <a:lnTo>
                      <a:pt x="2483024" y="231774"/>
                    </a:lnTo>
                    <a:lnTo>
                      <a:pt x="2484520" y="232507"/>
                    </a:lnTo>
                    <a:lnTo>
                      <a:pt x="2485185" y="228599"/>
                    </a:lnTo>
                    <a:close/>
                  </a:path>
                  <a:path w="3439795" h="1447800">
                    <a:moveTo>
                      <a:pt x="2694635" y="228599"/>
                    </a:moveTo>
                    <a:lnTo>
                      <a:pt x="2692475" y="228599"/>
                    </a:lnTo>
                    <a:lnTo>
                      <a:pt x="2692475" y="230414"/>
                    </a:lnTo>
                    <a:lnTo>
                      <a:pt x="2694635" y="232228"/>
                    </a:lnTo>
                    <a:lnTo>
                      <a:pt x="2694635" y="228599"/>
                    </a:lnTo>
                    <a:close/>
                  </a:path>
                  <a:path w="3439795" h="1447800">
                    <a:moveTo>
                      <a:pt x="3005527" y="228599"/>
                    </a:moveTo>
                    <a:lnTo>
                      <a:pt x="2999136" y="228599"/>
                    </a:lnTo>
                    <a:lnTo>
                      <a:pt x="3000276" y="230293"/>
                    </a:lnTo>
                    <a:lnTo>
                      <a:pt x="3005527" y="231921"/>
                    </a:lnTo>
                    <a:lnTo>
                      <a:pt x="3005527" y="228599"/>
                    </a:lnTo>
                    <a:close/>
                  </a:path>
                  <a:path w="3439795" h="1447800">
                    <a:moveTo>
                      <a:pt x="88514" y="228599"/>
                    </a:moveTo>
                    <a:lnTo>
                      <a:pt x="86354" y="228599"/>
                    </a:lnTo>
                    <a:lnTo>
                      <a:pt x="84734" y="231774"/>
                    </a:lnTo>
                    <a:lnTo>
                      <a:pt x="88514" y="228599"/>
                    </a:lnTo>
                    <a:close/>
                  </a:path>
                  <a:path w="3439795" h="1447800">
                    <a:moveTo>
                      <a:pt x="2485185" y="228599"/>
                    </a:moveTo>
                    <a:lnTo>
                      <a:pt x="2480864" y="228599"/>
                    </a:lnTo>
                    <a:lnTo>
                      <a:pt x="2480532" y="230553"/>
                    </a:lnTo>
                    <a:lnTo>
                      <a:pt x="2483024" y="231774"/>
                    </a:lnTo>
                    <a:lnTo>
                      <a:pt x="2485185" y="228599"/>
                    </a:lnTo>
                    <a:close/>
                  </a:path>
                  <a:path w="3439795" h="1447800">
                    <a:moveTo>
                      <a:pt x="2642790" y="228599"/>
                    </a:moveTo>
                    <a:lnTo>
                      <a:pt x="2640630" y="228599"/>
                    </a:lnTo>
                    <a:lnTo>
                      <a:pt x="2640630" y="231774"/>
                    </a:lnTo>
                    <a:lnTo>
                      <a:pt x="2642790" y="228599"/>
                    </a:lnTo>
                    <a:close/>
                  </a:path>
                  <a:path w="3439795" h="1447800">
                    <a:moveTo>
                      <a:pt x="3413628" y="228599"/>
                    </a:moveTo>
                    <a:lnTo>
                      <a:pt x="3411467" y="228599"/>
                    </a:lnTo>
                    <a:lnTo>
                      <a:pt x="3411467" y="231139"/>
                    </a:lnTo>
                    <a:lnTo>
                      <a:pt x="3413628" y="228599"/>
                    </a:lnTo>
                    <a:close/>
                  </a:path>
                  <a:path w="3439795" h="1447800">
                    <a:moveTo>
                      <a:pt x="3420108" y="228599"/>
                    </a:moveTo>
                    <a:lnTo>
                      <a:pt x="3422268" y="231139"/>
                    </a:lnTo>
                    <a:lnTo>
                      <a:pt x="3422268" y="230716"/>
                    </a:lnTo>
                    <a:lnTo>
                      <a:pt x="3420108" y="228599"/>
                    </a:lnTo>
                    <a:close/>
                  </a:path>
                  <a:path w="3439795" h="1447800">
                    <a:moveTo>
                      <a:pt x="2627759" y="228599"/>
                    </a:moveTo>
                    <a:lnTo>
                      <a:pt x="2625599" y="228599"/>
                    </a:lnTo>
                    <a:lnTo>
                      <a:pt x="2627759" y="230731"/>
                    </a:lnTo>
                    <a:lnTo>
                      <a:pt x="2627759" y="228599"/>
                    </a:lnTo>
                    <a:close/>
                  </a:path>
                  <a:path w="3439795" h="1447800">
                    <a:moveTo>
                      <a:pt x="3420108" y="193039"/>
                    </a:moveTo>
                    <a:lnTo>
                      <a:pt x="3419568" y="193674"/>
                    </a:lnTo>
                    <a:lnTo>
                      <a:pt x="3417948" y="203199"/>
                    </a:lnTo>
                    <a:lnTo>
                      <a:pt x="3417948" y="215899"/>
                    </a:lnTo>
                    <a:lnTo>
                      <a:pt x="3420108" y="228599"/>
                    </a:lnTo>
                    <a:lnTo>
                      <a:pt x="3422268" y="230716"/>
                    </a:lnTo>
                    <a:lnTo>
                      <a:pt x="3422268" y="228599"/>
                    </a:lnTo>
                    <a:lnTo>
                      <a:pt x="3437390" y="228599"/>
                    </a:lnTo>
                    <a:lnTo>
                      <a:pt x="3435230" y="215899"/>
                    </a:lnTo>
                    <a:lnTo>
                      <a:pt x="3435230" y="203199"/>
                    </a:lnTo>
                    <a:lnTo>
                      <a:pt x="3420108" y="203199"/>
                    </a:lnTo>
                    <a:lnTo>
                      <a:pt x="3420108" y="193039"/>
                    </a:lnTo>
                    <a:close/>
                  </a:path>
                  <a:path w="3439795" h="1447800">
                    <a:moveTo>
                      <a:pt x="2476544" y="220662"/>
                    </a:moveTo>
                    <a:lnTo>
                      <a:pt x="2476544" y="228599"/>
                    </a:lnTo>
                    <a:lnTo>
                      <a:pt x="2480532" y="230553"/>
                    </a:lnTo>
                    <a:lnTo>
                      <a:pt x="2480864" y="228599"/>
                    </a:lnTo>
                    <a:lnTo>
                      <a:pt x="2487345" y="228599"/>
                    </a:lnTo>
                    <a:lnTo>
                      <a:pt x="2476544" y="220662"/>
                    </a:lnTo>
                    <a:close/>
                  </a:path>
                  <a:path w="3439795" h="1447800">
                    <a:moveTo>
                      <a:pt x="2692475" y="228599"/>
                    </a:moveTo>
                    <a:lnTo>
                      <a:pt x="2690315" y="228599"/>
                    </a:lnTo>
                    <a:lnTo>
                      <a:pt x="2692475" y="230414"/>
                    </a:lnTo>
                    <a:lnTo>
                      <a:pt x="2692475" y="228599"/>
                    </a:lnTo>
                    <a:close/>
                  </a:path>
                  <a:path w="3439795" h="1447800">
                    <a:moveTo>
                      <a:pt x="2999136" y="228599"/>
                    </a:moveTo>
                    <a:lnTo>
                      <a:pt x="2999136" y="229939"/>
                    </a:lnTo>
                    <a:lnTo>
                      <a:pt x="3000276" y="230293"/>
                    </a:lnTo>
                    <a:lnTo>
                      <a:pt x="2999136" y="228599"/>
                    </a:lnTo>
                    <a:close/>
                  </a:path>
                  <a:path w="3439795" h="1447800">
                    <a:moveTo>
                      <a:pt x="2999136" y="228599"/>
                    </a:moveTo>
                    <a:lnTo>
                      <a:pt x="2998383" y="229706"/>
                    </a:lnTo>
                    <a:lnTo>
                      <a:pt x="2999136" y="229939"/>
                    </a:lnTo>
                    <a:lnTo>
                      <a:pt x="2999136" y="228599"/>
                    </a:lnTo>
                    <a:close/>
                  </a:path>
                  <a:path w="3439795" h="1447800">
                    <a:moveTo>
                      <a:pt x="3035770" y="215899"/>
                    </a:moveTo>
                    <a:lnTo>
                      <a:pt x="2996976" y="215899"/>
                    </a:lnTo>
                    <a:lnTo>
                      <a:pt x="2994816" y="228599"/>
                    </a:lnTo>
                    <a:lnTo>
                      <a:pt x="2998383" y="229706"/>
                    </a:lnTo>
                    <a:lnTo>
                      <a:pt x="2999136" y="228599"/>
                    </a:lnTo>
                    <a:lnTo>
                      <a:pt x="3035770" y="228599"/>
                    </a:lnTo>
                    <a:lnTo>
                      <a:pt x="3035770" y="215899"/>
                    </a:lnTo>
                    <a:close/>
                  </a:path>
                  <a:path w="3439795" h="1447800">
                    <a:moveTo>
                      <a:pt x="32385" y="215899"/>
                    </a:moveTo>
                    <a:lnTo>
                      <a:pt x="28064" y="215899"/>
                    </a:lnTo>
                    <a:lnTo>
                      <a:pt x="25904" y="228599"/>
                    </a:lnTo>
                    <a:lnTo>
                      <a:pt x="32385" y="215899"/>
                    </a:lnTo>
                    <a:close/>
                  </a:path>
                  <a:path w="3439795" h="1447800">
                    <a:moveTo>
                      <a:pt x="84194" y="215899"/>
                    </a:moveTo>
                    <a:lnTo>
                      <a:pt x="79874" y="215899"/>
                    </a:lnTo>
                    <a:lnTo>
                      <a:pt x="86354" y="228599"/>
                    </a:lnTo>
                    <a:lnTo>
                      <a:pt x="84194" y="215899"/>
                    </a:lnTo>
                    <a:close/>
                  </a:path>
                  <a:path w="3439795" h="1447800">
                    <a:moveTo>
                      <a:pt x="2429109" y="203199"/>
                    </a:moveTo>
                    <a:lnTo>
                      <a:pt x="2426949" y="215899"/>
                    </a:lnTo>
                    <a:lnTo>
                      <a:pt x="2424788" y="215899"/>
                    </a:lnTo>
                    <a:lnTo>
                      <a:pt x="2441980" y="228599"/>
                    </a:lnTo>
                    <a:lnTo>
                      <a:pt x="2444140" y="215899"/>
                    </a:lnTo>
                    <a:lnTo>
                      <a:pt x="2429109" y="203199"/>
                    </a:lnTo>
                    <a:close/>
                  </a:path>
                  <a:path w="3439795" h="1447800">
                    <a:moveTo>
                      <a:pt x="2470063" y="215899"/>
                    </a:moveTo>
                    <a:lnTo>
                      <a:pt x="2467903" y="215899"/>
                    </a:lnTo>
                    <a:lnTo>
                      <a:pt x="2465743" y="228599"/>
                    </a:lnTo>
                    <a:lnTo>
                      <a:pt x="2468983" y="222249"/>
                    </a:lnTo>
                    <a:lnTo>
                      <a:pt x="2470063" y="215899"/>
                    </a:lnTo>
                    <a:close/>
                  </a:path>
                  <a:path w="3439795" h="1447800">
                    <a:moveTo>
                      <a:pt x="2471634" y="217054"/>
                    </a:moveTo>
                    <a:lnTo>
                      <a:pt x="2471143" y="218016"/>
                    </a:lnTo>
                    <a:lnTo>
                      <a:pt x="2476544" y="228599"/>
                    </a:lnTo>
                    <a:lnTo>
                      <a:pt x="2476544" y="220662"/>
                    </a:lnTo>
                    <a:lnTo>
                      <a:pt x="2471634" y="217054"/>
                    </a:lnTo>
                    <a:close/>
                  </a:path>
                  <a:path w="3439795" h="1447800">
                    <a:moveTo>
                      <a:pt x="2545671" y="215899"/>
                    </a:moveTo>
                    <a:lnTo>
                      <a:pt x="2543510" y="215899"/>
                    </a:lnTo>
                    <a:lnTo>
                      <a:pt x="2543510" y="228599"/>
                    </a:lnTo>
                    <a:lnTo>
                      <a:pt x="2545671" y="215899"/>
                    </a:lnTo>
                    <a:close/>
                  </a:path>
                  <a:path w="3439795" h="1447800">
                    <a:moveTo>
                      <a:pt x="2917048" y="215899"/>
                    </a:moveTo>
                    <a:lnTo>
                      <a:pt x="2923528" y="228599"/>
                    </a:lnTo>
                    <a:lnTo>
                      <a:pt x="2925689" y="228599"/>
                    </a:lnTo>
                    <a:lnTo>
                      <a:pt x="2917048" y="215899"/>
                    </a:lnTo>
                    <a:close/>
                  </a:path>
                  <a:path w="3439795" h="1447800">
                    <a:moveTo>
                      <a:pt x="2932169" y="215899"/>
                    </a:moveTo>
                    <a:lnTo>
                      <a:pt x="2917048" y="215899"/>
                    </a:lnTo>
                    <a:lnTo>
                      <a:pt x="2925689" y="228599"/>
                    </a:lnTo>
                    <a:lnTo>
                      <a:pt x="2936490" y="228599"/>
                    </a:lnTo>
                    <a:lnTo>
                      <a:pt x="2932169" y="215899"/>
                    </a:lnTo>
                    <a:close/>
                  </a:path>
                  <a:path w="3439795" h="1447800">
                    <a:moveTo>
                      <a:pt x="2934330" y="215899"/>
                    </a:moveTo>
                    <a:lnTo>
                      <a:pt x="2932169" y="215899"/>
                    </a:lnTo>
                    <a:lnTo>
                      <a:pt x="2936490" y="228599"/>
                    </a:lnTo>
                    <a:lnTo>
                      <a:pt x="2934330" y="215899"/>
                    </a:lnTo>
                    <a:close/>
                  </a:path>
                  <a:path w="3439795" h="1447800">
                    <a:moveTo>
                      <a:pt x="2934330" y="215899"/>
                    </a:moveTo>
                    <a:lnTo>
                      <a:pt x="2936490" y="228599"/>
                    </a:lnTo>
                    <a:lnTo>
                      <a:pt x="2938650" y="228599"/>
                    </a:lnTo>
                    <a:lnTo>
                      <a:pt x="2934330" y="215899"/>
                    </a:lnTo>
                    <a:close/>
                  </a:path>
                  <a:path w="3439795" h="1447800">
                    <a:moveTo>
                      <a:pt x="2934330" y="215899"/>
                    </a:moveTo>
                    <a:lnTo>
                      <a:pt x="2938650" y="228599"/>
                    </a:lnTo>
                    <a:lnTo>
                      <a:pt x="2945131" y="228599"/>
                    </a:lnTo>
                    <a:lnTo>
                      <a:pt x="2934330" y="215899"/>
                    </a:lnTo>
                    <a:close/>
                  </a:path>
                  <a:path w="3439795" h="1447800">
                    <a:moveTo>
                      <a:pt x="2958092" y="215899"/>
                    </a:moveTo>
                    <a:lnTo>
                      <a:pt x="2934330" y="215899"/>
                    </a:lnTo>
                    <a:lnTo>
                      <a:pt x="2945131" y="228599"/>
                    </a:lnTo>
                    <a:lnTo>
                      <a:pt x="2955932" y="228599"/>
                    </a:lnTo>
                    <a:lnTo>
                      <a:pt x="2958092" y="215899"/>
                    </a:lnTo>
                    <a:close/>
                  </a:path>
                  <a:path w="3439795" h="1447800">
                    <a:moveTo>
                      <a:pt x="2973213" y="215899"/>
                    </a:moveTo>
                    <a:lnTo>
                      <a:pt x="2958092" y="215899"/>
                    </a:lnTo>
                    <a:lnTo>
                      <a:pt x="2955932" y="228599"/>
                    </a:lnTo>
                    <a:lnTo>
                      <a:pt x="2971053" y="228599"/>
                    </a:lnTo>
                    <a:lnTo>
                      <a:pt x="2973213" y="215899"/>
                    </a:lnTo>
                    <a:close/>
                  </a:path>
                  <a:path w="3439795" h="1447800">
                    <a:moveTo>
                      <a:pt x="3068173" y="215899"/>
                    </a:moveTo>
                    <a:lnTo>
                      <a:pt x="3061692" y="215899"/>
                    </a:lnTo>
                    <a:lnTo>
                      <a:pt x="3061692" y="228599"/>
                    </a:lnTo>
                    <a:lnTo>
                      <a:pt x="3072493" y="228599"/>
                    </a:lnTo>
                    <a:lnTo>
                      <a:pt x="3068173" y="215899"/>
                    </a:lnTo>
                    <a:close/>
                  </a:path>
                  <a:path w="3439795" h="1447800">
                    <a:moveTo>
                      <a:pt x="3072493" y="215899"/>
                    </a:moveTo>
                    <a:lnTo>
                      <a:pt x="3068173" y="215899"/>
                    </a:lnTo>
                    <a:lnTo>
                      <a:pt x="3072493" y="228599"/>
                    </a:lnTo>
                    <a:lnTo>
                      <a:pt x="3072493" y="215899"/>
                    </a:lnTo>
                    <a:close/>
                  </a:path>
                  <a:path w="3439795" h="1447800">
                    <a:moveTo>
                      <a:pt x="3074654" y="215899"/>
                    </a:moveTo>
                    <a:lnTo>
                      <a:pt x="3078974" y="228599"/>
                    </a:lnTo>
                    <a:lnTo>
                      <a:pt x="3081134" y="228599"/>
                    </a:lnTo>
                    <a:lnTo>
                      <a:pt x="3074654" y="215899"/>
                    </a:lnTo>
                    <a:close/>
                  </a:path>
                  <a:path w="3439795" h="1447800">
                    <a:moveTo>
                      <a:pt x="3074654" y="215899"/>
                    </a:moveTo>
                    <a:lnTo>
                      <a:pt x="3081134" y="228599"/>
                    </a:lnTo>
                    <a:lnTo>
                      <a:pt x="3085455" y="228599"/>
                    </a:lnTo>
                    <a:lnTo>
                      <a:pt x="3074654" y="215899"/>
                    </a:lnTo>
                    <a:close/>
                  </a:path>
                  <a:path w="3439795" h="1447800">
                    <a:moveTo>
                      <a:pt x="3074654" y="215899"/>
                    </a:moveTo>
                    <a:lnTo>
                      <a:pt x="3085455" y="228599"/>
                    </a:lnTo>
                    <a:lnTo>
                      <a:pt x="3087615" y="228599"/>
                    </a:lnTo>
                    <a:lnTo>
                      <a:pt x="3074654" y="215899"/>
                    </a:lnTo>
                    <a:close/>
                  </a:path>
                  <a:path w="3439795" h="1447800">
                    <a:moveTo>
                      <a:pt x="3098416" y="203199"/>
                    </a:moveTo>
                    <a:lnTo>
                      <a:pt x="3085455" y="203199"/>
                    </a:lnTo>
                    <a:lnTo>
                      <a:pt x="3074654" y="215899"/>
                    </a:lnTo>
                    <a:lnTo>
                      <a:pt x="3087615" y="228599"/>
                    </a:lnTo>
                    <a:lnTo>
                      <a:pt x="3081134" y="215899"/>
                    </a:lnTo>
                    <a:lnTo>
                      <a:pt x="3098416" y="215899"/>
                    </a:lnTo>
                    <a:lnTo>
                      <a:pt x="3098416" y="203199"/>
                    </a:lnTo>
                    <a:close/>
                  </a:path>
                  <a:path w="3439795" h="1447800">
                    <a:moveTo>
                      <a:pt x="3094096" y="215899"/>
                    </a:moveTo>
                    <a:lnTo>
                      <a:pt x="3081134" y="215899"/>
                    </a:lnTo>
                    <a:lnTo>
                      <a:pt x="3087615" y="228599"/>
                    </a:lnTo>
                    <a:lnTo>
                      <a:pt x="3094096" y="215899"/>
                    </a:lnTo>
                    <a:close/>
                  </a:path>
                  <a:path w="3439795" h="1447800">
                    <a:moveTo>
                      <a:pt x="3094096" y="215899"/>
                    </a:moveTo>
                    <a:lnTo>
                      <a:pt x="3087615" y="228599"/>
                    </a:lnTo>
                    <a:lnTo>
                      <a:pt x="3094096" y="228599"/>
                    </a:lnTo>
                    <a:lnTo>
                      <a:pt x="3094096" y="215899"/>
                    </a:lnTo>
                    <a:close/>
                  </a:path>
                  <a:path w="3439795" h="1447800">
                    <a:moveTo>
                      <a:pt x="3098416" y="215899"/>
                    </a:moveTo>
                    <a:lnTo>
                      <a:pt x="3094096" y="215899"/>
                    </a:lnTo>
                    <a:lnTo>
                      <a:pt x="3094096" y="228599"/>
                    </a:lnTo>
                    <a:lnTo>
                      <a:pt x="3098416" y="228599"/>
                    </a:lnTo>
                    <a:lnTo>
                      <a:pt x="3098416" y="215899"/>
                    </a:lnTo>
                    <a:close/>
                  </a:path>
                  <a:path w="3439795" h="1447800">
                    <a:moveTo>
                      <a:pt x="3109217" y="203199"/>
                    </a:moveTo>
                    <a:lnTo>
                      <a:pt x="3098416" y="203199"/>
                    </a:lnTo>
                    <a:lnTo>
                      <a:pt x="3098416" y="228599"/>
                    </a:lnTo>
                    <a:lnTo>
                      <a:pt x="3109217" y="228599"/>
                    </a:lnTo>
                    <a:lnTo>
                      <a:pt x="3109217" y="203199"/>
                    </a:lnTo>
                    <a:close/>
                  </a:path>
                  <a:path w="3439795" h="1447800">
                    <a:moveTo>
                      <a:pt x="3109217" y="203199"/>
                    </a:moveTo>
                    <a:lnTo>
                      <a:pt x="3109217" y="228599"/>
                    </a:lnTo>
                    <a:lnTo>
                      <a:pt x="3111377" y="228599"/>
                    </a:lnTo>
                    <a:lnTo>
                      <a:pt x="3109217" y="203199"/>
                    </a:lnTo>
                    <a:close/>
                  </a:path>
                  <a:path w="3439795" h="1447800">
                    <a:moveTo>
                      <a:pt x="3111377" y="203199"/>
                    </a:moveTo>
                    <a:lnTo>
                      <a:pt x="3109217" y="203199"/>
                    </a:lnTo>
                    <a:lnTo>
                      <a:pt x="3111377" y="228599"/>
                    </a:lnTo>
                    <a:lnTo>
                      <a:pt x="3111377" y="203199"/>
                    </a:lnTo>
                    <a:close/>
                  </a:path>
                  <a:path w="3439795" h="1447800">
                    <a:moveTo>
                      <a:pt x="3117858" y="203199"/>
                    </a:moveTo>
                    <a:lnTo>
                      <a:pt x="3111377" y="203199"/>
                    </a:lnTo>
                    <a:lnTo>
                      <a:pt x="3111377" y="228599"/>
                    </a:lnTo>
                    <a:lnTo>
                      <a:pt x="3113537" y="228599"/>
                    </a:lnTo>
                    <a:lnTo>
                      <a:pt x="3124339" y="215899"/>
                    </a:lnTo>
                    <a:lnTo>
                      <a:pt x="3117858" y="203199"/>
                    </a:lnTo>
                    <a:close/>
                  </a:path>
                  <a:path w="3439795" h="1447800">
                    <a:moveTo>
                      <a:pt x="3301386" y="203199"/>
                    </a:moveTo>
                    <a:lnTo>
                      <a:pt x="3286265" y="215899"/>
                    </a:lnTo>
                    <a:lnTo>
                      <a:pt x="3290585" y="228599"/>
                    </a:lnTo>
                    <a:lnTo>
                      <a:pt x="3298146" y="222249"/>
                    </a:lnTo>
                    <a:lnTo>
                      <a:pt x="3303546" y="215899"/>
                    </a:lnTo>
                    <a:lnTo>
                      <a:pt x="3288425" y="215899"/>
                    </a:lnTo>
                    <a:lnTo>
                      <a:pt x="3301386" y="203199"/>
                    </a:lnTo>
                    <a:close/>
                  </a:path>
                  <a:path w="3439795" h="1447800">
                    <a:moveTo>
                      <a:pt x="3298146" y="222249"/>
                    </a:moveTo>
                    <a:lnTo>
                      <a:pt x="3290585" y="228599"/>
                    </a:lnTo>
                    <a:lnTo>
                      <a:pt x="3292745" y="228599"/>
                    </a:lnTo>
                    <a:lnTo>
                      <a:pt x="3298146" y="222249"/>
                    </a:lnTo>
                    <a:close/>
                  </a:path>
                  <a:path w="3439795" h="1447800">
                    <a:moveTo>
                      <a:pt x="3307867" y="215899"/>
                    </a:moveTo>
                    <a:lnTo>
                      <a:pt x="3305707" y="215899"/>
                    </a:lnTo>
                    <a:lnTo>
                      <a:pt x="3298146" y="222249"/>
                    </a:lnTo>
                    <a:lnTo>
                      <a:pt x="3292745" y="228599"/>
                    </a:lnTo>
                    <a:lnTo>
                      <a:pt x="3307867" y="215899"/>
                    </a:lnTo>
                    <a:close/>
                  </a:path>
                  <a:path w="3439795" h="1447800">
                    <a:moveTo>
                      <a:pt x="2470063" y="215899"/>
                    </a:moveTo>
                    <a:lnTo>
                      <a:pt x="2468983" y="222249"/>
                    </a:lnTo>
                    <a:lnTo>
                      <a:pt x="2471143" y="218016"/>
                    </a:lnTo>
                    <a:lnTo>
                      <a:pt x="2470063" y="215899"/>
                    </a:lnTo>
                    <a:close/>
                  </a:path>
                  <a:path w="3439795" h="1447800">
                    <a:moveTo>
                      <a:pt x="3044411" y="215899"/>
                    </a:moveTo>
                    <a:lnTo>
                      <a:pt x="3044411" y="218439"/>
                    </a:lnTo>
                    <a:lnTo>
                      <a:pt x="3047651" y="222249"/>
                    </a:lnTo>
                    <a:lnTo>
                      <a:pt x="3044411" y="215899"/>
                    </a:lnTo>
                    <a:close/>
                  </a:path>
                  <a:path w="3439795" h="1447800">
                    <a:moveTo>
                      <a:pt x="3305707" y="215899"/>
                    </a:moveTo>
                    <a:lnTo>
                      <a:pt x="3303546" y="215899"/>
                    </a:lnTo>
                    <a:lnTo>
                      <a:pt x="3298146" y="222249"/>
                    </a:lnTo>
                    <a:lnTo>
                      <a:pt x="3305707" y="215899"/>
                    </a:lnTo>
                    <a:close/>
                  </a:path>
                  <a:path w="3439795" h="1447800">
                    <a:moveTo>
                      <a:pt x="2476544" y="215899"/>
                    </a:moveTo>
                    <a:lnTo>
                      <a:pt x="2472223" y="215899"/>
                    </a:lnTo>
                    <a:lnTo>
                      <a:pt x="2471634" y="217054"/>
                    </a:lnTo>
                    <a:lnTo>
                      <a:pt x="2476544" y="220662"/>
                    </a:lnTo>
                    <a:lnTo>
                      <a:pt x="2476544" y="215899"/>
                    </a:lnTo>
                    <a:close/>
                  </a:path>
                  <a:path w="3439795" h="1447800">
                    <a:moveTo>
                      <a:pt x="3044411" y="215899"/>
                    </a:moveTo>
                    <a:lnTo>
                      <a:pt x="3042250" y="215899"/>
                    </a:lnTo>
                    <a:lnTo>
                      <a:pt x="3044411" y="218439"/>
                    </a:lnTo>
                    <a:lnTo>
                      <a:pt x="3044411" y="215899"/>
                    </a:lnTo>
                    <a:close/>
                  </a:path>
                  <a:path w="3439795" h="1447800">
                    <a:moveTo>
                      <a:pt x="2470063" y="215899"/>
                    </a:moveTo>
                    <a:lnTo>
                      <a:pt x="2471143" y="218016"/>
                    </a:lnTo>
                    <a:lnTo>
                      <a:pt x="2471634" y="217054"/>
                    </a:lnTo>
                    <a:lnTo>
                      <a:pt x="2470063" y="215899"/>
                    </a:lnTo>
                    <a:close/>
                  </a:path>
                  <a:path w="3439795" h="1447800">
                    <a:moveTo>
                      <a:pt x="2472223" y="215899"/>
                    </a:moveTo>
                    <a:lnTo>
                      <a:pt x="2470063" y="215899"/>
                    </a:lnTo>
                    <a:lnTo>
                      <a:pt x="2471634" y="217054"/>
                    </a:lnTo>
                    <a:lnTo>
                      <a:pt x="2472223" y="215899"/>
                    </a:lnTo>
                    <a:close/>
                  </a:path>
                  <a:path w="3439795" h="1447800">
                    <a:moveTo>
                      <a:pt x="2429109" y="203199"/>
                    </a:moveTo>
                    <a:lnTo>
                      <a:pt x="2426949" y="203199"/>
                    </a:lnTo>
                    <a:lnTo>
                      <a:pt x="2426949" y="215899"/>
                    </a:lnTo>
                    <a:lnTo>
                      <a:pt x="2429109" y="203199"/>
                    </a:lnTo>
                    <a:close/>
                  </a:path>
                  <a:path w="3439795" h="1447800">
                    <a:moveTo>
                      <a:pt x="2431269" y="203199"/>
                    </a:moveTo>
                    <a:lnTo>
                      <a:pt x="2429109" y="203199"/>
                    </a:lnTo>
                    <a:lnTo>
                      <a:pt x="2444140" y="215899"/>
                    </a:lnTo>
                    <a:lnTo>
                      <a:pt x="2431269" y="203199"/>
                    </a:lnTo>
                    <a:close/>
                  </a:path>
                  <a:path w="3439795" h="1447800">
                    <a:moveTo>
                      <a:pt x="2431269" y="203199"/>
                    </a:moveTo>
                    <a:lnTo>
                      <a:pt x="2444140" y="215899"/>
                    </a:lnTo>
                    <a:lnTo>
                      <a:pt x="2446301" y="215899"/>
                    </a:lnTo>
                    <a:lnTo>
                      <a:pt x="2431269" y="203199"/>
                    </a:lnTo>
                    <a:close/>
                  </a:path>
                  <a:path w="3439795" h="1447800">
                    <a:moveTo>
                      <a:pt x="2437750" y="203199"/>
                    </a:moveTo>
                    <a:lnTo>
                      <a:pt x="2431269" y="203199"/>
                    </a:lnTo>
                    <a:lnTo>
                      <a:pt x="2446301" y="215899"/>
                    </a:lnTo>
                    <a:lnTo>
                      <a:pt x="2437750" y="203199"/>
                    </a:lnTo>
                    <a:close/>
                  </a:path>
                  <a:path w="3439795" h="1447800">
                    <a:moveTo>
                      <a:pt x="2437750" y="203199"/>
                    </a:moveTo>
                    <a:lnTo>
                      <a:pt x="2446301" y="215899"/>
                    </a:lnTo>
                    <a:lnTo>
                      <a:pt x="2447115" y="214304"/>
                    </a:lnTo>
                    <a:lnTo>
                      <a:pt x="2437750" y="203199"/>
                    </a:lnTo>
                    <a:close/>
                  </a:path>
                  <a:path w="3439795" h="1447800">
                    <a:moveTo>
                      <a:pt x="2447115" y="214304"/>
                    </a:moveTo>
                    <a:lnTo>
                      <a:pt x="2446301" y="215899"/>
                    </a:lnTo>
                    <a:lnTo>
                      <a:pt x="2448461" y="215899"/>
                    </a:lnTo>
                    <a:lnTo>
                      <a:pt x="2447115" y="214304"/>
                    </a:lnTo>
                    <a:close/>
                  </a:path>
                  <a:path w="3439795" h="1447800">
                    <a:moveTo>
                      <a:pt x="2448461" y="190499"/>
                    </a:moveTo>
                    <a:lnTo>
                      <a:pt x="2446301" y="190499"/>
                    </a:lnTo>
                    <a:lnTo>
                      <a:pt x="2452781" y="203199"/>
                    </a:lnTo>
                    <a:lnTo>
                      <a:pt x="2448152" y="212271"/>
                    </a:lnTo>
                    <a:lnTo>
                      <a:pt x="2448461" y="215899"/>
                    </a:lnTo>
                    <a:lnTo>
                      <a:pt x="2457102" y="203199"/>
                    </a:lnTo>
                    <a:lnTo>
                      <a:pt x="2461422" y="203199"/>
                    </a:lnTo>
                    <a:lnTo>
                      <a:pt x="2448461" y="190499"/>
                    </a:lnTo>
                    <a:close/>
                  </a:path>
                  <a:path w="3439795" h="1447800">
                    <a:moveTo>
                      <a:pt x="3085455" y="203199"/>
                    </a:moveTo>
                    <a:lnTo>
                      <a:pt x="3074654" y="203199"/>
                    </a:lnTo>
                    <a:lnTo>
                      <a:pt x="3074654" y="215899"/>
                    </a:lnTo>
                    <a:lnTo>
                      <a:pt x="3085455" y="203199"/>
                    </a:lnTo>
                    <a:close/>
                  </a:path>
                  <a:path w="3439795" h="1447800">
                    <a:moveTo>
                      <a:pt x="3139460" y="190499"/>
                    </a:moveTo>
                    <a:lnTo>
                      <a:pt x="3117858" y="203199"/>
                    </a:lnTo>
                    <a:lnTo>
                      <a:pt x="3124339" y="215899"/>
                    </a:lnTo>
                    <a:lnTo>
                      <a:pt x="3120018" y="203199"/>
                    </a:lnTo>
                    <a:lnTo>
                      <a:pt x="3143780" y="203199"/>
                    </a:lnTo>
                    <a:lnTo>
                      <a:pt x="3139460" y="190499"/>
                    </a:lnTo>
                    <a:close/>
                  </a:path>
                  <a:path w="3439795" h="1447800">
                    <a:moveTo>
                      <a:pt x="3143780" y="203199"/>
                    </a:moveTo>
                    <a:lnTo>
                      <a:pt x="3120018" y="203199"/>
                    </a:lnTo>
                    <a:lnTo>
                      <a:pt x="3124339" y="215899"/>
                    </a:lnTo>
                    <a:lnTo>
                      <a:pt x="3148101" y="215899"/>
                    </a:lnTo>
                    <a:lnTo>
                      <a:pt x="3143780" y="203199"/>
                    </a:lnTo>
                    <a:close/>
                  </a:path>
                  <a:path w="3439795" h="1447800">
                    <a:moveTo>
                      <a:pt x="3154582" y="190499"/>
                    </a:moveTo>
                    <a:lnTo>
                      <a:pt x="3139460" y="190499"/>
                    </a:lnTo>
                    <a:lnTo>
                      <a:pt x="3148101" y="215899"/>
                    </a:lnTo>
                    <a:lnTo>
                      <a:pt x="3148101" y="203199"/>
                    </a:lnTo>
                    <a:lnTo>
                      <a:pt x="3158902" y="203199"/>
                    </a:lnTo>
                    <a:lnTo>
                      <a:pt x="3154582" y="190499"/>
                    </a:lnTo>
                    <a:close/>
                  </a:path>
                  <a:path w="3439795" h="1447800">
                    <a:moveTo>
                      <a:pt x="3241489" y="191654"/>
                    </a:moveTo>
                    <a:lnTo>
                      <a:pt x="3234420" y="196849"/>
                    </a:lnTo>
                    <a:lnTo>
                      <a:pt x="3227939" y="203199"/>
                    </a:lnTo>
                    <a:lnTo>
                      <a:pt x="3232259" y="203199"/>
                    </a:lnTo>
                    <a:lnTo>
                      <a:pt x="3236580" y="215899"/>
                    </a:lnTo>
                    <a:lnTo>
                      <a:pt x="3242340" y="193322"/>
                    </a:lnTo>
                    <a:lnTo>
                      <a:pt x="3241489" y="191654"/>
                    </a:lnTo>
                    <a:close/>
                  </a:path>
                  <a:path w="3439795" h="1447800">
                    <a:moveTo>
                      <a:pt x="3242340" y="193322"/>
                    </a:moveTo>
                    <a:lnTo>
                      <a:pt x="3236580" y="215899"/>
                    </a:lnTo>
                    <a:lnTo>
                      <a:pt x="3247381" y="203199"/>
                    </a:lnTo>
                    <a:lnTo>
                      <a:pt x="3245221" y="203199"/>
                    </a:lnTo>
                    <a:lnTo>
                      <a:pt x="3244141" y="196849"/>
                    </a:lnTo>
                    <a:lnTo>
                      <a:pt x="3242340" y="193322"/>
                    </a:lnTo>
                    <a:close/>
                  </a:path>
                  <a:path w="3439795" h="1447800">
                    <a:moveTo>
                      <a:pt x="3251701" y="190499"/>
                    </a:moveTo>
                    <a:lnTo>
                      <a:pt x="3243060" y="190499"/>
                    </a:lnTo>
                    <a:lnTo>
                      <a:pt x="3244141" y="196849"/>
                    </a:lnTo>
                    <a:lnTo>
                      <a:pt x="3247381" y="203199"/>
                    </a:lnTo>
                    <a:lnTo>
                      <a:pt x="3236580" y="215899"/>
                    </a:lnTo>
                    <a:lnTo>
                      <a:pt x="3247381" y="215899"/>
                    </a:lnTo>
                    <a:lnTo>
                      <a:pt x="3251701" y="190499"/>
                    </a:lnTo>
                    <a:close/>
                  </a:path>
                  <a:path w="3439795" h="1447800">
                    <a:moveTo>
                      <a:pt x="3251701" y="190499"/>
                    </a:moveTo>
                    <a:lnTo>
                      <a:pt x="3247381" y="215899"/>
                    </a:lnTo>
                    <a:lnTo>
                      <a:pt x="3256022" y="215899"/>
                    </a:lnTo>
                    <a:lnTo>
                      <a:pt x="3258182" y="203199"/>
                    </a:lnTo>
                    <a:lnTo>
                      <a:pt x="3260342" y="203199"/>
                    </a:lnTo>
                    <a:lnTo>
                      <a:pt x="3251701" y="190499"/>
                    </a:lnTo>
                    <a:close/>
                  </a:path>
                  <a:path w="3439795" h="1447800">
                    <a:moveTo>
                      <a:pt x="3260342" y="203199"/>
                    </a:moveTo>
                    <a:lnTo>
                      <a:pt x="3258182" y="203199"/>
                    </a:lnTo>
                    <a:lnTo>
                      <a:pt x="3256022" y="215899"/>
                    </a:lnTo>
                    <a:lnTo>
                      <a:pt x="3260342" y="203199"/>
                    </a:lnTo>
                    <a:close/>
                  </a:path>
                  <a:path w="3439795" h="1447800">
                    <a:moveTo>
                      <a:pt x="3266823" y="203199"/>
                    </a:moveTo>
                    <a:lnTo>
                      <a:pt x="3260342" y="203199"/>
                    </a:lnTo>
                    <a:lnTo>
                      <a:pt x="3256022" y="215899"/>
                    </a:lnTo>
                    <a:lnTo>
                      <a:pt x="3266823" y="215899"/>
                    </a:lnTo>
                    <a:lnTo>
                      <a:pt x="3266823" y="203199"/>
                    </a:lnTo>
                    <a:close/>
                  </a:path>
                  <a:path w="3439795" h="1447800">
                    <a:moveTo>
                      <a:pt x="3273303" y="203199"/>
                    </a:moveTo>
                    <a:lnTo>
                      <a:pt x="3266823" y="203199"/>
                    </a:lnTo>
                    <a:lnTo>
                      <a:pt x="3266823" y="215899"/>
                    </a:lnTo>
                    <a:lnTo>
                      <a:pt x="3273303" y="215899"/>
                    </a:lnTo>
                    <a:lnTo>
                      <a:pt x="3273303" y="203199"/>
                    </a:lnTo>
                    <a:close/>
                  </a:path>
                  <a:path w="3439795" h="1447800">
                    <a:moveTo>
                      <a:pt x="3281944" y="203199"/>
                    </a:moveTo>
                    <a:lnTo>
                      <a:pt x="3273303" y="203199"/>
                    </a:lnTo>
                    <a:lnTo>
                      <a:pt x="3273303" y="215899"/>
                    </a:lnTo>
                    <a:lnTo>
                      <a:pt x="3279784" y="215899"/>
                    </a:lnTo>
                    <a:lnTo>
                      <a:pt x="3281944" y="203199"/>
                    </a:lnTo>
                    <a:close/>
                  </a:path>
                  <a:path w="3439795" h="1447800">
                    <a:moveTo>
                      <a:pt x="3281944" y="203199"/>
                    </a:moveTo>
                    <a:lnTo>
                      <a:pt x="3279784" y="215899"/>
                    </a:lnTo>
                    <a:lnTo>
                      <a:pt x="3281944" y="215899"/>
                    </a:lnTo>
                    <a:lnTo>
                      <a:pt x="3281944" y="203199"/>
                    </a:lnTo>
                    <a:close/>
                  </a:path>
                  <a:path w="3439795" h="1447800">
                    <a:moveTo>
                      <a:pt x="3290585" y="203199"/>
                    </a:moveTo>
                    <a:lnTo>
                      <a:pt x="3281944" y="203199"/>
                    </a:lnTo>
                    <a:lnTo>
                      <a:pt x="3281944" y="215899"/>
                    </a:lnTo>
                    <a:lnTo>
                      <a:pt x="3290585" y="203199"/>
                    </a:lnTo>
                    <a:close/>
                  </a:path>
                  <a:path w="3439795" h="1447800">
                    <a:moveTo>
                      <a:pt x="3290585" y="203199"/>
                    </a:moveTo>
                    <a:lnTo>
                      <a:pt x="3281944" y="215899"/>
                    </a:lnTo>
                    <a:lnTo>
                      <a:pt x="3286265" y="215899"/>
                    </a:lnTo>
                    <a:lnTo>
                      <a:pt x="3290585" y="203199"/>
                    </a:lnTo>
                    <a:close/>
                  </a:path>
                  <a:path w="3439795" h="1447800">
                    <a:moveTo>
                      <a:pt x="3297066" y="203199"/>
                    </a:moveTo>
                    <a:lnTo>
                      <a:pt x="3290585" y="203199"/>
                    </a:lnTo>
                    <a:lnTo>
                      <a:pt x="3286265" y="215899"/>
                    </a:lnTo>
                    <a:lnTo>
                      <a:pt x="3297066" y="203199"/>
                    </a:lnTo>
                    <a:close/>
                  </a:path>
                  <a:path w="3439795" h="1447800">
                    <a:moveTo>
                      <a:pt x="3301386" y="203199"/>
                    </a:moveTo>
                    <a:lnTo>
                      <a:pt x="3297066" y="203199"/>
                    </a:lnTo>
                    <a:lnTo>
                      <a:pt x="3286265" y="215899"/>
                    </a:lnTo>
                    <a:lnTo>
                      <a:pt x="3301386" y="203199"/>
                    </a:lnTo>
                    <a:close/>
                  </a:path>
                  <a:path w="3439795" h="1447800">
                    <a:moveTo>
                      <a:pt x="3301386" y="203199"/>
                    </a:moveTo>
                    <a:lnTo>
                      <a:pt x="3288425" y="215899"/>
                    </a:lnTo>
                    <a:lnTo>
                      <a:pt x="3303546" y="215899"/>
                    </a:lnTo>
                    <a:lnTo>
                      <a:pt x="3301386" y="203199"/>
                    </a:lnTo>
                    <a:close/>
                  </a:path>
                  <a:path w="3439795" h="1447800">
                    <a:moveTo>
                      <a:pt x="2446301" y="190499"/>
                    </a:moveTo>
                    <a:lnTo>
                      <a:pt x="2441980" y="190499"/>
                    </a:lnTo>
                    <a:lnTo>
                      <a:pt x="2437750" y="203199"/>
                    </a:lnTo>
                    <a:lnTo>
                      <a:pt x="2447115" y="214304"/>
                    </a:lnTo>
                    <a:lnTo>
                      <a:pt x="2448152" y="212271"/>
                    </a:lnTo>
                    <a:lnTo>
                      <a:pt x="2446301" y="190499"/>
                    </a:lnTo>
                    <a:close/>
                  </a:path>
                  <a:path w="3439795" h="1447800">
                    <a:moveTo>
                      <a:pt x="2446301" y="190499"/>
                    </a:moveTo>
                    <a:lnTo>
                      <a:pt x="2448152" y="212271"/>
                    </a:lnTo>
                    <a:lnTo>
                      <a:pt x="2452781" y="203199"/>
                    </a:lnTo>
                    <a:lnTo>
                      <a:pt x="2446301" y="190499"/>
                    </a:lnTo>
                    <a:close/>
                  </a:path>
                  <a:path w="3439795" h="1447800">
                    <a:moveTo>
                      <a:pt x="2452781" y="190499"/>
                    </a:moveTo>
                    <a:lnTo>
                      <a:pt x="2448461" y="190499"/>
                    </a:lnTo>
                    <a:lnTo>
                      <a:pt x="2461422" y="203199"/>
                    </a:lnTo>
                    <a:lnTo>
                      <a:pt x="2452781" y="190499"/>
                    </a:lnTo>
                    <a:close/>
                  </a:path>
                  <a:path w="3439795" h="1447800">
                    <a:moveTo>
                      <a:pt x="2454941" y="190499"/>
                    </a:moveTo>
                    <a:lnTo>
                      <a:pt x="2452781" y="190499"/>
                    </a:lnTo>
                    <a:lnTo>
                      <a:pt x="2461422" y="203199"/>
                    </a:lnTo>
                    <a:lnTo>
                      <a:pt x="2467903" y="203199"/>
                    </a:lnTo>
                    <a:lnTo>
                      <a:pt x="2454941" y="190499"/>
                    </a:lnTo>
                    <a:close/>
                  </a:path>
                  <a:path w="3439795" h="1447800">
                    <a:moveTo>
                      <a:pt x="2463582" y="177799"/>
                    </a:moveTo>
                    <a:lnTo>
                      <a:pt x="2461422" y="177799"/>
                    </a:lnTo>
                    <a:lnTo>
                      <a:pt x="2454941" y="190499"/>
                    </a:lnTo>
                    <a:lnTo>
                      <a:pt x="2467903" y="203199"/>
                    </a:lnTo>
                    <a:lnTo>
                      <a:pt x="2474383" y="190499"/>
                    </a:lnTo>
                    <a:lnTo>
                      <a:pt x="2470063" y="190499"/>
                    </a:lnTo>
                    <a:lnTo>
                      <a:pt x="2463582" y="177799"/>
                    </a:lnTo>
                    <a:close/>
                  </a:path>
                  <a:path w="3439795" h="1447800">
                    <a:moveTo>
                      <a:pt x="2942970" y="200024"/>
                    </a:moveTo>
                    <a:lnTo>
                      <a:pt x="2942970" y="203199"/>
                    </a:lnTo>
                    <a:lnTo>
                      <a:pt x="2945131" y="203199"/>
                    </a:lnTo>
                    <a:lnTo>
                      <a:pt x="2942970" y="200024"/>
                    </a:lnTo>
                    <a:close/>
                  </a:path>
                  <a:path w="3439795" h="1447800">
                    <a:moveTo>
                      <a:pt x="2942970" y="190499"/>
                    </a:moveTo>
                    <a:lnTo>
                      <a:pt x="2942970" y="200024"/>
                    </a:lnTo>
                    <a:lnTo>
                      <a:pt x="2945131" y="203199"/>
                    </a:lnTo>
                    <a:lnTo>
                      <a:pt x="2949451" y="203199"/>
                    </a:lnTo>
                    <a:lnTo>
                      <a:pt x="2949451" y="200024"/>
                    </a:lnTo>
                    <a:lnTo>
                      <a:pt x="2942970" y="190499"/>
                    </a:lnTo>
                    <a:close/>
                  </a:path>
                  <a:path w="3439795" h="1447800">
                    <a:moveTo>
                      <a:pt x="2949451" y="200024"/>
                    </a:moveTo>
                    <a:lnTo>
                      <a:pt x="2949451" y="203199"/>
                    </a:lnTo>
                    <a:lnTo>
                      <a:pt x="2949691" y="200377"/>
                    </a:lnTo>
                    <a:lnTo>
                      <a:pt x="2949451" y="200024"/>
                    </a:lnTo>
                    <a:close/>
                  </a:path>
                  <a:path w="3439795" h="1447800">
                    <a:moveTo>
                      <a:pt x="2949691" y="200377"/>
                    </a:moveTo>
                    <a:lnTo>
                      <a:pt x="2949451" y="203199"/>
                    </a:lnTo>
                    <a:lnTo>
                      <a:pt x="2951611" y="203199"/>
                    </a:lnTo>
                    <a:lnTo>
                      <a:pt x="2949691" y="200377"/>
                    </a:lnTo>
                    <a:close/>
                  </a:path>
                  <a:path w="3439795" h="1447800">
                    <a:moveTo>
                      <a:pt x="2951611" y="177799"/>
                    </a:moveTo>
                    <a:lnTo>
                      <a:pt x="2949691" y="200377"/>
                    </a:lnTo>
                    <a:lnTo>
                      <a:pt x="2951611" y="203199"/>
                    </a:lnTo>
                    <a:lnTo>
                      <a:pt x="2953531" y="180622"/>
                    </a:lnTo>
                    <a:lnTo>
                      <a:pt x="2951611" y="177799"/>
                    </a:lnTo>
                    <a:close/>
                  </a:path>
                  <a:path w="3439795" h="1447800">
                    <a:moveTo>
                      <a:pt x="2953531" y="180622"/>
                    </a:moveTo>
                    <a:lnTo>
                      <a:pt x="2951611" y="203199"/>
                    </a:lnTo>
                    <a:lnTo>
                      <a:pt x="2960252" y="190499"/>
                    </a:lnTo>
                    <a:lnTo>
                      <a:pt x="2953531" y="180622"/>
                    </a:lnTo>
                    <a:close/>
                  </a:path>
                  <a:path w="3439795" h="1447800">
                    <a:moveTo>
                      <a:pt x="2960252" y="185419"/>
                    </a:moveTo>
                    <a:lnTo>
                      <a:pt x="2960252" y="190499"/>
                    </a:lnTo>
                    <a:lnTo>
                      <a:pt x="2951611" y="203199"/>
                    </a:lnTo>
                    <a:lnTo>
                      <a:pt x="2962412" y="203199"/>
                    </a:lnTo>
                    <a:lnTo>
                      <a:pt x="2962412" y="190499"/>
                    </a:lnTo>
                    <a:lnTo>
                      <a:pt x="2964573" y="190499"/>
                    </a:lnTo>
                    <a:lnTo>
                      <a:pt x="2960252" y="185419"/>
                    </a:lnTo>
                    <a:close/>
                  </a:path>
                  <a:path w="3439795" h="1447800">
                    <a:moveTo>
                      <a:pt x="2964573" y="190499"/>
                    </a:moveTo>
                    <a:lnTo>
                      <a:pt x="2962412" y="190499"/>
                    </a:lnTo>
                    <a:lnTo>
                      <a:pt x="2962412" y="203199"/>
                    </a:lnTo>
                    <a:lnTo>
                      <a:pt x="2964573" y="190499"/>
                    </a:lnTo>
                    <a:close/>
                  </a:path>
                  <a:path w="3439795" h="1447800">
                    <a:moveTo>
                      <a:pt x="2977534" y="190499"/>
                    </a:moveTo>
                    <a:lnTo>
                      <a:pt x="2964573" y="190499"/>
                    </a:lnTo>
                    <a:lnTo>
                      <a:pt x="2962412" y="203199"/>
                    </a:lnTo>
                    <a:lnTo>
                      <a:pt x="2975374" y="203199"/>
                    </a:lnTo>
                    <a:lnTo>
                      <a:pt x="2977534" y="190499"/>
                    </a:lnTo>
                    <a:close/>
                  </a:path>
                  <a:path w="3439795" h="1447800">
                    <a:moveTo>
                      <a:pt x="2986175" y="190499"/>
                    </a:moveTo>
                    <a:lnTo>
                      <a:pt x="2977534" y="190499"/>
                    </a:lnTo>
                    <a:lnTo>
                      <a:pt x="2975374" y="203199"/>
                    </a:lnTo>
                    <a:lnTo>
                      <a:pt x="2977534" y="203199"/>
                    </a:lnTo>
                    <a:lnTo>
                      <a:pt x="2986175" y="194733"/>
                    </a:lnTo>
                    <a:lnTo>
                      <a:pt x="2986175" y="190499"/>
                    </a:lnTo>
                    <a:close/>
                  </a:path>
                  <a:path w="3439795" h="1447800">
                    <a:moveTo>
                      <a:pt x="2986175" y="194733"/>
                    </a:moveTo>
                    <a:lnTo>
                      <a:pt x="2977534" y="203199"/>
                    </a:lnTo>
                    <a:lnTo>
                      <a:pt x="2981854" y="203199"/>
                    </a:lnTo>
                    <a:lnTo>
                      <a:pt x="2986175" y="196849"/>
                    </a:lnTo>
                    <a:lnTo>
                      <a:pt x="2986175" y="194733"/>
                    </a:lnTo>
                    <a:close/>
                  </a:path>
                  <a:path w="3439795" h="1447800">
                    <a:moveTo>
                      <a:pt x="2986175" y="196849"/>
                    </a:moveTo>
                    <a:lnTo>
                      <a:pt x="2981854" y="203199"/>
                    </a:lnTo>
                    <a:lnTo>
                      <a:pt x="2986175" y="203199"/>
                    </a:lnTo>
                    <a:lnTo>
                      <a:pt x="2986175" y="196849"/>
                    </a:lnTo>
                    <a:close/>
                  </a:path>
                  <a:path w="3439795" h="1447800">
                    <a:moveTo>
                      <a:pt x="2992655" y="190499"/>
                    </a:moveTo>
                    <a:lnTo>
                      <a:pt x="2990495" y="190499"/>
                    </a:lnTo>
                    <a:lnTo>
                      <a:pt x="2986175" y="196849"/>
                    </a:lnTo>
                    <a:lnTo>
                      <a:pt x="2986175" y="203199"/>
                    </a:lnTo>
                    <a:lnTo>
                      <a:pt x="2992655" y="190499"/>
                    </a:lnTo>
                    <a:close/>
                  </a:path>
                  <a:path w="3439795" h="1447800">
                    <a:moveTo>
                      <a:pt x="2992655" y="190499"/>
                    </a:moveTo>
                    <a:lnTo>
                      <a:pt x="2986175" y="203199"/>
                    </a:lnTo>
                    <a:lnTo>
                      <a:pt x="2999136" y="203199"/>
                    </a:lnTo>
                    <a:lnTo>
                      <a:pt x="2992655" y="190499"/>
                    </a:lnTo>
                    <a:close/>
                  </a:path>
                  <a:path w="3439795" h="1447800">
                    <a:moveTo>
                      <a:pt x="2996976" y="190499"/>
                    </a:moveTo>
                    <a:lnTo>
                      <a:pt x="2992655" y="190499"/>
                    </a:lnTo>
                    <a:lnTo>
                      <a:pt x="2999136" y="203199"/>
                    </a:lnTo>
                    <a:lnTo>
                      <a:pt x="2996976" y="190499"/>
                    </a:lnTo>
                    <a:close/>
                  </a:path>
                  <a:path w="3439795" h="1447800">
                    <a:moveTo>
                      <a:pt x="3003366" y="190499"/>
                    </a:moveTo>
                    <a:lnTo>
                      <a:pt x="2996976" y="190499"/>
                    </a:lnTo>
                    <a:lnTo>
                      <a:pt x="2999136" y="203199"/>
                    </a:lnTo>
                    <a:lnTo>
                      <a:pt x="3005527" y="203199"/>
                    </a:lnTo>
                    <a:lnTo>
                      <a:pt x="3005527" y="194733"/>
                    </a:lnTo>
                    <a:lnTo>
                      <a:pt x="3003366" y="190499"/>
                    </a:lnTo>
                    <a:close/>
                  </a:path>
                  <a:path w="3439795" h="1447800">
                    <a:moveTo>
                      <a:pt x="3005527" y="194733"/>
                    </a:moveTo>
                    <a:lnTo>
                      <a:pt x="3005527" y="203199"/>
                    </a:lnTo>
                    <a:lnTo>
                      <a:pt x="3007327" y="201083"/>
                    </a:lnTo>
                    <a:lnTo>
                      <a:pt x="3006607" y="196849"/>
                    </a:lnTo>
                    <a:lnTo>
                      <a:pt x="3005527" y="194733"/>
                    </a:lnTo>
                    <a:close/>
                  </a:path>
                  <a:path w="3439795" h="1447800">
                    <a:moveTo>
                      <a:pt x="3007327" y="201083"/>
                    </a:moveTo>
                    <a:lnTo>
                      <a:pt x="3005527" y="203199"/>
                    </a:lnTo>
                    <a:lnTo>
                      <a:pt x="3007687" y="203199"/>
                    </a:lnTo>
                    <a:lnTo>
                      <a:pt x="3007327" y="201083"/>
                    </a:lnTo>
                    <a:close/>
                  </a:path>
                  <a:path w="3439795" h="1447800">
                    <a:moveTo>
                      <a:pt x="3008227" y="200024"/>
                    </a:moveTo>
                    <a:lnTo>
                      <a:pt x="3007327" y="201083"/>
                    </a:lnTo>
                    <a:lnTo>
                      <a:pt x="3007687" y="203199"/>
                    </a:lnTo>
                    <a:lnTo>
                      <a:pt x="3009847" y="203199"/>
                    </a:lnTo>
                    <a:lnTo>
                      <a:pt x="3008227" y="200024"/>
                    </a:lnTo>
                    <a:close/>
                  </a:path>
                  <a:path w="3439795" h="1447800">
                    <a:moveTo>
                      <a:pt x="3012007" y="195579"/>
                    </a:moveTo>
                    <a:lnTo>
                      <a:pt x="3008227" y="200024"/>
                    </a:lnTo>
                    <a:lnTo>
                      <a:pt x="3009847" y="203199"/>
                    </a:lnTo>
                    <a:lnTo>
                      <a:pt x="3012007" y="203199"/>
                    </a:lnTo>
                    <a:lnTo>
                      <a:pt x="3012007" y="195579"/>
                    </a:lnTo>
                    <a:close/>
                  </a:path>
                  <a:path w="3439795" h="1447800">
                    <a:moveTo>
                      <a:pt x="3013382" y="193963"/>
                    </a:moveTo>
                    <a:lnTo>
                      <a:pt x="3012007" y="195579"/>
                    </a:lnTo>
                    <a:lnTo>
                      <a:pt x="3012007" y="203199"/>
                    </a:lnTo>
                    <a:lnTo>
                      <a:pt x="3014168" y="203199"/>
                    </a:lnTo>
                    <a:lnTo>
                      <a:pt x="3013382" y="193963"/>
                    </a:lnTo>
                    <a:close/>
                  </a:path>
                  <a:path w="3439795" h="1447800">
                    <a:moveTo>
                      <a:pt x="3016328" y="190499"/>
                    </a:moveTo>
                    <a:lnTo>
                      <a:pt x="3013382" y="193963"/>
                    </a:lnTo>
                    <a:lnTo>
                      <a:pt x="3014168" y="203199"/>
                    </a:lnTo>
                    <a:lnTo>
                      <a:pt x="3016328" y="203199"/>
                    </a:lnTo>
                    <a:lnTo>
                      <a:pt x="3016328" y="190499"/>
                    </a:lnTo>
                    <a:close/>
                  </a:path>
                  <a:path w="3439795" h="1447800">
                    <a:moveTo>
                      <a:pt x="3016328" y="186266"/>
                    </a:moveTo>
                    <a:lnTo>
                      <a:pt x="3014168" y="190499"/>
                    </a:lnTo>
                    <a:lnTo>
                      <a:pt x="3016328" y="190499"/>
                    </a:lnTo>
                    <a:lnTo>
                      <a:pt x="3016328" y="203199"/>
                    </a:lnTo>
                    <a:lnTo>
                      <a:pt x="3020648" y="203199"/>
                    </a:lnTo>
                    <a:lnTo>
                      <a:pt x="3016328" y="186266"/>
                    </a:lnTo>
                    <a:close/>
                  </a:path>
                  <a:path w="3439795" h="1447800">
                    <a:moveTo>
                      <a:pt x="3018797" y="181428"/>
                    </a:moveTo>
                    <a:lnTo>
                      <a:pt x="3016328" y="186266"/>
                    </a:lnTo>
                    <a:lnTo>
                      <a:pt x="3020648" y="203199"/>
                    </a:lnTo>
                    <a:lnTo>
                      <a:pt x="3018797" y="181428"/>
                    </a:lnTo>
                    <a:close/>
                  </a:path>
                  <a:path w="3439795" h="1447800">
                    <a:moveTo>
                      <a:pt x="3019838" y="179387"/>
                    </a:moveTo>
                    <a:lnTo>
                      <a:pt x="3018797" y="181428"/>
                    </a:lnTo>
                    <a:lnTo>
                      <a:pt x="3020648" y="203199"/>
                    </a:lnTo>
                    <a:lnTo>
                      <a:pt x="3029289" y="190499"/>
                    </a:lnTo>
                    <a:lnTo>
                      <a:pt x="3024969" y="190499"/>
                    </a:lnTo>
                    <a:lnTo>
                      <a:pt x="3022088" y="182033"/>
                    </a:lnTo>
                    <a:lnTo>
                      <a:pt x="3019838" y="179387"/>
                    </a:lnTo>
                    <a:close/>
                  </a:path>
                  <a:path w="3439795" h="1447800">
                    <a:moveTo>
                      <a:pt x="3029289" y="190499"/>
                    </a:moveTo>
                    <a:lnTo>
                      <a:pt x="3024969" y="203199"/>
                    </a:lnTo>
                    <a:lnTo>
                      <a:pt x="3027129" y="203199"/>
                    </a:lnTo>
                    <a:lnTo>
                      <a:pt x="3029289" y="190499"/>
                    </a:lnTo>
                    <a:close/>
                  </a:path>
                  <a:path w="3439795" h="1447800">
                    <a:moveTo>
                      <a:pt x="3154582" y="190499"/>
                    </a:moveTo>
                    <a:lnTo>
                      <a:pt x="3158902" y="203199"/>
                    </a:lnTo>
                    <a:lnTo>
                      <a:pt x="3163222" y="203199"/>
                    </a:lnTo>
                    <a:lnTo>
                      <a:pt x="3154582" y="190499"/>
                    </a:lnTo>
                    <a:close/>
                  </a:path>
                  <a:path w="3439795" h="1447800">
                    <a:moveTo>
                      <a:pt x="3165383" y="177799"/>
                    </a:moveTo>
                    <a:lnTo>
                      <a:pt x="3158902" y="177799"/>
                    </a:lnTo>
                    <a:lnTo>
                      <a:pt x="3154582" y="190499"/>
                    </a:lnTo>
                    <a:lnTo>
                      <a:pt x="3163222" y="203199"/>
                    </a:lnTo>
                    <a:lnTo>
                      <a:pt x="3165383" y="203199"/>
                    </a:lnTo>
                    <a:lnTo>
                      <a:pt x="3165383" y="177799"/>
                    </a:lnTo>
                    <a:close/>
                  </a:path>
                  <a:path w="3439795" h="1447800">
                    <a:moveTo>
                      <a:pt x="3167543" y="177799"/>
                    </a:moveTo>
                    <a:lnTo>
                      <a:pt x="3165383" y="177799"/>
                    </a:lnTo>
                    <a:lnTo>
                      <a:pt x="3165383" y="203199"/>
                    </a:lnTo>
                    <a:lnTo>
                      <a:pt x="3167543" y="177799"/>
                    </a:lnTo>
                    <a:close/>
                  </a:path>
                  <a:path w="3439795" h="1447800">
                    <a:moveTo>
                      <a:pt x="3167543" y="177799"/>
                    </a:moveTo>
                    <a:lnTo>
                      <a:pt x="3165383" y="203199"/>
                    </a:lnTo>
                    <a:lnTo>
                      <a:pt x="3167543" y="203199"/>
                    </a:lnTo>
                    <a:lnTo>
                      <a:pt x="3167543" y="177799"/>
                    </a:lnTo>
                    <a:close/>
                  </a:path>
                  <a:path w="3439795" h="1447800">
                    <a:moveTo>
                      <a:pt x="3171863" y="177799"/>
                    </a:moveTo>
                    <a:lnTo>
                      <a:pt x="3167543" y="177799"/>
                    </a:lnTo>
                    <a:lnTo>
                      <a:pt x="3167543" y="203199"/>
                    </a:lnTo>
                    <a:lnTo>
                      <a:pt x="3176184" y="190499"/>
                    </a:lnTo>
                    <a:lnTo>
                      <a:pt x="3171863" y="177799"/>
                    </a:lnTo>
                    <a:close/>
                  </a:path>
                  <a:path w="3439795" h="1447800">
                    <a:moveTo>
                      <a:pt x="3176184" y="190499"/>
                    </a:moveTo>
                    <a:lnTo>
                      <a:pt x="3167543" y="203199"/>
                    </a:lnTo>
                    <a:lnTo>
                      <a:pt x="3171863" y="198966"/>
                    </a:lnTo>
                    <a:lnTo>
                      <a:pt x="3176184" y="190499"/>
                    </a:lnTo>
                    <a:close/>
                  </a:path>
                  <a:path w="3439795" h="1447800">
                    <a:moveTo>
                      <a:pt x="3171863" y="198966"/>
                    </a:moveTo>
                    <a:lnTo>
                      <a:pt x="3167543" y="203199"/>
                    </a:lnTo>
                    <a:lnTo>
                      <a:pt x="3169703" y="203199"/>
                    </a:lnTo>
                    <a:lnTo>
                      <a:pt x="3171863" y="198966"/>
                    </a:lnTo>
                    <a:close/>
                  </a:path>
                  <a:path w="3439795" h="1447800">
                    <a:moveTo>
                      <a:pt x="3176184" y="194733"/>
                    </a:moveTo>
                    <a:lnTo>
                      <a:pt x="3171863" y="198966"/>
                    </a:lnTo>
                    <a:lnTo>
                      <a:pt x="3169703" y="203199"/>
                    </a:lnTo>
                    <a:lnTo>
                      <a:pt x="3171863" y="203199"/>
                    </a:lnTo>
                    <a:lnTo>
                      <a:pt x="3176184" y="194733"/>
                    </a:lnTo>
                    <a:close/>
                  </a:path>
                  <a:path w="3439795" h="1447800">
                    <a:moveTo>
                      <a:pt x="3180504" y="190499"/>
                    </a:moveTo>
                    <a:lnTo>
                      <a:pt x="3176184" y="194733"/>
                    </a:lnTo>
                    <a:lnTo>
                      <a:pt x="3171863" y="203199"/>
                    </a:lnTo>
                    <a:lnTo>
                      <a:pt x="3180504" y="194733"/>
                    </a:lnTo>
                    <a:lnTo>
                      <a:pt x="3180504" y="190499"/>
                    </a:lnTo>
                    <a:close/>
                  </a:path>
                  <a:path w="3439795" h="1447800">
                    <a:moveTo>
                      <a:pt x="3180504" y="194733"/>
                    </a:moveTo>
                    <a:lnTo>
                      <a:pt x="3171863" y="203199"/>
                    </a:lnTo>
                    <a:lnTo>
                      <a:pt x="3180504" y="203199"/>
                    </a:lnTo>
                    <a:lnTo>
                      <a:pt x="3180504" y="194733"/>
                    </a:lnTo>
                    <a:close/>
                  </a:path>
                  <a:path w="3439795" h="1447800">
                    <a:moveTo>
                      <a:pt x="3189055" y="190499"/>
                    </a:moveTo>
                    <a:lnTo>
                      <a:pt x="3184825" y="190499"/>
                    </a:lnTo>
                    <a:lnTo>
                      <a:pt x="3180504" y="194733"/>
                    </a:lnTo>
                    <a:lnTo>
                      <a:pt x="3180504" y="203199"/>
                    </a:lnTo>
                    <a:lnTo>
                      <a:pt x="3189055" y="203199"/>
                    </a:lnTo>
                    <a:lnTo>
                      <a:pt x="3189055" y="190499"/>
                    </a:lnTo>
                    <a:close/>
                  </a:path>
                  <a:path w="3439795" h="1447800">
                    <a:moveTo>
                      <a:pt x="3195536" y="190499"/>
                    </a:moveTo>
                    <a:lnTo>
                      <a:pt x="3189055" y="190499"/>
                    </a:lnTo>
                    <a:lnTo>
                      <a:pt x="3189055" y="203199"/>
                    </a:lnTo>
                    <a:lnTo>
                      <a:pt x="3199856" y="203199"/>
                    </a:lnTo>
                    <a:lnTo>
                      <a:pt x="3195536" y="190499"/>
                    </a:lnTo>
                    <a:close/>
                  </a:path>
                  <a:path w="3439795" h="1447800">
                    <a:moveTo>
                      <a:pt x="3199856" y="190499"/>
                    </a:moveTo>
                    <a:lnTo>
                      <a:pt x="3195536" y="190499"/>
                    </a:lnTo>
                    <a:lnTo>
                      <a:pt x="3199856" y="203199"/>
                    </a:lnTo>
                    <a:lnTo>
                      <a:pt x="3199856" y="190499"/>
                    </a:lnTo>
                    <a:close/>
                  </a:path>
                  <a:path w="3439795" h="1447800">
                    <a:moveTo>
                      <a:pt x="3199856" y="190499"/>
                    </a:moveTo>
                    <a:lnTo>
                      <a:pt x="3199856" y="203199"/>
                    </a:lnTo>
                    <a:lnTo>
                      <a:pt x="3210657" y="203199"/>
                    </a:lnTo>
                    <a:lnTo>
                      <a:pt x="3199856" y="190499"/>
                    </a:lnTo>
                    <a:close/>
                  </a:path>
                  <a:path w="3439795" h="1447800">
                    <a:moveTo>
                      <a:pt x="3202016" y="190499"/>
                    </a:moveTo>
                    <a:lnTo>
                      <a:pt x="3199856" y="190499"/>
                    </a:lnTo>
                    <a:lnTo>
                      <a:pt x="3210657" y="203199"/>
                    </a:lnTo>
                    <a:lnTo>
                      <a:pt x="3202016" y="190499"/>
                    </a:lnTo>
                    <a:close/>
                  </a:path>
                  <a:path w="3439795" h="1447800">
                    <a:moveTo>
                      <a:pt x="3202016" y="190499"/>
                    </a:moveTo>
                    <a:lnTo>
                      <a:pt x="3210657" y="203199"/>
                    </a:lnTo>
                    <a:lnTo>
                      <a:pt x="3214978" y="203199"/>
                    </a:lnTo>
                    <a:lnTo>
                      <a:pt x="3202016" y="190499"/>
                    </a:lnTo>
                    <a:close/>
                  </a:path>
                  <a:path w="3439795" h="1447800">
                    <a:moveTo>
                      <a:pt x="3207201" y="180339"/>
                    </a:moveTo>
                    <a:lnTo>
                      <a:pt x="3202016" y="190499"/>
                    </a:lnTo>
                    <a:lnTo>
                      <a:pt x="3214978" y="203199"/>
                    </a:lnTo>
                    <a:lnTo>
                      <a:pt x="3204177" y="190499"/>
                    </a:lnTo>
                    <a:lnTo>
                      <a:pt x="3214978" y="190499"/>
                    </a:lnTo>
                    <a:lnTo>
                      <a:pt x="3214978" y="186871"/>
                    </a:lnTo>
                    <a:lnTo>
                      <a:pt x="3207201" y="180339"/>
                    </a:lnTo>
                    <a:close/>
                  </a:path>
                  <a:path w="3439795" h="1447800">
                    <a:moveTo>
                      <a:pt x="3214978" y="186871"/>
                    </a:moveTo>
                    <a:lnTo>
                      <a:pt x="3214978" y="190499"/>
                    </a:lnTo>
                    <a:lnTo>
                      <a:pt x="3204177" y="190499"/>
                    </a:lnTo>
                    <a:lnTo>
                      <a:pt x="3214978" y="203199"/>
                    </a:lnTo>
                    <a:lnTo>
                      <a:pt x="3217138" y="190499"/>
                    </a:lnTo>
                    <a:lnTo>
                      <a:pt x="3217519" y="189005"/>
                    </a:lnTo>
                    <a:lnTo>
                      <a:pt x="3214978" y="186871"/>
                    </a:lnTo>
                    <a:close/>
                  </a:path>
                  <a:path w="3439795" h="1447800">
                    <a:moveTo>
                      <a:pt x="3217138" y="190499"/>
                    </a:moveTo>
                    <a:lnTo>
                      <a:pt x="3214978" y="203199"/>
                    </a:lnTo>
                    <a:lnTo>
                      <a:pt x="3217138" y="196849"/>
                    </a:lnTo>
                    <a:lnTo>
                      <a:pt x="3217138" y="190499"/>
                    </a:lnTo>
                    <a:close/>
                  </a:path>
                  <a:path w="3439795" h="1447800">
                    <a:moveTo>
                      <a:pt x="3217138" y="196849"/>
                    </a:moveTo>
                    <a:lnTo>
                      <a:pt x="3214978" y="203199"/>
                    </a:lnTo>
                    <a:lnTo>
                      <a:pt x="3217138" y="203199"/>
                    </a:lnTo>
                    <a:lnTo>
                      <a:pt x="3217138" y="196849"/>
                    </a:lnTo>
                    <a:close/>
                  </a:path>
                  <a:path w="3439795" h="1447800">
                    <a:moveTo>
                      <a:pt x="3225779" y="188685"/>
                    </a:moveTo>
                    <a:lnTo>
                      <a:pt x="3223618" y="190499"/>
                    </a:lnTo>
                    <a:lnTo>
                      <a:pt x="3225779" y="203199"/>
                    </a:lnTo>
                    <a:lnTo>
                      <a:pt x="3234420" y="196849"/>
                    </a:lnTo>
                    <a:lnTo>
                      <a:pt x="3240900" y="190499"/>
                    </a:lnTo>
                    <a:lnTo>
                      <a:pt x="3225779" y="190499"/>
                    </a:lnTo>
                    <a:lnTo>
                      <a:pt x="3225779" y="188685"/>
                    </a:lnTo>
                    <a:close/>
                  </a:path>
                  <a:path w="3439795" h="1447800">
                    <a:moveTo>
                      <a:pt x="3234420" y="196849"/>
                    </a:moveTo>
                    <a:lnTo>
                      <a:pt x="3225779" y="203199"/>
                    </a:lnTo>
                    <a:lnTo>
                      <a:pt x="3227939" y="203199"/>
                    </a:lnTo>
                    <a:lnTo>
                      <a:pt x="3234420" y="196849"/>
                    </a:lnTo>
                    <a:close/>
                  </a:path>
                  <a:path w="3439795" h="1447800">
                    <a:moveTo>
                      <a:pt x="3244141" y="196849"/>
                    </a:moveTo>
                    <a:lnTo>
                      <a:pt x="3245221" y="203199"/>
                    </a:lnTo>
                    <a:lnTo>
                      <a:pt x="3247381" y="203199"/>
                    </a:lnTo>
                    <a:lnTo>
                      <a:pt x="3244141" y="196849"/>
                    </a:lnTo>
                    <a:close/>
                  </a:path>
                  <a:path w="3439795" h="1447800">
                    <a:moveTo>
                      <a:pt x="3402826" y="177799"/>
                    </a:moveTo>
                    <a:lnTo>
                      <a:pt x="3394186" y="190499"/>
                    </a:lnTo>
                    <a:lnTo>
                      <a:pt x="3411467" y="203199"/>
                    </a:lnTo>
                    <a:lnTo>
                      <a:pt x="3413010" y="201385"/>
                    </a:lnTo>
                    <a:lnTo>
                      <a:pt x="3409307" y="190499"/>
                    </a:lnTo>
                    <a:lnTo>
                      <a:pt x="3398506" y="190499"/>
                    </a:lnTo>
                    <a:lnTo>
                      <a:pt x="3402826" y="177799"/>
                    </a:lnTo>
                    <a:close/>
                  </a:path>
                  <a:path w="3439795" h="1447800">
                    <a:moveTo>
                      <a:pt x="3419568" y="193674"/>
                    </a:moveTo>
                    <a:lnTo>
                      <a:pt x="3413010" y="201385"/>
                    </a:lnTo>
                    <a:lnTo>
                      <a:pt x="3413628" y="203199"/>
                    </a:lnTo>
                    <a:lnTo>
                      <a:pt x="3417948" y="203199"/>
                    </a:lnTo>
                    <a:lnTo>
                      <a:pt x="3419568" y="193674"/>
                    </a:lnTo>
                    <a:close/>
                  </a:path>
                  <a:path w="3439795" h="1447800">
                    <a:moveTo>
                      <a:pt x="3421438" y="191476"/>
                    </a:moveTo>
                    <a:lnTo>
                      <a:pt x="3420108" y="193039"/>
                    </a:lnTo>
                    <a:lnTo>
                      <a:pt x="3420108" y="203199"/>
                    </a:lnTo>
                    <a:lnTo>
                      <a:pt x="3423565" y="193039"/>
                    </a:lnTo>
                    <a:lnTo>
                      <a:pt x="3421438" y="191476"/>
                    </a:lnTo>
                    <a:close/>
                  </a:path>
                  <a:path w="3439795" h="1447800">
                    <a:moveTo>
                      <a:pt x="3423565" y="193039"/>
                    </a:moveTo>
                    <a:lnTo>
                      <a:pt x="3420108" y="203199"/>
                    </a:lnTo>
                    <a:lnTo>
                      <a:pt x="3423349" y="196849"/>
                    </a:lnTo>
                    <a:lnTo>
                      <a:pt x="3423949" y="193322"/>
                    </a:lnTo>
                    <a:lnTo>
                      <a:pt x="3423565" y="193039"/>
                    </a:lnTo>
                    <a:close/>
                  </a:path>
                  <a:path w="3439795" h="1447800">
                    <a:moveTo>
                      <a:pt x="3423349" y="196849"/>
                    </a:moveTo>
                    <a:lnTo>
                      <a:pt x="3420108" y="203199"/>
                    </a:lnTo>
                    <a:lnTo>
                      <a:pt x="3422268" y="203199"/>
                    </a:lnTo>
                    <a:lnTo>
                      <a:pt x="3423349" y="196849"/>
                    </a:lnTo>
                    <a:close/>
                  </a:path>
                  <a:path w="3439795" h="1447800">
                    <a:moveTo>
                      <a:pt x="3424821" y="193963"/>
                    </a:moveTo>
                    <a:lnTo>
                      <a:pt x="3423349" y="196849"/>
                    </a:lnTo>
                    <a:lnTo>
                      <a:pt x="3422268" y="203199"/>
                    </a:lnTo>
                    <a:lnTo>
                      <a:pt x="3437390" y="203199"/>
                    </a:lnTo>
                    <a:lnTo>
                      <a:pt x="3424821" y="193963"/>
                    </a:lnTo>
                    <a:close/>
                  </a:path>
                  <a:path w="3439795" h="1447800">
                    <a:moveTo>
                      <a:pt x="3430909" y="190499"/>
                    </a:moveTo>
                    <a:lnTo>
                      <a:pt x="3426589" y="190499"/>
                    </a:lnTo>
                    <a:lnTo>
                      <a:pt x="3424821" y="193963"/>
                    </a:lnTo>
                    <a:lnTo>
                      <a:pt x="3437390" y="203199"/>
                    </a:lnTo>
                    <a:lnTo>
                      <a:pt x="3430909" y="190499"/>
                    </a:lnTo>
                    <a:close/>
                  </a:path>
                  <a:path w="3439795" h="1447800">
                    <a:moveTo>
                      <a:pt x="3439550" y="190499"/>
                    </a:moveTo>
                    <a:lnTo>
                      <a:pt x="3430909" y="190499"/>
                    </a:lnTo>
                    <a:lnTo>
                      <a:pt x="3437390" y="203199"/>
                    </a:lnTo>
                    <a:lnTo>
                      <a:pt x="3439550" y="190499"/>
                    </a:lnTo>
                    <a:close/>
                  </a:path>
                  <a:path w="3439795" h="1447800">
                    <a:moveTo>
                      <a:pt x="3420108" y="190499"/>
                    </a:moveTo>
                    <a:lnTo>
                      <a:pt x="3409307" y="190499"/>
                    </a:lnTo>
                    <a:lnTo>
                      <a:pt x="3413010" y="201385"/>
                    </a:lnTo>
                    <a:lnTo>
                      <a:pt x="3419568" y="193674"/>
                    </a:lnTo>
                    <a:lnTo>
                      <a:pt x="3420108" y="190499"/>
                    </a:lnTo>
                    <a:close/>
                  </a:path>
                  <a:path w="3439795" h="1447800">
                    <a:moveTo>
                      <a:pt x="3006607" y="196849"/>
                    </a:moveTo>
                    <a:lnTo>
                      <a:pt x="3007327" y="201083"/>
                    </a:lnTo>
                    <a:lnTo>
                      <a:pt x="3008227" y="200024"/>
                    </a:lnTo>
                    <a:lnTo>
                      <a:pt x="3006607" y="196849"/>
                    </a:lnTo>
                    <a:close/>
                  </a:path>
                  <a:path w="3439795" h="1447800">
                    <a:moveTo>
                      <a:pt x="2951611" y="177799"/>
                    </a:moveTo>
                    <a:lnTo>
                      <a:pt x="2949451" y="177799"/>
                    </a:lnTo>
                    <a:lnTo>
                      <a:pt x="2949451" y="200024"/>
                    </a:lnTo>
                    <a:lnTo>
                      <a:pt x="2949691" y="200377"/>
                    </a:lnTo>
                    <a:lnTo>
                      <a:pt x="2951611" y="177799"/>
                    </a:lnTo>
                    <a:close/>
                  </a:path>
                  <a:path w="3439795" h="1447800">
                    <a:moveTo>
                      <a:pt x="2942970" y="177799"/>
                    </a:moveTo>
                    <a:lnTo>
                      <a:pt x="2936490" y="190499"/>
                    </a:lnTo>
                    <a:lnTo>
                      <a:pt x="2942970" y="200024"/>
                    </a:lnTo>
                    <a:lnTo>
                      <a:pt x="2942970" y="190499"/>
                    </a:lnTo>
                    <a:lnTo>
                      <a:pt x="2938650" y="190499"/>
                    </a:lnTo>
                    <a:lnTo>
                      <a:pt x="2942970" y="177799"/>
                    </a:lnTo>
                    <a:close/>
                  </a:path>
                  <a:path w="3439795" h="1447800">
                    <a:moveTo>
                      <a:pt x="2949451" y="177799"/>
                    </a:moveTo>
                    <a:lnTo>
                      <a:pt x="2942970" y="177799"/>
                    </a:lnTo>
                    <a:lnTo>
                      <a:pt x="2938650" y="190499"/>
                    </a:lnTo>
                    <a:lnTo>
                      <a:pt x="2942970" y="190499"/>
                    </a:lnTo>
                    <a:lnTo>
                      <a:pt x="2949451" y="200024"/>
                    </a:lnTo>
                    <a:lnTo>
                      <a:pt x="2949451" y="177799"/>
                    </a:lnTo>
                    <a:close/>
                  </a:path>
                  <a:path w="3439795" h="1447800">
                    <a:moveTo>
                      <a:pt x="3012007" y="190499"/>
                    </a:moveTo>
                    <a:lnTo>
                      <a:pt x="3005527" y="190499"/>
                    </a:lnTo>
                    <a:lnTo>
                      <a:pt x="3006607" y="196849"/>
                    </a:lnTo>
                    <a:lnTo>
                      <a:pt x="3008227" y="200024"/>
                    </a:lnTo>
                    <a:lnTo>
                      <a:pt x="3012007" y="195579"/>
                    </a:lnTo>
                    <a:lnTo>
                      <a:pt x="3012007" y="190499"/>
                    </a:lnTo>
                    <a:close/>
                  </a:path>
                  <a:path w="3439795" h="1447800">
                    <a:moveTo>
                      <a:pt x="3178344" y="190499"/>
                    </a:moveTo>
                    <a:lnTo>
                      <a:pt x="3176184" y="190499"/>
                    </a:lnTo>
                    <a:lnTo>
                      <a:pt x="3171863" y="198966"/>
                    </a:lnTo>
                    <a:lnTo>
                      <a:pt x="3176184" y="194733"/>
                    </a:lnTo>
                    <a:lnTo>
                      <a:pt x="3178344" y="190499"/>
                    </a:lnTo>
                    <a:close/>
                  </a:path>
                  <a:path w="3439795" h="1447800">
                    <a:moveTo>
                      <a:pt x="2990495" y="190499"/>
                    </a:moveTo>
                    <a:lnTo>
                      <a:pt x="2986175" y="194733"/>
                    </a:lnTo>
                    <a:lnTo>
                      <a:pt x="2986175" y="196849"/>
                    </a:lnTo>
                    <a:lnTo>
                      <a:pt x="2990495" y="190499"/>
                    </a:lnTo>
                    <a:close/>
                  </a:path>
                  <a:path w="3439795" h="1447800">
                    <a:moveTo>
                      <a:pt x="3005527" y="190499"/>
                    </a:moveTo>
                    <a:lnTo>
                      <a:pt x="3005527" y="194733"/>
                    </a:lnTo>
                    <a:lnTo>
                      <a:pt x="3006607" y="196849"/>
                    </a:lnTo>
                    <a:lnTo>
                      <a:pt x="3005527" y="190499"/>
                    </a:lnTo>
                    <a:close/>
                  </a:path>
                  <a:path w="3439795" h="1447800">
                    <a:moveTo>
                      <a:pt x="3218135" y="189523"/>
                    </a:moveTo>
                    <a:lnTo>
                      <a:pt x="3217138" y="190499"/>
                    </a:lnTo>
                    <a:lnTo>
                      <a:pt x="3217138" y="196849"/>
                    </a:lnTo>
                    <a:lnTo>
                      <a:pt x="3219298" y="190499"/>
                    </a:lnTo>
                    <a:lnTo>
                      <a:pt x="3218135" y="189523"/>
                    </a:lnTo>
                    <a:close/>
                  </a:path>
                  <a:path w="3439795" h="1447800">
                    <a:moveTo>
                      <a:pt x="3240900" y="190499"/>
                    </a:moveTo>
                    <a:lnTo>
                      <a:pt x="3234420" y="196849"/>
                    </a:lnTo>
                    <a:lnTo>
                      <a:pt x="3241489" y="191654"/>
                    </a:lnTo>
                    <a:lnTo>
                      <a:pt x="3240900" y="190499"/>
                    </a:lnTo>
                    <a:close/>
                  </a:path>
                  <a:path w="3439795" h="1447800">
                    <a:moveTo>
                      <a:pt x="3243060" y="190499"/>
                    </a:moveTo>
                    <a:lnTo>
                      <a:pt x="3242340" y="193322"/>
                    </a:lnTo>
                    <a:lnTo>
                      <a:pt x="3244141" y="196849"/>
                    </a:lnTo>
                    <a:lnTo>
                      <a:pt x="3243060" y="190499"/>
                    </a:lnTo>
                    <a:close/>
                  </a:path>
                  <a:path w="3439795" h="1447800">
                    <a:moveTo>
                      <a:pt x="3423949" y="193322"/>
                    </a:moveTo>
                    <a:lnTo>
                      <a:pt x="3423349" y="196849"/>
                    </a:lnTo>
                    <a:lnTo>
                      <a:pt x="3424821" y="193963"/>
                    </a:lnTo>
                    <a:lnTo>
                      <a:pt x="3423949" y="193322"/>
                    </a:lnTo>
                    <a:close/>
                  </a:path>
                  <a:path w="3439795" h="1447800">
                    <a:moveTo>
                      <a:pt x="3012007" y="177799"/>
                    </a:moveTo>
                    <a:lnTo>
                      <a:pt x="3012007" y="195579"/>
                    </a:lnTo>
                    <a:lnTo>
                      <a:pt x="3013382" y="193963"/>
                    </a:lnTo>
                    <a:lnTo>
                      <a:pt x="3012007" y="177799"/>
                    </a:lnTo>
                    <a:close/>
                  </a:path>
                  <a:path w="3439795" h="1447800">
                    <a:moveTo>
                      <a:pt x="2990495" y="190499"/>
                    </a:moveTo>
                    <a:lnTo>
                      <a:pt x="2986175" y="190499"/>
                    </a:lnTo>
                    <a:lnTo>
                      <a:pt x="2986175" y="194733"/>
                    </a:lnTo>
                    <a:lnTo>
                      <a:pt x="2990495" y="190499"/>
                    </a:lnTo>
                    <a:close/>
                  </a:path>
                  <a:path w="3439795" h="1447800">
                    <a:moveTo>
                      <a:pt x="3012007" y="177799"/>
                    </a:moveTo>
                    <a:lnTo>
                      <a:pt x="3009847" y="177799"/>
                    </a:lnTo>
                    <a:lnTo>
                      <a:pt x="3003366" y="190499"/>
                    </a:lnTo>
                    <a:lnTo>
                      <a:pt x="3005527" y="194733"/>
                    </a:lnTo>
                    <a:lnTo>
                      <a:pt x="3005527" y="190499"/>
                    </a:lnTo>
                    <a:lnTo>
                      <a:pt x="3012007" y="190499"/>
                    </a:lnTo>
                    <a:lnTo>
                      <a:pt x="3012007" y="177799"/>
                    </a:lnTo>
                    <a:close/>
                  </a:path>
                  <a:path w="3439795" h="1447800">
                    <a:moveTo>
                      <a:pt x="3180504" y="190499"/>
                    </a:moveTo>
                    <a:lnTo>
                      <a:pt x="3178344" y="190499"/>
                    </a:lnTo>
                    <a:lnTo>
                      <a:pt x="3176184" y="194733"/>
                    </a:lnTo>
                    <a:lnTo>
                      <a:pt x="3180504" y="190499"/>
                    </a:lnTo>
                    <a:close/>
                  </a:path>
                  <a:path w="3439795" h="1447800">
                    <a:moveTo>
                      <a:pt x="3184825" y="190499"/>
                    </a:moveTo>
                    <a:lnTo>
                      <a:pt x="3180504" y="190499"/>
                    </a:lnTo>
                    <a:lnTo>
                      <a:pt x="3180504" y="194733"/>
                    </a:lnTo>
                    <a:lnTo>
                      <a:pt x="3184825" y="190499"/>
                    </a:lnTo>
                    <a:close/>
                  </a:path>
                  <a:path w="3439795" h="1447800">
                    <a:moveTo>
                      <a:pt x="3014168" y="177799"/>
                    </a:moveTo>
                    <a:lnTo>
                      <a:pt x="3012007" y="177799"/>
                    </a:lnTo>
                    <a:lnTo>
                      <a:pt x="3013382" y="193963"/>
                    </a:lnTo>
                    <a:lnTo>
                      <a:pt x="3016328" y="190499"/>
                    </a:lnTo>
                    <a:lnTo>
                      <a:pt x="3014168" y="190499"/>
                    </a:lnTo>
                    <a:lnTo>
                      <a:pt x="3016328" y="186266"/>
                    </a:lnTo>
                    <a:lnTo>
                      <a:pt x="3014168" y="177799"/>
                    </a:lnTo>
                    <a:close/>
                  </a:path>
                  <a:path w="3439795" h="1447800">
                    <a:moveTo>
                      <a:pt x="3426589" y="190499"/>
                    </a:moveTo>
                    <a:lnTo>
                      <a:pt x="3424429" y="190499"/>
                    </a:lnTo>
                    <a:lnTo>
                      <a:pt x="3423949" y="193322"/>
                    </a:lnTo>
                    <a:lnTo>
                      <a:pt x="3424821" y="193963"/>
                    </a:lnTo>
                    <a:lnTo>
                      <a:pt x="3426589" y="190499"/>
                    </a:lnTo>
                    <a:close/>
                  </a:path>
                  <a:path w="3439795" h="1447800">
                    <a:moveTo>
                      <a:pt x="3420108" y="190499"/>
                    </a:moveTo>
                    <a:lnTo>
                      <a:pt x="3419568" y="193674"/>
                    </a:lnTo>
                    <a:lnTo>
                      <a:pt x="3420108" y="193039"/>
                    </a:lnTo>
                    <a:lnTo>
                      <a:pt x="3420108" y="190499"/>
                    </a:lnTo>
                    <a:close/>
                  </a:path>
                  <a:path w="3439795" h="1447800">
                    <a:moveTo>
                      <a:pt x="3243060" y="190499"/>
                    </a:moveTo>
                    <a:lnTo>
                      <a:pt x="3241489" y="191654"/>
                    </a:lnTo>
                    <a:lnTo>
                      <a:pt x="3242340" y="193322"/>
                    </a:lnTo>
                    <a:lnTo>
                      <a:pt x="3243060" y="190499"/>
                    </a:lnTo>
                    <a:close/>
                  </a:path>
                  <a:path w="3439795" h="1447800">
                    <a:moveTo>
                      <a:pt x="3424429" y="190499"/>
                    </a:moveTo>
                    <a:lnTo>
                      <a:pt x="3423565" y="193039"/>
                    </a:lnTo>
                    <a:lnTo>
                      <a:pt x="3423949" y="193322"/>
                    </a:lnTo>
                    <a:lnTo>
                      <a:pt x="3424429" y="190499"/>
                    </a:lnTo>
                    <a:close/>
                  </a:path>
                  <a:path w="3439795" h="1447800">
                    <a:moveTo>
                      <a:pt x="3420108" y="190499"/>
                    </a:moveTo>
                    <a:lnTo>
                      <a:pt x="3420108" y="193039"/>
                    </a:lnTo>
                    <a:lnTo>
                      <a:pt x="3421438" y="191476"/>
                    </a:lnTo>
                    <a:lnTo>
                      <a:pt x="3420108" y="190499"/>
                    </a:lnTo>
                    <a:close/>
                  </a:path>
                  <a:path w="3439795" h="1447800">
                    <a:moveTo>
                      <a:pt x="3424429" y="190499"/>
                    </a:moveTo>
                    <a:lnTo>
                      <a:pt x="3422268" y="190499"/>
                    </a:lnTo>
                    <a:lnTo>
                      <a:pt x="3421438" y="191476"/>
                    </a:lnTo>
                    <a:lnTo>
                      <a:pt x="3423565" y="193039"/>
                    </a:lnTo>
                    <a:lnTo>
                      <a:pt x="3424429" y="190499"/>
                    </a:lnTo>
                    <a:close/>
                  </a:path>
                  <a:path w="3439795" h="1447800">
                    <a:moveTo>
                      <a:pt x="3243060" y="190499"/>
                    </a:moveTo>
                    <a:lnTo>
                      <a:pt x="3240900" y="190499"/>
                    </a:lnTo>
                    <a:lnTo>
                      <a:pt x="3241489" y="191654"/>
                    </a:lnTo>
                    <a:lnTo>
                      <a:pt x="3243060" y="190499"/>
                    </a:lnTo>
                    <a:close/>
                  </a:path>
                  <a:path w="3439795" h="1447800">
                    <a:moveTo>
                      <a:pt x="3420108" y="177799"/>
                    </a:moveTo>
                    <a:lnTo>
                      <a:pt x="3402826" y="177799"/>
                    </a:lnTo>
                    <a:lnTo>
                      <a:pt x="3398506" y="190499"/>
                    </a:lnTo>
                    <a:lnTo>
                      <a:pt x="3420108" y="190499"/>
                    </a:lnTo>
                    <a:lnTo>
                      <a:pt x="3421438" y="191476"/>
                    </a:lnTo>
                    <a:lnTo>
                      <a:pt x="3422268" y="190499"/>
                    </a:lnTo>
                    <a:lnTo>
                      <a:pt x="3420108" y="177799"/>
                    </a:lnTo>
                    <a:close/>
                  </a:path>
                  <a:path w="3439795" h="1447800">
                    <a:moveTo>
                      <a:pt x="2463582" y="177799"/>
                    </a:moveTo>
                    <a:lnTo>
                      <a:pt x="2470063" y="190499"/>
                    </a:lnTo>
                    <a:lnTo>
                      <a:pt x="2474383" y="190499"/>
                    </a:lnTo>
                    <a:lnTo>
                      <a:pt x="2463582" y="177799"/>
                    </a:lnTo>
                    <a:close/>
                  </a:path>
                  <a:path w="3439795" h="1447800">
                    <a:moveTo>
                      <a:pt x="2472223" y="177799"/>
                    </a:moveTo>
                    <a:lnTo>
                      <a:pt x="2463582" y="177799"/>
                    </a:lnTo>
                    <a:lnTo>
                      <a:pt x="2474383" y="190499"/>
                    </a:lnTo>
                    <a:lnTo>
                      <a:pt x="2472223" y="177799"/>
                    </a:lnTo>
                    <a:close/>
                  </a:path>
                  <a:path w="3439795" h="1447800">
                    <a:moveTo>
                      <a:pt x="2472223" y="177799"/>
                    </a:moveTo>
                    <a:lnTo>
                      <a:pt x="2474383" y="190499"/>
                    </a:lnTo>
                    <a:lnTo>
                      <a:pt x="2476544" y="190499"/>
                    </a:lnTo>
                    <a:lnTo>
                      <a:pt x="2472223" y="177799"/>
                    </a:lnTo>
                    <a:close/>
                  </a:path>
                  <a:path w="3439795" h="1447800">
                    <a:moveTo>
                      <a:pt x="2480864" y="177799"/>
                    </a:moveTo>
                    <a:lnTo>
                      <a:pt x="2472223" y="177799"/>
                    </a:lnTo>
                    <a:lnTo>
                      <a:pt x="2476544" y="190499"/>
                    </a:lnTo>
                    <a:lnTo>
                      <a:pt x="2483024" y="190499"/>
                    </a:lnTo>
                    <a:lnTo>
                      <a:pt x="2480864" y="177799"/>
                    </a:lnTo>
                    <a:close/>
                  </a:path>
                  <a:path w="3439795" h="1447800">
                    <a:moveTo>
                      <a:pt x="2498146" y="177799"/>
                    </a:moveTo>
                    <a:lnTo>
                      <a:pt x="2480864" y="177799"/>
                    </a:lnTo>
                    <a:lnTo>
                      <a:pt x="2483024" y="190499"/>
                    </a:lnTo>
                    <a:lnTo>
                      <a:pt x="2500306" y="190499"/>
                    </a:lnTo>
                    <a:lnTo>
                      <a:pt x="2498146" y="177799"/>
                    </a:lnTo>
                    <a:close/>
                  </a:path>
                  <a:path w="3439795" h="1447800">
                    <a:moveTo>
                      <a:pt x="2517588" y="165099"/>
                    </a:moveTo>
                    <a:lnTo>
                      <a:pt x="2498146" y="177799"/>
                    </a:lnTo>
                    <a:lnTo>
                      <a:pt x="2500306" y="190499"/>
                    </a:lnTo>
                    <a:lnTo>
                      <a:pt x="2517588" y="190499"/>
                    </a:lnTo>
                    <a:lnTo>
                      <a:pt x="2517588" y="165099"/>
                    </a:lnTo>
                    <a:close/>
                  </a:path>
                  <a:path w="3439795" h="1447800">
                    <a:moveTo>
                      <a:pt x="2517588" y="165099"/>
                    </a:moveTo>
                    <a:lnTo>
                      <a:pt x="2517588" y="190499"/>
                    </a:lnTo>
                    <a:lnTo>
                      <a:pt x="2519748" y="190499"/>
                    </a:lnTo>
                    <a:lnTo>
                      <a:pt x="2517588" y="165099"/>
                    </a:lnTo>
                    <a:close/>
                  </a:path>
                  <a:path w="3439795" h="1447800">
                    <a:moveTo>
                      <a:pt x="2530549" y="165099"/>
                    </a:moveTo>
                    <a:lnTo>
                      <a:pt x="2517588" y="165099"/>
                    </a:lnTo>
                    <a:lnTo>
                      <a:pt x="2519748" y="190499"/>
                    </a:lnTo>
                    <a:lnTo>
                      <a:pt x="2530549" y="190499"/>
                    </a:lnTo>
                    <a:lnTo>
                      <a:pt x="2530549" y="165099"/>
                    </a:lnTo>
                    <a:close/>
                  </a:path>
                  <a:path w="3439795" h="1447800">
                    <a:moveTo>
                      <a:pt x="2543510" y="165099"/>
                    </a:moveTo>
                    <a:lnTo>
                      <a:pt x="2530549" y="165099"/>
                    </a:lnTo>
                    <a:lnTo>
                      <a:pt x="2530549" y="190499"/>
                    </a:lnTo>
                    <a:lnTo>
                      <a:pt x="2545671" y="190499"/>
                    </a:lnTo>
                    <a:lnTo>
                      <a:pt x="2541350" y="177799"/>
                    </a:lnTo>
                    <a:lnTo>
                      <a:pt x="2544503" y="176770"/>
                    </a:lnTo>
                    <a:lnTo>
                      <a:pt x="2543510" y="165099"/>
                    </a:lnTo>
                    <a:close/>
                  </a:path>
                  <a:path w="3439795" h="1447800">
                    <a:moveTo>
                      <a:pt x="2544503" y="176770"/>
                    </a:moveTo>
                    <a:lnTo>
                      <a:pt x="2541350" y="177799"/>
                    </a:lnTo>
                    <a:lnTo>
                      <a:pt x="2545671" y="190499"/>
                    </a:lnTo>
                    <a:lnTo>
                      <a:pt x="2544503" y="176770"/>
                    </a:lnTo>
                    <a:close/>
                  </a:path>
                  <a:path w="3439795" h="1447800">
                    <a:moveTo>
                      <a:pt x="2580234" y="165099"/>
                    </a:moveTo>
                    <a:lnTo>
                      <a:pt x="2544503" y="176770"/>
                    </a:lnTo>
                    <a:lnTo>
                      <a:pt x="2545671" y="190499"/>
                    </a:lnTo>
                    <a:lnTo>
                      <a:pt x="2582394" y="177799"/>
                    </a:lnTo>
                    <a:lnTo>
                      <a:pt x="2580234" y="165099"/>
                    </a:lnTo>
                    <a:close/>
                  </a:path>
                  <a:path w="3439795" h="1447800">
                    <a:moveTo>
                      <a:pt x="2921368" y="165099"/>
                    </a:moveTo>
                    <a:lnTo>
                      <a:pt x="2910567" y="165099"/>
                    </a:lnTo>
                    <a:lnTo>
                      <a:pt x="2899766" y="177799"/>
                    </a:lnTo>
                    <a:lnTo>
                      <a:pt x="2910567" y="190499"/>
                    </a:lnTo>
                    <a:lnTo>
                      <a:pt x="2913513" y="183572"/>
                    </a:lnTo>
                    <a:lnTo>
                      <a:pt x="2910567" y="177799"/>
                    </a:lnTo>
                    <a:lnTo>
                      <a:pt x="2921368" y="165099"/>
                    </a:lnTo>
                    <a:close/>
                  </a:path>
                  <a:path w="3439795" h="1447800">
                    <a:moveTo>
                      <a:pt x="2921368" y="165099"/>
                    </a:moveTo>
                    <a:lnTo>
                      <a:pt x="2913513" y="183572"/>
                    </a:lnTo>
                    <a:lnTo>
                      <a:pt x="2917048" y="190499"/>
                    </a:lnTo>
                    <a:lnTo>
                      <a:pt x="2925689" y="182033"/>
                    </a:lnTo>
                    <a:lnTo>
                      <a:pt x="2927849" y="177799"/>
                    </a:lnTo>
                    <a:lnTo>
                      <a:pt x="2921368" y="165099"/>
                    </a:lnTo>
                    <a:close/>
                  </a:path>
                  <a:path w="3439795" h="1447800">
                    <a:moveTo>
                      <a:pt x="2925689" y="182033"/>
                    </a:moveTo>
                    <a:lnTo>
                      <a:pt x="2917048" y="190499"/>
                    </a:lnTo>
                    <a:lnTo>
                      <a:pt x="2921368" y="190499"/>
                    </a:lnTo>
                    <a:lnTo>
                      <a:pt x="2925689" y="182033"/>
                    </a:lnTo>
                    <a:close/>
                  </a:path>
                  <a:path w="3439795" h="1447800">
                    <a:moveTo>
                      <a:pt x="2930009" y="177799"/>
                    </a:moveTo>
                    <a:lnTo>
                      <a:pt x="2925689" y="182033"/>
                    </a:lnTo>
                    <a:lnTo>
                      <a:pt x="2921368" y="190499"/>
                    </a:lnTo>
                    <a:lnTo>
                      <a:pt x="2929469" y="180974"/>
                    </a:lnTo>
                    <a:lnTo>
                      <a:pt x="2930009" y="177799"/>
                    </a:lnTo>
                    <a:close/>
                  </a:path>
                  <a:path w="3439795" h="1447800">
                    <a:moveTo>
                      <a:pt x="2929469" y="180974"/>
                    </a:moveTo>
                    <a:lnTo>
                      <a:pt x="2921368" y="190499"/>
                    </a:lnTo>
                    <a:lnTo>
                      <a:pt x="2927849" y="190499"/>
                    </a:lnTo>
                    <a:lnTo>
                      <a:pt x="2929469" y="180974"/>
                    </a:lnTo>
                    <a:close/>
                  </a:path>
                  <a:path w="3439795" h="1447800">
                    <a:moveTo>
                      <a:pt x="2932169" y="177799"/>
                    </a:moveTo>
                    <a:lnTo>
                      <a:pt x="2929469" y="180974"/>
                    </a:lnTo>
                    <a:lnTo>
                      <a:pt x="2927849" y="190499"/>
                    </a:lnTo>
                    <a:lnTo>
                      <a:pt x="2932169" y="177799"/>
                    </a:lnTo>
                    <a:close/>
                  </a:path>
                  <a:path w="3439795" h="1447800">
                    <a:moveTo>
                      <a:pt x="2942970" y="177799"/>
                    </a:moveTo>
                    <a:lnTo>
                      <a:pt x="2932169" y="177799"/>
                    </a:lnTo>
                    <a:lnTo>
                      <a:pt x="2927849" y="190499"/>
                    </a:lnTo>
                    <a:lnTo>
                      <a:pt x="2936490" y="190499"/>
                    </a:lnTo>
                    <a:lnTo>
                      <a:pt x="2942970" y="177799"/>
                    </a:lnTo>
                    <a:close/>
                  </a:path>
                  <a:path w="3439795" h="1447800">
                    <a:moveTo>
                      <a:pt x="2953771" y="177799"/>
                    </a:moveTo>
                    <a:lnTo>
                      <a:pt x="2953531" y="180622"/>
                    </a:lnTo>
                    <a:lnTo>
                      <a:pt x="2960252" y="190499"/>
                    </a:lnTo>
                    <a:lnTo>
                      <a:pt x="2960252" y="185419"/>
                    </a:lnTo>
                    <a:lnTo>
                      <a:pt x="2953771" y="177799"/>
                    </a:lnTo>
                    <a:close/>
                  </a:path>
                  <a:path w="3439795" h="1447800">
                    <a:moveTo>
                      <a:pt x="3022088" y="182033"/>
                    </a:moveTo>
                    <a:lnTo>
                      <a:pt x="3024969" y="190499"/>
                    </a:lnTo>
                    <a:lnTo>
                      <a:pt x="3029289" y="190499"/>
                    </a:lnTo>
                    <a:lnTo>
                      <a:pt x="3022088" y="182033"/>
                    </a:lnTo>
                    <a:close/>
                  </a:path>
                  <a:path w="3439795" h="1447800">
                    <a:moveTo>
                      <a:pt x="3020648" y="177799"/>
                    </a:moveTo>
                    <a:lnTo>
                      <a:pt x="3022088" y="182033"/>
                    </a:lnTo>
                    <a:lnTo>
                      <a:pt x="3029289" y="190499"/>
                    </a:lnTo>
                    <a:lnTo>
                      <a:pt x="3031449" y="190499"/>
                    </a:lnTo>
                    <a:lnTo>
                      <a:pt x="3020648" y="177799"/>
                    </a:lnTo>
                    <a:close/>
                  </a:path>
                  <a:path w="3439795" h="1447800">
                    <a:moveTo>
                      <a:pt x="3040090" y="177799"/>
                    </a:moveTo>
                    <a:lnTo>
                      <a:pt x="3020648" y="177799"/>
                    </a:lnTo>
                    <a:lnTo>
                      <a:pt x="3031449" y="190499"/>
                    </a:lnTo>
                    <a:lnTo>
                      <a:pt x="3042250" y="190499"/>
                    </a:lnTo>
                    <a:lnTo>
                      <a:pt x="3040090" y="177799"/>
                    </a:lnTo>
                    <a:close/>
                  </a:path>
                  <a:path w="3439795" h="1447800">
                    <a:moveTo>
                      <a:pt x="3055212" y="177799"/>
                    </a:moveTo>
                    <a:lnTo>
                      <a:pt x="3040090" y="177799"/>
                    </a:lnTo>
                    <a:lnTo>
                      <a:pt x="3042250" y="190499"/>
                    </a:lnTo>
                    <a:lnTo>
                      <a:pt x="3059532" y="190499"/>
                    </a:lnTo>
                    <a:lnTo>
                      <a:pt x="3055212" y="177799"/>
                    </a:lnTo>
                    <a:close/>
                  </a:path>
                  <a:path w="3439795" h="1447800">
                    <a:moveTo>
                      <a:pt x="3066013" y="165099"/>
                    </a:moveTo>
                    <a:lnTo>
                      <a:pt x="3061692" y="165099"/>
                    </a:lnTo>
                    <a:lnTo>
                      <a:pt x="3055212" y="177799"/>
                    </a:lnTo>
                    <a:lnTo>
                      <a:pt x="3059532" y="190499"/>
                    </a:lnTo>
                    <a:lnTo>
                      <a:pt x="3066013" y="190499"/>
                    </a:lnTo>
                    <a:lnTo>
                      <a:pt x="3066013" y="165099"/>
                    </a:lnTo>
                    <a:close/>
                  </a:path>
                  <a:path w="3439795" h="1447800">
                    <a:moveTo>
                      <a:pt x="3066013" y="165099"/>
                    </a:moveTo>
                    <a:lnTo>
                      <a:pt x="3066013" y="190499"/>
                    </a:lnTo>
                    <a:lnTo>
                      <a:pt x="3068173" y="190499"/>
                    </a:lnTo>
                    <a:lnTo>
                      <a:pt x="3066013" y="165099"/>
                    </a:lnTo>
                    <a:close/>
                  </a:path>
                  <a:path w="3439795" h="1447800">
                    <a:moveTo>
                      <a:pt x="3074654" y="165099"/>
                    </a:moveTo>
                    <a:lnTo>
                      <a:pt x="3066013" y="165099"/>
                    </a:lnTo>
                    <a:lnTo>
                      <a:pt x="3068173" y="190499"/>
                    </a:lnTo>
                    <a:lnTo>
                      <a:pt x="3076814" y="190499"/>
                    </a:lnTo>
                    <a:lnTo>
                      <a:pt x="3074654" y="165099"/>
                    </a:lnTo>
                    <a:close/>
                  </a:path>
                  <a:path w="3439795" h="1447800">
                    <a:moveTo>
                      <a:pt x="3076814" y="165099"/>
                    </a:moveTo>
                    <a:lnTo>
                      <a:pt x="3074654" y="165099"/>
                    </a:lnTo>
                    <a:lnTo>
                      <a:pt x="3076814" y="190499"/>
                    </a:lnTo>
                    <a:lnTo>
                      <a:pt x="3083294" y="190499"/>
                    </a:lnTo>
                    <a:lnTo>
                      <a:pt x="3087615" y="177799"/>
                    </a:lnTo>
                    <a:lnTo>
                      <a:pt x="3076814" y="165099"/>
                    </a:lnTo>
                    <a:close/>
                  </a:path>
                  <a:path w="3439795" h="1447800">
                    <a:moveTo>
                      <a:pt x="3087615" y="177799"/>
                    </a:moveTo>
                    <a:lnTo>
                      <a:pt x="3083294" y="190499"/>
                    </a:lnTo>
                    <a:lnTo>
                      <a:pt x="3085455" y="190499"/>
                    </a:lnTo>
                    <a:lnTo>
                      <a:pt x="3087615" y="177799"/>
                    </a:lnTo>
                    <a:close/>
                  </a:path>
                  <a:path w="3439795" h="1447800">
                    <a:moveTo>
                      <a:pt x="3158902" y="177799"/>
                    </a:moveTo>
                    <a:lnTo>
                      <a:pt x="3156742" y="177799"/>
                    </a:lnTo>
                    <a:lnTo>
                      <a:pt x="3154582" y="190499"/>
                    </a:lnTo>
                    <a:lnTo>
                      <a:pt x="3158902" y="177799"/>
                    </a:lnTo>
                    <a:close/>
                  </a:path>
                  <a:path w="3439795" h="1447800">
                    <a:moveTo>
                      <a:pt x="3204177" y="177799"/>
                    </a:moveTo>
                    <a:lnTo>
                      <a:pt x="3202016" y="177799"/>
                    </a:lnTo>
                    <a:lnTo>
                      <a:pt x="3202016" y="190499"/>
                    </a:lnTo>
                    <a:lnTo>
                      <a:pt x="3204177" y="177799"/>
                    </a:lnTo>
                    <a:close/>
                  </a:path>
                  <a:path w="3439795" h="1447800">
                    <a:moveTo>
                      <a:pt x="3204177" y="177799"/>
                    </a:moveTo>
                    <a:lnTo>
                      <a:pt x="3202016" y="190499"/>
                    </a:lnTo>
                    <a:lnTo>
                      <a:pt x="3207201" y="180339"/>
                    </a:lnTo>
                    <a:lnTo>
                      <a:pt x="3204177" y="177799"/>
                    </a:lnTo>
                    <a:close/>
                  </a:path>
                  <a:path w="3439795" h="1447800">
                    <a:moveTo>
                      <a:pt x="3217519" y="189005"/>
                    </a:moveTo>
                    <a:lnTo>
                      <a:pt x="3217138" y="190499"/>
                    </a:lnTo>
                    <a:lnTo>
                      <a:pt x="3217618" y="189088"/>
                    </a:lnTo>
                    <a:close/>
                  </a:path>
                  <a:path w="3439795" h="1447800">
                    <a:moveTo>
                      <a:pt x="3217618" y="189088"/>
                    </a:moveTo>
                    <a:lnTo>
                      <a:pt x="3217138" y="190499"/>
                    </a:lnTo>
                    <a:lnTo>
                      <a:pt x="3218135" y="189523"/>
                    </a:lnTo>
                    <a:lnTo>
                      <a:pt x="3217618" y="189088"/>
                    </a:lnTo>
                    <a:close/>
                  </a:path>
                  <a:path w="3439795" h="1447800">
                    <a:moveTo>
                      <a:pt x="3220673" y="187036"/>
                    </a:moveTo>
                    <a:lnTo>
                      <a:pt x="3218135" y="189523"/>
                    </a:lnTo>
                    <a:lnTo>
                      <a:pt x="3219298" y="190499"/>
                    </a:lnTo>
                    <a:lnTo>
                      <a:pt x="3223618" y="190499"/>
                    </a:lnTo>
                    <a:lnTo>
                      <a:pt x="3220673" y="187036"/>
                    </a:lnTo>
                    <a:close/>
                  </a:path>
                  <a:path w="3439795" h="1447800">
                    <a:moveTo>
                      <a:pt x="3221026" y="186689"/>
                    </a:moveTo>
                    <a:lnTo>
                      <a:pt x="3220673" y="187036"/>
                    </a:lnTo>
                    <a:lnTo>
                      <a:pt x="3223618" y="190499"/>
                    </a:lnTo>
                    <a:lnTo>
                      <a:pt x="3221026" y="186689"/>
                    </a:lnTo>
                    <a:close/>
                  </a:path>
                  <a:path w="3439795" h="1447800">
                    <a:moveTo>
                      <a:pt x="3222538" y="185208"/>
                    </a:moveTo>
                    <a:lnTo>
                      <a:pt x="3221026" y="186689"/>
                    </a:lnTo>
                    <a:lnTo>
                      <a:pt x="3223618" y="190499"/>
                    </a:lnTo>
                    <a:lnTo>
                      <a:pt x="3225779" y="188685"/>
                    </a:lnTo>
                    <a:lnTo>
                      <a:pt x="3225779" y="188383"/>
                    </a:lnTo>
                    <a:lnTo>
                      <a:pt x="3222538" y="185208"/>
                    </a:lnTo>
                    <a:close/>
                  </a:path>
                  <a:path w="3439795" h="1447800">
                    <a:moveTo>
                      <a:pt x="3225945" y="188546"/>
                    </a:moveTo>
                    <a:lnTo>
                      <a:pt x="3225779" y="188685"/>
                    </a:lnTo>
                    <a:lnTo>
                      <a:pt x="3225779" y="190499"/>
                    </a:lnTo>
                    <a:lnTo>
                      <a:pt x="3227939" y="190499"/>
                    </a:lnTo>
                    <a:lnTo>
                      <a:pt x="3225945" y="188546"/>
                    </a:lnTo>
                    <a:close/>
                  </a:path>
                  <a:path w="3439795" h="1447800">
                    <a:moveTo>
                      <a:pt x="3238740" y="177799"/>
                    </a:moveTo>
                    <a:lnTo>
                      <a:pt x="3225945" y="188546"/>
                    </a:lnTo>
                    <a:lnTo>
                      <a:pt x="3227939" y="190499"/>
                    </a:lnTo>
                    <a:lnTo>
                      <a:pt x="3238740" y="190499"/>
                    </a:lnTo>
                    <a:lnTo>
                      <a:pt x="3238740" y="177799"/>
                    </a:lnTo>
                    <a:close/>
                  </a:path>
                  <a:path w="3439795" h="1447800">
                    <a:moveTo>
                      <a:pt x="3302331" y="177006"/>
                    </a:moveTo>
                    <a:lnTo>
                      <a:pt x="3301386" y="177799"/>
                    </a:lnTo>
                    <a:lnTo>
                      <a:pt x="3310027" y="190499"/>
                    </a:lnTo>
                    <a:lnTo>
                      <a:pt x="3318668" y="190499"/>
                    </a:lnTo>
                    <a:lnTo>
                      <a:pt x="3318668" y="180974"/>
                    </a:lnTo>
                    <a:lnTo>
                      <a:pt x="3314348" y="177799"/>
                    </a:lnTo>
                    <a:lnTo>
                      <a:pt x="3303546" y="177799"/>
                    </a:lnTo>
                    <a:lnTo>
                      <a:pt x="3302331" y="177006"/>
                    </a:lnTo>
                    <a:close/>
                  </a:path>
                  <a:path w="3439795" h="1447800">
                    <a:moveTo>
                      <a:pt x="3318668" y="180974"/>
                    </a:moveTo>
                    <a:lnTo>
                      <a:pt x="3318668" y="190499"/>
                    </a:lnTo>
                    <a:lnTo>
                      <a:pt x="3320828" y="186266"/>
                    </a:lnTo>
                    <a:lnTo>
                      <a:pt x="3320828" y="182562"/>
                    </a:lnTo>
                    <a:lnTo>
                      <a:pt x="3318668" y="180974"/>
                    </a:lnTo>
                    <a:close/>
                  </a:path>
                  <a:path w="3439795" h="1447800">
                    <a:moveTo>
                      <a:pt x="3320828" y="186266"/>
                    </a:moveTo>
                    <a:lnTo>
                      <a:pt x="3318668" y="190499"/>
                    </a:lnTo>
                    <a:lnTo>
                      <a:pt x="3320828" y="190499"/>
                    </a:lnTo>
                    <a:lnTo>
                      <a:pt x="3320828" y="186266"/>
                    </a:lnTo>
                    <a:close/>
                  </a:path>
                  <a:path w="3439795" h="1447800">
                    <a:moveTo>
                      <a:pt x="3322203" y="183572"/>
                    </a:moveTo>
                    <a:lnTo>
                      <a:pt x="3320828" y="186266"/>
                    </a:lnTo>
                    <a:lnTo>
                      <a:pt x="3320828" y="190499"/>
                    </a:lnTo>
                    <a:lnTo>
                      <a:pt x="3331629" y="190499"/>
                    </a:lnTo>
                    <a:lnTo>
                      <a:pt x="3322203" y="183572"/>
                    </a:lnTo>
                    <a:close/>
                  </a:path>
                  <a:path w="3439795" h="1447800">
                    <a:moveTo>
                      <a:pt x="3322988" y="182033"/>
                    </a:moveTo>
                    <a:lnTo>
                      <a:pt x="3322203" y="183572"/>
                    </a:lnTo>
                    <a:lnTo>
                      <a:pt x="3331629" y="190499"/>
                    </a:lnTo>
                    <a:lnTo>
                      <a:pt x="3322988" y="182033"/>
                    </a:lnTo>
                    <a:close/>
                  </a:path>
                  <a:path w="3439795" h="1447800">
                    <a:moveTo>
                      <a:pt x="3323204" y="181609"/>
                    </a:moveTo>
                    <a:lnTo>
                      <a:pt x="3322988" y="182033"/>
                    </a:lnTo>
                    <a:lnTo>
                      <a:pt x="3331629" y="190499"/>
                    </a:lnTo>
                    <a:lnTo>
                      <a:pt x="3328749" y="186266"/>
                    </a:lnTo>
                    <a:lnTo>
                      <a:pt x="3323204" y="181609"/>
                    </a:lnTo>
                    <a:close/>
                  </a:path>
                  <a:path w="3439795" h="1447800">
                    <a:moveTo>
                      <a:pt x="3328749" y="186266"/>
                    </a:moveTo>
                    <a:lnTo>
                      <a:pt x="3331629" y="190499"/>
                    </a:lnTo>
                    <a:lnTo>
                      <a:pt x="3332109" y="189088"/>
                    </a:lnTo>
                    <a:lnTo>
                      <a:pt x="3328749" y="186266"/>
                    </a:lnTo>
                    <a:close/>
                  </a:path>
                  <a:path w="3439795" h="1447800">
                    <a:moveTo>
                      <a:pt x="3332109" y="189088"/>
                    </a:moveTo>
                    <a:lnTo>
                      <a:pt x="3331629" y="190499"/>
                    </a:lnTo>
                    <a:lnTo>
                      <a:pt x="3333790" y="190499"/>
                    </a:lnTo>
                    <a:lnTo>
                      <a:pt x="3332109" y="189088"/>
                    </a:lnTo>
                    <a:close/>
                  </a:path>
                  <a:path w="3439795" h="1447800">
                    <a:moveTo>
                      <a:pt x="3361872" y="177799"/>
                    </a:moveTo>
                    <a:lnTo>
                      <a:pt x="3364033" y="190499"/>
                    </a:lnTo>
                    <a:lnTo>
                      <a:pt x="3368353" y="190499"/>
                    </a:lnTo>
                    <a:lnTo>
                      <a:pt x="3361872" y="177799"/>
                    </a:lnTo>
                    <a:close/>
                  </a:path>
                  <a:path w="3439795" h="1447800">
                    <a:moveTo>
                      <a:pt x="3368353" y="170542"/>
                    </a:moveTo>
                    <a:lnTo>
                      <a:pt x="3359712" y="177799"/>
                    </a:lnTo>
                    <a:lnTo>
                      <a:pt x="3361872" y="177799"/>
                    </a:lnTo>
                    <a:lnTo>
                      <a:pt x="3368353" y="190499"/>
                    </a:lnTo>
                    <a:lnTo>
                      <a:pt x="3368353" y="170542"/>
                    </a:lnTo>
                    <a:close/>
                  </a:path>
                  <a:path w="3439795" h="1447800">
                    <a:moveTo>
                      <a:pt x="3373146" y="166517"/>
                    </a:moveTo>
                    <a:lnTo>
                      <a:pt x="3368353" y="170542"/>
                    </a:lnTo>
                    <a:lnTo>
                      <a:pt x="3368353" y="190499"/>
                    </a:lnTo>
                    <a:lnTo>
                      <a:pt x="3374766" y="180974"/>
                    </a:lnTo>
                    <a:lnTo>
                      <a:pt x="3374789" y="171449"/>
                    </a:lnTo>
                    <a:lnTo>
                      <a:pt x="3373146" y="166517"/>
                    </a:lnTo>
                    <a:close/>
                  </a:path>
                  <a:path w="3439795" h="1447800">
                    <a:moveTo>
                      <a:pt x="3374834" y="180874"/>
                    </a:moveTo>
                    <a:lnTo>
                      <a:pt x="3368353" y="190499"/>
                    </a:lnTo>
                    <a:lnTo>
                      <a:pt x="3374834" y="190499"/>
                    </a:lnTo>
                    <a:lnTo>
                      <a:pt x="3374834" y="180874"/>
                    </a:lnTo>
                    <a:close/>
                  </a:path>
                  <a:path w="3439795" h="1447800">
                    <a:moveTo>
                      <a:pt x="3375719" y="179559"/>
                    </a:moveTo>
                    <a:lnTo>
                      <a:pt x="3374834" y="180874"/>
                    </a:lnTo>
                    <a:lnTo>
                      <a:pt x="3374834" y="190499"/>
                    </a:lnTo>
                    <a:lnTo>
                      <a:pt x="3381224" y="190499"/>
                    </a:lnTo>
                    <a:lnTo>
                      <a:pt x="3375719" y="179559"/>
                    </a:lnTo>
                    <a:close/>
                  </a:path>
                  <a:path w="3439795" h="1447800">
                    <a:moveTo>
                      <a:pt x="3381224" y="165099"/>
                    </a:moveTo>
                    <a:lnTo>
                      <a:pt x="3374834" y="165099"/>
                    </a:lnTo>
                    <a:lnTo>
                      <a:pt x="3374834" y="171585"/>
                    </a:lnTo>
                    <a:lnTo>
                      <a:pt x="3376904" y="177799"/>
                    </a:lnTo>
                    <a:lnTo>
                      <a:pt x="3375835" y="179387"/>
                    </a:lnTo>
                    <a:lnTo>
                      <a:pt x="3375747" y="179614"/>
                    </a:lnTo>
                    <a:lnTo>
                      <a:pt x="3381224" y="190499"/>
                    </a:lnTo>
                    <a:lnTo>
                      <a:pt x="3381224" y="165099"/>
                    </a:lnTo>
                    <a:close/>
                  </a:path>
                  <a:path w="3439795" h="1447800">
                    <a:moveTo>
                      <a:pt x="3383384" y="165099"/>
                    </a:moveTo>
                    <a:lnTo>
                      <a:pt x="3381224" y="165099"/>
                    </a:lnTo>
                    <a:lnTo>
                      <a:pt x="3381224" y="190499"/>
                    </a:lnTo>
                    <a:lnTo>
                      <a:pt x="3385113" y="167639"/>
                    </a:lnTo>
                    <a:lnTo>
                      <a:pt x="3383384" y="165099"/>
                    </a:lnTo>
                    <a:close/>
                  </a:path>
                  <a:path w="3439795" h="1447800">
                    <a:moveTo>
                      <a:pt x="3385113" y="167639"/>
                    </a:moveTo>
                    <a:lnTo>
                      <a:pt x="3381224" y="190499"/>
                    </a:lnTo>
                    <a:lnTo>
                      <a:pt x="3392025" y="177799"/>
                    </a:lnTo>
                    <a:lnTo>
                      <a:pt x="3385113" y="167639"/>
                    </a:lnTo>
                    <a:close/>
                  </a:path>
                  <a:path w="3439795" h="1447800">
                    <a:moveTo>
                      <a:pt x="3392025" y="177799"/>
                    </a:moveTo>
                    <a:lnTo>
                      <a:pt x="3381224" y="190499"/>
                    </a:lnTo>
                    <a:lnTo>
                      <a:pt x="3383384" y="190499"/>
                    </a:lnTo>
                    <a:lnTo>
                      <a:pt x="3392025" y="177799"/>
                    </a:lnTo>
                    <a:close/>
                  </a:path>
                  <a:path w="3439795" h="1447800">
                    <a:moveTo>
                      <a:pt x="3392025" y="177799"/>
                    </a:moveTo>
                    <a:lnTo>
                      <a:pt x="3383384" y="190499"/>
                    </a:lnTo>
                    <a:lnTo>
                      <a:pt x="3389865" y="190499"/>
                    </a:lnTo>
                    <a:lnTo>
                      <a:pt x="3392025" y="177799"/>
                    </a:lnTo>
                    <a:close/>
                  </a:path>
                  <a:path w="3439795" h="1447800">
                    <a:moveTo>
                      <a:pt x="3402826" y="177799"/>
                    </a:moveTo>
                    <a:lnTo>
                      <a:pt x="3392025" y="177799"/>
                    </a:lnTo>
                    <a:lnTo>
                      <a:pt x="3389865" y="190499"/>
                    </a:lnTo>
                    <a:lnTo>
                      <a:pt x="3394186" y="190499"/>
                    </a:lnTo>
                    <a:lnTo>
                      <a:pt x="3402826" y="177799"/>
                    </a:lnTo>
                    <a:close/>
                  </a:path>
                  <a:path w="3439795" h="1447800">
                    <a:moveTo>
                      <a:pt x="3422268" y="177799"/>
                    </a:moveTo>
                    <a:lnTo>
                      <a:pt x="3420108" y="177799"/>
                    </a:lnTo>
                    <a:lnTo>
                      <a:pt x="3422268" y="190499"/>
                    </a:lnTo>
                    <a:lnTo>
                      <a:pt x="3422268" y="177799"/>
                    </a:lnTo>
                    <a:close/>
                  </a:path>
                  <a:path w="3439795" h="1447800">
                    <a:moveTo>
                      <a:pt x="3218989" y="185057"/>
                    </a:moveTo>
                    <a:lnTo>
                      <a:pt x="3217618" y="189088"/>
                    </a:lnTo>
                    <a:lnTo>
                      <a:pt x="3218135" y="189523"/>
                    </a:lnTo>
                    <a:lnTo>
                      <a:pt x="3220673" y="187036"/>
                    </a:lnTo>
                    <a:lnTo>
                      <a:pt x="3218989" y="185057"/>
                    </a:lnTo>
                    <a:close/>
                  </a:path>
                  <a:path w="3439795" h="1447800">
                    <a:moveTo>
                      <a:pt x="3218633" y="184638"/>
                    </a:moveTo>
                    <a:lnTo>
                      <a:pt x="3217678" y="188383"/>
                    </a:lnTo>
                    <a:lnTo>
                      <a:pt x="3217618" y="189088"/>
                    </a:lnTo>
                    <a:lnTo>
                      <a:pt x="3218989" y="185057"/>
                    </a:lnTo>
                    <a:lnTo>
                      <a:pt x="3218633" y="184638"/>
                    </a:lnTo>
                    <a:close/>
                  </a:path>
                  <a:path w="3439795" h="1447800">
                    <a:moveTo>
                      <a:pt x="3324669" y="166511"/>
                    </a:moveTo>
                    <a:lnTo>
                      <a:pt x="3322268" y="173566"/>
                    </a:lnTo>
                    <a:lnTo>
                      <a:pt x="3325149" y="177799"/>
                    </a:lnTo>
                    <a:lnTo>
                      <a:pt x="3324223" y="179614"/>
                    </a:lnTo>
                    <a:lnTo>
                      <a:pt x="3328749" y="186266"/>
                    </a:lnTo>
                    <a:lnTo>
                      <a:pt x="3332109" y="189088"/>
                    </a:lnTo>
                    <a:lnTo>
                      <a:pt x="3335950" y="177799"/>
                    </a:lnTo>
                    <a:lnTo>
                      <a:pt x="3330549" y="171449"/>
                    </a:lnTo>
                    <a:lnTo>
                      <a:pt x="3324669" y="166511"/>
                    </a:lnTo>
                    <a:close/>
                  </a:path>
                  <a:path w="3439795" h="1447800">
                    <a:moveTo>
                      <a:pt x="3214978" y="180339"/>
                    </a:moveTo>
                    <a:lnTo>
                      <a:pt x="3214978" y="186871"/>
                    </a:lnTo>
                    <a:lnTo>
                      <a:pt x="3217519" y="189005"/>
                    </a:lnTo>
                    <a:lnTo>
                      <a:pt x="3218633" y="184638"/>
                    </a:lnTo>
                    <a:lnTo>
                      <a:pt x="3214978" y="180339"/>
                    </a:lnTo>
                    <a:close/>
                  </a:path>
                  <a:path w="3439795" h="1447800">
                    <a:moveTo>
                      <a:pt x="3225779" y="188383"/>
                    </a:moveTo>
                    <a:lnTo>
                      <a:pt x="3225779" y="188685"/>
                    </a:lnTo>
                    <a:lnTo>
                      <a:pt x="3225945" y="188546"/>
                    </a:lnTo>
                    <a:lnTo>
                      <a:pt x="3225779" y="188383"/>
                    </a:lnTo>
                    <a:close/>
                  </a:path>
                  <a:path w="3439795" h="1447800">
                    <a:moveTo>
                      <a:pt x="3238740" y="177799"/>
                    </a:moveTo>
                    <a:lnTo>
                      <a:pt x="3230099" y="177799"/>
                    </a:lnTo>
                    <a:lnTo>
                      <a:pt x="3225779" y="182033"/>
                    </a:lnTo>
                    <a:lnTo>
                      <a:pt x="3225779" y="188383"/>
                    </a:lnTo>
                    <a:lnTo>
                      <a:pt x="3225945" y="188546"/>
                    </a:lnTo>
                    <a:lnTo>
                      <a:pt x="3238740" y="177799"/>
                    </a:lnTo>
                    <a:close/>
                  </a:path>
                  <a:path w="3439795" h="1447800">
                    <a:moveTo>
                      <a:pt x="3225779" y="182033"/>
                    </a:moveTo>
                    <a:lnTo>
                      <a:pt x="3222538" y="185208"/>
                    </a:lnTo>
                    <a:lnTo>
                      <a:pt x="3225779" y="188383"/>
                    </a:lnTo>
                    <a:lnTo>
                      <a:pt x="3225779" y="182033"/>
                    </a:lnTo>
                    <a:close/>
                  </a:path>
                  <a:path w="3439795" h="1447800">
                    <a:moveTo>
                      <a:pt x="3219298" y="184149"/>
                    </a:moveTo>
                    <a:lnTo>
                      <a:pt x="3218989" y="185057"/>
                    </a:lnTo>
                    <a:lnTo>
                      <a:pt x="3220673" y="187036"/>
                    </a:lnTo>
                    <a:lnTo>
                      <a:pt x="3221026" y="186689"/>
                    </a:lnTo>
                    <a:lnTo>
                      <a:pt x="3219298" y="184149"/>
                    </a:lnTo>
                    <a:close/>
                  </a:path>
                  <a:path w="3439795" h="1447800">
                    <a:moveTo>
                      <a:pt x="3212817" y="177799"/>
                    </a:moveTo>
                    <a:lnTo>
                      <a:pt x="3208497" y="177799"/>
                    </a:lnTo>
                    <a:lnTo>
                      <a:pt x="3207201" y="180339"/>
                    </a:lnTo>
                    <a:lnTo>
                      <a:pt x="3214978" y="186871"/>
                    </a:lnTo>
                    <a:lnTo>
                      <a:pt x="3214978" y="180339"/>
                    </a:lnTo>
                    <a:lnTo>
                      <a:pt x="3212817" y="177799"/>
                    </a:lnTo>
                    <a:close/>
                  </a:path>
                  <a:path w="3439795" h="1447800">
                    <a:moveTo>
                      <a:pt x="3219838" y="182562"/>
                    </a:moveTo>
                    <a:lnTo>
                      <a:pt x="3219298" y="184149"/>
                    </a:lnTo>
                    <a:lnTo>
                      <a:pt x="3221026" y="186689"/>
                    </a:lnTo>
                    <a:lnTo>
                      <a:pt x="3222538" y="185208"/>
                    </a:lnTo>
                    <a:lnTo>
                      <a:pt x="3219838" y="182562"/>
                    </a:lnTo>
                    <a:close/>
                  </a:path>
                  <a:path w="3439795" h="1447800">
                    <a:moveTo>
                      <a:pt x="3018488" y="177799"/>
                    </a:moveTo>
                    <a:lnTo>
                      <a:pt x="3014168" y="177799"/>
                    </a:lnTo>
                    <a:lnTo>
                      <a:pt x="3016328" y="186266"/>
                    </a:lnTo>
                    <a:lnTo>
                      <a:pt x="3018704" y="181609"/>
                    </a:lnTo>
                    <a:lnTo>
                      <a:pt x="3018623" y="179387"/>
                    </a:lnTo>
                    <a:lnTo>
                      <a:pt x="3018488" y="177799"/>
                    </a:lnTo>
                    <a:close/>
                  </a:path>
                  <a:path w="3439795" h="1447800">
                    <a:moveTo>
                      <a:pt x="3320828" y="182562"/>
                    </a:moveTo>
                    <a:lnTo>
                      <a:pt x="3320828" y="186266"/>
                    </a:lnTo>
                    <a:lnTo>
                      <a:pt x="3322203" y="183572"/>
                    </a:lnTo>
                    <a:lnTo>
                      <a:pt x="3320828" y="182562"/>
                    </a:lnTo>
                    <a:close/>
                  </a:path>
                  <a:path w="3439795" h="1447800">
                    <a:moveTo>
                      <a:pt x="3324223" y="179614"/>
                    </a:moveTo>
                    <a:lnTo>
                      <a:pt x="3323204" y="181609"/>
                    </a:lnTo>
                    <a:lnTo>
                      <a:pt x="3328749" y="186266"/>
                    </a:lnTo>
                    <a:lnTo>
                      <a:pt x="3324223" y="179614"/>
                    </a:lnTo>
                    <a:close/>
                  </a:path>
                  <a:path w="3439795" h="1447800">
                    <a:moveTo>
                      <a:pt x="2960252" y="177799"/>
                    </a:moveTo>
                    <a:lnTo>
                      <a:pt x="2953771" y="177799"/>
                    </a:lnTo>
                    <a:lnTo>
                      <a:pt x="2960252" y="185419"/>
                    </a:lnTo>
                    <a:lnTo>
                      <a:pt x="2960252" y="177799"/>
                    </a:lnTo>
                    <a:close/>
                  </a:path>
                  <a:path w="3439795" h="1447800">
                    <a:moveTo>
                      <a:pt x="3224051" y="170179"/>
                    </a:moveTo>
                    <a:lnTo>
                      <a:pt x="3219838" y="182562"/>
                    </a:lnTo>
                    <a:lnTo>
                      <a:pt x="3222538" y="185208"/>
                    </a:lnTo>
                    <a:lnTo>
                      <a:pt x="3225779" y="182033"/>
                    </a:lnTo>
                    <a:lnTo>
                      <a:pt x="3225779" y="173566"/>
                    </a:lnTo>
                    <a:lnTo>
                      <a:pt x="3224051" y="170179"/>
                    </a:lnTo>
                    <a:close/>
                  </a:path>
                  <a:path w="3439795" h="1447800">
                    <a:moveTo>
                      <a:pt x="3218905" y="183572"/>
                    </a:moveTo>
                    <a:lnTo>
                      <a:pt x="3218633" y="184638"/>
                    </a:lnTo>
                    <a:lnTo>
                      <a:pt x="3218989" y="185057"/>
                    </a:lnTo>
                    <a:lnTo>
                      <a:pt x="3219298" y="184149"/>
                    </a:lnTo>
                    <a:lnTo>
                      <a:pt x="3218905" y="183572"/>
                    </a:lnTo>
                    <a:close/>
                  </a:path>
                  <a:path w="3439795" h="1447800">
                    <a:moveTo>
                      <a:pt x="3214978" y="177799"/>
                    </a:moveTo>
                    <a:lnTo>
                      <a:pt x="3214978" y="180339"/>
                    </a:lnTo>
                    <a:lnTo>
                      <a:pt x="3218633" y="184638"/>
                    </a:lnTo>
                    <a:lnTo>
                      <a:pt x="3218905" y="183572"/>
                    </a:lnTo>
                    <a:lnTo>
                      <a:pt x="3214978" y="177799"/>
                    </a:lnTo>
                    <a:close/>
                  </a:path>
                  <a:path w="3439795" h="1447800">
                    <a:moveTo>
                      <a:pt x="3219298" y="182033"/>
                    </a:moveTo>
                    <a:lnTo>
                      <a:pt x="3218905" y="183572"/>
                    </a:lnTo>
                    <a:lnTo>
                      <a:pt x="3219298" y="184149"/>
                    </a:lnTo>
                    <a:lnTo>
                      <a:pt x="3219838" y="182562"/>
                    </a:lnTo>
                    <a:lnTo>
                      <a:pt x="3219298" y="182033"/>
                    </a:lnTo>
                    <a:close/>
                  </a:path>
                  <a:path w="3439795" h="1447800">
                    <a:moveTo>
                      <a:pt x="2921368" y="165099"/>
                    </a:moveTo>
                    <a:lnTo>
                      <a:pt x="2910567" y="177799"/>
                    </a:lnTo>
                    <a:lnTo>
                      <a:pt x="2913513" y="183572"/>
                    </a:lnTo>
                    <a:lnTo>
                      <a:pt x="2921368" y="165099"/>
                    </a:lnTo>
                    <a:close/>
                  </a:path>
                  <a:path w="3439795" h="1447800">
                    <a:moveTo>
                      <a:pt x="3214978" y="177799"/>
                    </a:moveTo>
                    <a:lnTo>
                      <a:pt x="3218905" y="183572"/>
                    </a:lnTo>
                    <a:lnTo>
                      <a:pt x="3219298" y="182033"/>
                    </a:lnTo>
                    <a:lnTo>
                      <a:pt x="3214978" y="177799"/>
                    </a:lnTo>
                    <a:close/>
                  </a:path>
                  <a:path w="3439795" h="1447800">
                    <a:moveTo>
                      <a:pt x="3320828" y="179916"/>
                    </a:moveTo>
                    <a:lnTo>
                      <a:pt x="3320828" y="182562"/>
                    </a:lnTo>
                    <a:lnTo>
                      <a:pt x="3322203" y="183572"/>
                    </a:lnTo>
                    <a:lnTo>
                      <a:pt x="3322988" y="182033"/>
                    </a:lnTo>
                    <a:lnTo>
                      <a:pt x="3320828" y="179916"/>
                    </a:lnTo>
                    <a:close/>
                  </a:path>
                  <a:path w="3439795" h="1447800">
                    <a:moveTo>
                      <a:pt x="3222898" y="167922"/>
                    </a:moveTo>
                    <a:lnTo>
                      <a:pt x="3219298" y="182033"/>
                    </a:lnTo>
                    <a:lnTo>
                      <a:pt x="3219838" y="182562"/>
                    </a:lnTo>
                    <a:lnTo>
                      <a:pt x="3224051" y="170179"/>
                    </a:lnTo>
                    <a:lnTo>
                      <a:pt x="3222898" y="167922"/>
                    </a:lnTo>
                    <a:close/>
                  </a:path>
                  <a:path w="3439795" h="1447800">
                    <a:moveTo>
                      <a:pt x="3318668" y="177799"/>
                    </a:moveTo>
                    <a:lnTo>
                      <a:pt x="3318668" y="180974"/>
                    </a:lnTo>
                    <a:lnTo>
                      <a:pt x="3320828" y="182562"/>
                    </a:lnTo>
                    <a:lnTo>
                      <a:pt x="3320828" y="179916"/>
                    </a:lnTo>
                    <a:lnTo>
                      <a:pt x="3318668" y="177799"/>
                    </a:lnTo>
                    <a:close/>
                  </a:path>
                  <a:path w="3439795" h="1447800">
                    <a:moveTo>
                      <a:pt x="2930009" y="177799"/>
                    </a:moveTo>
                    <a:lnTo>
                      <a:pt x="2927849" y="177799"/>
                    </a:lnTo>
                    <a:lnTo>
                      <a:pt x="2925689" y="182033"/>
                    </a:lnTo>
                    <a:lnTo>
                      <a:pt x="2930009" y="177799"/>
                    </a:lnTo>
                    <a:close/>
                  </a:path>
                  <a:path w="3439795" h="1447800">
                    <a:moveTo>
                      <a:pt x="3020648" y="177799"/>
                    </a:moveTo>
                    <a:lnTo>
                      <a:pt x="3019838" y="179387"/>
                    </a:lnTo>
                    <a:lnTo>
                      <a:pt x="3022088" y="182033"/>
                    </a:lnTo>
                    <a:lnTo>
                      <a:pt x="3020648" y="177799"/>
                    </a:lnTo>
                    <a:close/>
                  </a:path>
                  <a:path w="3439795" h="1447800">
                    <a:moveTo>
                      <a:pt x="3221458" y="165099"/>
                    </a:moveTo>
                    <a:lnTo>
                      <a:pt x="3214978" y="177799"/>
                    </a:lnTo>
                    <a:lnTo>
                      <a:pt x="3219298" y="182033"/>
                    </a:lnTo>
                    <a:lnTo>
                      <a:pt x="3222898" y="167922"/>
                    </a:lnTo>
                    <a:lnTo>
                      <a:pt x="3221458" y="165099"/>
                    </a:lnTo>
                    <a:close/>
                  </a:path>
                  <a:path w="3439795" h="1447800">
                    <a:moveTo>
                      <a:pt x="3225779" y="173566"/>
                    </a:moveTo>
                    <a:lnTo>
                      <a:pt x="3225779" y="182033"/>
                    </a:lnTo>
                    <a:lnTo>
                      <a:pt x="3230099" y="177799"/>
                    </a:lnTo>
                    <a:lnTo>
                      <a:pt x="3227939" y="177799"/>
                    </a:lnTo>
                    <a:lnTo>
                      <a:pt x="3225779" y="173566"/>
                    </a:lnTo>
                    <a:close/>
                  </a:path>
                  <a:path w="3439795" h="1447800">
                    <a:moveTo>
                      <a:pt x="3320828" y="179614"/>
                    </a:moveTo>
                    <a:lnTo>
                      <a:pt x="3320828" y="179916"/>
                    </a:lnTo>
                    <a:lnTo>
                      <a:pt x="3322988" y="182033"/>
                    </a:lnTo>
                    <a:lnTo>
                      <a:pt x="3323204" y="181609"/>
                    </a:lnTo>
                    <a:lnTo>
                      <a:pt x="3320828" y="179614"/>
                    </a:lnTo>
                    <a:close/>
                  </a:path>
                  <a:path w="3439795" h="1447800">
                    <a:moveTo>
                      <a:pt x="3322268" y="173566"/>
                    </a:moveTo>
                    <a:lnTo>
                      <a:pt x="3320828" y="177799"/>
                    </a:lnTo>
                    <a:lnTo>
                      <a:pt x="3320828" y="179614"/>
                    </a:lnTo>
                    <a:lnTo>
                      <a:pt x="3323204" y="181609"/>
                    </a:lnTo>
                    <a:lnTo>
                      <a:pt x="3324223" y="179614"/>
                    </a:lnTo>
                    <a:lnTo>
                      <a:pt x="3322988" y="177799"/>
                    </a:lnTo>
                    <a:lnTo>
                      <a:pt x="3325149" y="177799"/>
                    </a:lnTo>
                    <a:lnTo>
                      <a:pt x="3322268" y="173566"/>
                    </a:lnTo>
                    <a:close/>
                  </a:path>
                  <a:path w="3439795" h="1447800">
                    <a:moveTo>
                      <a:pt x="3018488" y="177799"/>
                    </a:moveTo>
                    <a:lnTo>
                      <a:pt x="3018797" y="181428"/>
                    </a:lnTo>
                    <a:lnTo>
                      <a:pt x="3019838" y="179387"/>
                    </a:lnTo>
                    <a:lnTo>
                      <a:pt x="3018488" y="177799"/>
                    </a:lnTo>
                    <a:close/>
                  </a:path>
                  <a:path w="3439795" h="1447800">
                    <a:moveTo>
                      <a:pt x="2932169" y="177799"/>
                    </a:moveTo>
                    <a:lnTo>
                      <a:pt x="2930009" y="177799"/>
                    </a:lnTo>
                    <a:lnTo>
                      <a:pt x="2929469" y="180974"/>
                    </a:lnTo>
                    <a:lnTo>
                      <a:pt x="2932169" y="177799"/>
                    </a:lnTo>
                    <a:close/>
                  </a:path>
                  <a:path w="3439795" h="1447800">
                    <a:moveTo>
                      <a:pt x="3316508" y="165099"/>
                    </a:moveTo>
                    <a:lnTo>
                      <a:pt x="3303546" y="177799"/>
                    </a:lnTo>
                    <a:lnTo>
                      <a:pt x="3314348" y="177799"/>
                    </a:lnTo>
                    <a:lnTo>
                      <a:pt x="3318668" y="180974"/>
                    </a:lnTo>
                    <a:lnTo>
                      <a:pt x="3318668" y="177799"/>
                    </a:lnTo>
                    <a:lnTo>
                      <a:pt x="3320828" y="171449"/>
                    </a:lnTo>
                    <a:lnTo>
                      <a:pt x="3316508" y="165099"/>
                    </a:lnTo>
                    <a:close/>
                  </a:path>
                  <a:path w="3439795" h="1447800">
                    <a:moveTo>
                      <a:pt x="3374834" y="177799"/>
                    </a:moveTo>
                    <a:lnTo>
                      <a:pt x="3374834" y="180874"/>
                    </a:lnTo>
                    <a:lnTo>
                      <a:pt x="3375682" y="179614"/>
                    </a:lnTo>
                    <a:lnTo>
                      <a:pt x="3375632" y="179387"/>
                    </a:lnTo>
                    <a:lnTo>
                      <a:pt x="3374834" y="177799"/>
                    </a:lnTo>
                    <a:close/>
                  </a:path>
                  <a:path w="3439795" h="1447800">
                    <a:moveTo>
                      <a:pt x="2953771" y="177799"/>
                    </a:moveTo>
                    <a:lnTo>
                      <a:pt x="2951611" y="177799"/>
                    </a:lnTo>
                    <a:lnTo>
                      <a:pt x="2953531" y="180622"/>
                    </a:lnTo>
                    <a:lnTo>
                      <a:pt x="2953771" y="177799"/>
                    </a:lnTo>
                    <a:close/>
                  </a:path>
                  <a:path w="3439795" h="1447800">
                    <a:moveTo>
                      <a:pt x="3208497" y="177799"/>
                    </a:moveTo>
                    <a:lnTo>
                      <a:pt x="3204177" y="177799"/>
                    </a:lnTo>
                    <a:lnTo>
                      <a:pt x="3207201" y="180339"/>
                    </a:lnTo>
                    <a:lnTo>
                      <a:pt x="3208497" y="177799"/>
                    </a:lnTo>
                    <a:close/>
                  </a:path>
                  <a:path w="3439795" h="1447800">
                    <a:moveTo>
                      <a:pt x="3214978" y="177799"/>
                    </a:moveTo>
                    <a:lnTo>
                      <a:pt x="3212817" y="177799"/>
                    </a:lnTo>
                    <a:lnTo>
                      <a:pt x="3214978" y="180339"/>
                    </a:lnTo>
                    <a:lnTo>
                      <a:pt x="3214978" y="177799"/>
                    </a:lnTo>
                    <a:close/>
                  </a:path>
                  <a:path w="3439795" h="1447800">
                    <a:moveTo>
                      <a:pt x="3318668" y="177799"/>
                    </a:moveTo>
                    <a:lnTo>
                      <a:pt x="3320828" y="179916"/>
                    </a:lnTo>
                    <a:lnTo>
                      <a:pt x="3320763" y="179559"/>
                    </a:lnTo>
                    <a:lnTo>
                      <a:pt x="3318668" y="177799"/>
                    </a:lnTo>
                    <a:close/>
                  </a:path>
                  <a:path w="3439795" h="1447800">
                    <a:moveTo>
                      <a:pt x="3320828" y="171449"/>
                    </a:moveTo>
                    <a:lnTo>
                      <a:pt x="3318668" y="177799"/>
                    </a:lnTo>
                    <a:lnTo>
                      <a:pt x="3320828" y="179614"/>
                    </a:lnTo>
                    <a:lnTo>
                      <a:pt x="3320828" y="177799"/>
                    </a:lnTo>
                    <a:lnTo>
                      <a:pt x="3322268" y="173566"/>
                    </a:lnTo>
                    <a:lnTo>
                      <a:pt x="3320828" y="171449"/>
                    </a:lnTo>
                    <a:close/>
                  </a:path>
                  <a:path w="3439795" h="1447800">
                    <a:moveTo>
                      <a:pt x="3325149" y="177799"/>
                    </a:moveTo>
                    <a:lnTo>
                      <a:pt x="3322988" y="177799"/>
                    </a:lnTo>
                    <a:lnTo>
                      <a:pt x="3324223" y="179614"/>
                    </a:lnTo>
                    <a:lnTo>
                      <a:pt x="3325149" y="177799"/>
                    </a:lnTo>
                    <a:close/>
                  </a:path>
                  <a:path w="3439795" h="1447800">
                    <a:moveTo>
                      <a:pt x="3374834" y="171585"/>
                    </a:moveTo>
                    <a:lnTo>
                      <a:pt x="3374834" y="177799"/>
                    </a:lnTo>
                    <a:lnTo>
                      <a:pt x="3375719" y="179559"/>
                    </a:lnTo>
                    <a:lnTo>
                      <a:pt x="3376904" y="177799"/>
                    </a:lnTo>
                    <a:lnTo>
                      <a:pt x="3374834" y="171585"/>
                    </a:lnTo>
                    <a:close/>
                  </a:path>
                  <a:path w="3439795" h="1447800">
                    <a:moveTo>
                      <a:pt x="2584554" y="165099"/>
                    </a:moveTo>
                    <a:lnTo>
                      <a:pt x="2580234" y="165099"/>
                    </a:lnTo>
                    <a:lnTo>
                      <a:pt x="2582394" y="177799"/>
                    </a:lnTo>
                    <a:lnTo>
                      <a:pt x="2593195" y="177799"/>
                    </a:lnTo>
                    <a:lnTo>
                      <a:pt x="2593195" y="173566"/>
                    </a:lnTo>
                    <a:lnTo>
                      <a:pt x="2584554" y="165099"/>
                    </a:lnTo>
                    <a:close/>
                  </a:path>
                  <a:path w="3439795" h="1447800">
                    <a:moveTo>
                      <a:pt x="2593195" y="173566"/>
                    </a:moveTo>
                    <a:lnTo>
                      <a:pt x="2593195" y="177799"/>
                    </a:lnTo>
                    <a:lnTo>
                      <a:pt x="2597516" y="177799"/>
                    </a:lnTo>
                    <a:lnTo>
                      <a:pt x="2593195" y="173566"/>
                    </a:lnTo>
                    <a:close/>
                  </a:path>
                  <a:path w="3439795" h="1447800">
                    <a:moveTo>
                      <a:pt x="2593195" y="169333"/>
                    </a:moveTo>
                    <a:lnTo>
                      <a:pt x="2593195" y="173566"/>
                    </a:lnTo>
                    <a:lnTo>
                      <a:pt x="2597516" y="177799"/>
                    </a:lnTo>
                    <a:lnTo>
                      <a:pt x="2593195" y="169333"/>
                    </a:lnTo>
                    <a:close/>
                  </a:path>
                  <a:path w="3439795" h="1447800">
                    <a:moveTo>
                      <a:pt x="2593195" y="165099"/>
                    </a:moveTo>
                    <a:lnTo>
                      <a:pt x="2593195" y="169333"/>
                    </a:lnTo>
                    <a:lnTo>
                      <a:pt x="2597516" y="177799"/>
                    </a:lnTo>
                    <a:lnTo>
                      <a:pt x="2599676" y="177799"/>
                    </a:lnTo>
                    <a:lnTo>
                      <a:pt x="2593195" y="165099"/>
                    </a:lnTo>
                    <a:close/>
                  </a:path>
                  <a:path w="3439795" h="1447800">
                    <a:moveTo>
                      <a:pt x="2599676" y="165099"/>
                    </a:moveTo>
                    <a:lnTo>
                      <a:pt x="2593195" y="165099"/>
                    </a:lnTo>
                    <a:lnTo>
                      <a:pt x="2599676" y="177799"/>
                    </a:lnTo>
                    <a:lnTo>
                      <a:pt x="2606157" y="177799"/>
                    </a:lnTo>
                    <a:lnTo>
                      <a:pt x="2599676" y="165099"/>
                    </a:lnTo>
                    <a:close/>
                  </a:path>
                  <a:path w="3439795" h="1447800">
                    <a:moveTo>
                      <a:pt x="2603996" y="165099"/>
                    </a:moveTo>
                    <a:lnTo>
                      <a:pt x="2599676" y="165099"/>
                    </a:lnTo>
                    <a:lnTo>
                      <a:pt x="2606157" y="177799"/>
                    </a:lnTo>
                    <a:lnTo>
                      <a:pt x="2603996" y="165099"/>
                    </a:lnTo>
                    <a:close/>
                  </a:path>
                  <a:path w="3439795" h="1447800">
                    <a:moveTo>
                      <a:pt x="2606157" y="165099"/>
                    </a:moveTo>
                    <a:lnTo>
                      <a:pt x="2603996" y="165099"/>
                    </a:lnTo>
                    <a:lnTo>
                      <a:pt x="2606157" y="177799"/>
                    </a:lnTo>
                    <a:lnTo>
                      <a:pt x="2610477" y="177799"/>
                    </a:lnTo>
                    <a:lnTo>
                      <a:pt x="2606157" y="165099"/>
                    </a:lnTo>
                    <a:close/>
                  </a:path>
                  <a:path w="3439795" h="1447800">
                    <a:moveTo>
                      <a:pt x="2608317" y="152399"/>
                    </a:moveTo>
                    <a:lnTo>
                      <a:pt x="2606157" y="165099"/>
                    </a:lnTo>
                    <a:lnTo>
                      <a:pt x="2610477" y="177799"/>
                    </a:lnTo>
                    <a:lnTo>
                      <a:pt x="2614797" y="177799"/>
                    </a:lnTo>
                    <a:lnTo>
                      <a:pt x="2614797" y="171449"/>
                    </a:lnTo>
                    <a:lnTo>
                      <a:pt x="2608317" y="152399"/>
                    </a:lnTo>
                    <a:close/>
                  </a:path>
                  <a:path w="3439795" h="1447800">
                    <a:moveTo>
                      <a:pt x="2614797" y="171449"/>
                    </a:moveTo>
                    <a:lnTo>
                      <a:pt x="2614797" y="177799"/>
                    </a:lnTo>
                    <a:lnTo>
                      <a:pt x="2616958" y="177799"/>
                    </a:lnTo>
                    <a:lnTo>
                      <a:pt x="2614797" y="171449"/>
                    </a:lnTo>
                    <a:close/>
                  </a:path>
                  <a:path w="3439795" h="1447800">
                    <a:moveTo>
                      <a:pt x="2614797" y="152399"/>
                    </a:moveTo>
                    <a:lnTo>
                      <a:pt x="2614843" y="171585"/>
                    </a:lnTo>
                    <a:lnTo>
                      <a:pt x="2616958" y="177799"/>
                    </a:lnTo>
                    <a:lnTo>
                      <a:pt x="2621278" y="165099"/>
                    </a:lnTo>
                    <a:lnTo>
                      <a:pt x="2614797" y="152399"/>
                    </a:lnTo>
                    <a:close/>
                  </a:path>
                  <a:path w="3439795" h="1447800">
                    <a:moveTo>
                      <a:pt x="2614797" y="152399"/>
                    </a:moveTo>
                    <a:lnTo>
                      <a:pt x="2621278" y="165099"/>
                    </a:lnTo>
                    <a:lnTo>
                      <a:pt x="2616958" y="177799"/>
                    </a:lnTo>
                    <a:lnTo>
                      <a:pt x="2621278" y="177799"/>
                    </a:lnTo>
                    <a:lnTo>
                      <a:pt x="2629829" y="165099"/>
                    </a:lnTo>
                    <a:lnTo>
                      <a:pt x="2627759" y="165099"/>
                    </a:lnTo>
                    <a:lnTo>
                      <a:pt x="2614797" y="152399"/>
                    </a:lnTo>
                    <a:close/>
                  </a:path>
                  <a:path w="3439795" h="1447800">
                    <a:moveTo>
                      <a:pt x="2629829" y="165099"/>
                    </a:moveTo>
                    <a:lnTo>
                      <a:pt x="2621278" y="177799"/>
                    </a:lnTo>
                    <a:lnTo>
                      <a:pt x="2629829" y="177799"/>
                    </a:lnTo>
                    <a:lnTo>
                      <a:pt x="2629829" y="165099"/>
                    </a:lnTo>
                    <a:close/>
                  </a:path>
                  <a:path w="3439795" h="1447800">
                    <a:moveTo>
                      <a:pt x="2891557" y="176106"/>
                    </a:moveTo>
                    <a:lnTo>
                      <a:pt x="2891125" y="177799"/>
                    </a:lnTo>
                    <a:lnTo>
                      <a:pt x="2893285" y="177799"/>
                    </a:lnTo>
                    <a:lnTo>
                      <a:pt x="2891557" y="176106"/>
                    </a:lnTo>
                    <a:close/>
                  </a:path>
                  <a:path w="3439795" h="1447800">
                    <a:moveTo>
                      <a:pt x="2897606" y="152399"/>
                    </a:moveTo>
                    <a:lnTo>
                      <a:pt x="2891557" y="176106"/>
                    </a:lnTo>
                    <a:lnTo>
                      <a:pt x="2893285" y="177799"/>
                    </a:lnTo>
                    <a:lnTo>
                      <a:pt x="2897606" y="152399"/>
                    </a:lnTo>
                    <a:close/>
                  </a:path>
                  <a:path w="3439795" h="1447800">
                    <a:moveTo>
                      <a:pt x="2897606" y="152399"/>
                    </a:moveTo>
                    <a:lnTo>
                      <a:pt x="2893285" y="177799"/>
                    </a:lnTo>
                    <a:lnTo>
                      <a:pt x="2895446" y="177799"/>
                    </a:lnTo>
                    <a:lnTo>
                      <a:pt x="2908407" y="165099"/>
                    </a:lnTo>
                    <a:lnTo>
                      <a:pt x="2906247" y="165099"/>
                    </a:lnTo>
                    <a:lnTo>
                      <a:pt x="2897606" y="152399"/>
                    </a:lnTo>
                    <a:close/>
                  </a:path>
                  <a:path w="3439795" h="1447800">
                    <a:moveTo>
                      <a:pt x="2908407" y="165099"/>
                    </a:moveTo>
                    <a:lnTo>
                      <a:pt x="2895446" y="177799"/>
                    </a:lnTo>
                    <a:lnTo>
                      <a:pt x="2897606" y="177799"/>
                    </a:lnTo>
                    <a:lnTo>
                      <a:pt x="2908407" y="165099"/>
                    </a:lnTo>
                    <a:close/>
                  </a:path>
                  <a:path w="3439795" h="1447800">
                    <a:moveTo>
                      <a:pt x="2908407" y="165099"/>
                    </a:moveTo>
                    <a:lnTo>
                      <a:pt x="2897606" y="177799"/>
                    </a:lnTo>
                    <a:lnTo>
                      <a:pt x="2899766" y="177799"/>
                    </a:lnTo>
                    <a:lnTo>
                      <a:pt x="2908407" y="165099"/>
                    </a:lnTo>
                    <a:close/>
                  </a:path>
                  <a:path w="3439795" h="1447800">
                    <a:moveTo>
                      <a:pt x="2910567" y="165099"/>
                    </a:moveTo>
                    <a:lnTo>
                      <a:pt x="2908407" y="165099"/>
                    </a:lnTo>
                    <a:lnTo>
                      <a:pt x="2899766" y="177799"/>
                    </a:lnTo>
                    <a:lnTo>
                      <a:pt x="2910567" y="165099"/>
                    </a:lnTo>
                    <a:close/>
                  </a:path>
                  <a:path w="3439795" h="1447800">
                    <a:moveTo>
                      <a:pt x="3081134" y="165099"/>
                    </a:moveTo>
                    <a:lnTo>
                      <a:pt x="3076814" y="165099"/>
                    </a:lnTo>
                    <a:lnTo>
                      <a:pt x="3087615" y="177799"/>
                    </a:lnTo>
                    <a:lnTo>
                      <a:pt x="3081134" y="165099"/>
                    </a:lnTo>
                    <a:close/>
                  </a:path>
                  <a:path w="3439795" h="1447800">
                    <a:moveTo>
                      <a:pt x="3087615" y="165099"/>
                    </a:moveTo>
                    <a:lnTo>
                      <a:pt x="3081134" y="165099"/>
                    </a:lnTo>
                    <a:lnTo>
                      <a:pt x="3087615" y="177799"/>
                    </a:lnTo>
                    <a:lnTo>
                      <a:pt x="3087615" y="165099"/>
                    </a:lnTo>
                    <a:close/>
                  </a:path>
                  <a:path w="3439795" h="1447800">
                    <a:moveTo>
                      <a:pt x="3087615" y="165099"/>
                    </a:moveTo>
                    <a:lnTo>
                      <a:pt x="3087615" y="177799"/>
                    </a:lnTo>
                    <a:lnTo>
                      <a:pt x="3094096" y="177799"/>
                    </a:lnTo>
                    <a:lnTo>
                      <a:pt x="3087615" y="165099"/>
                    </a:lnTo>
                    <a:close/>
                  </a:path>
                  <a:path w="3439795" h="1447800">
                    <a:moveTo>
                      <a:pt x="3096256" y="165099"/>
                    </a:moveTo>
                    <a:lnTo>
                      <a:pt x="3087615" y="165099"/>
                    </a:lnTo>
                    <a:lnTo>
                      <a:pt x="3094096" y="177799"/>
                    </a:lnTo>
                    <a:lnTo>
                      <a:pt x="3098416" y="177799"/>
                    </a:lnTo>
                    <a:lnTo>
                      <a:pt x="3096256" y="165099"/>
                    </a:lnTo>
                    <a:close/>
                  </a:path>
                  <a:path w="3439795" h="1447800">
                    <a:moveTo>
                      <a:pt x="3098416" y="165099"/>
                    </a:moveTo>
                    <a:lnTo>
                      <a:pt x="3096256" y="165099"/>
                    </a:lnTo>
                    <a:lnTo>
                      <a:pt x="3098416" y="177799"/>
                    </a:lnTo>
                    <a:lnTo>
                      <a:pt x="3098416" y="165099"/>
                    </a:lnTo>
                    <a:close/>
                  </a:path>
                  <a:path w="3439795" h="1447800">
                    <a:moveTo>
                      <a:pt x="3100576" y="165099"/>
                    </a:moveTo>
                    <a:lnTo>
                      <a:pt x="3098416" y="165099"/>
                    </a:lnTo>
                    <a:lnTo>
                      <a:pt x="3098416" y="177799"/>
                    </a:lnTo>
                    <a:lnTo>
                      <a:pt x="3109217" y="177799"/>
                    </a:lnTo>
                    <a:lnTo>
                      <a:pt x="3100576" y="165099"/>
                    </a:lnTo>
                    <a:close/>
                  </a:path>
                  <a:path w="3439795" h="1447800">
                    <a:moveTo>
                      <a:pt x="3102736" y="165099"/>
                    </a:moveTo>
                    <a:lnTo>
                      <a:pt x="3100576" y="165099"/>
                    </a:lnTo>
                    <a:lnTo>
                      <a:pt x="3109217" y="177799"/>
                    </a:lnTo>
                    <a:lnTo>
                      <a:pt x="3102736" y="165099"/>
                    </a:lnTo>
                    <a:close/>
                  </a:path>
                  <a:path w="3439795" h="1447800">
                    <a:moveTo>
                      <a:pt x="3104897" y="165099"/>
                    </a:moveTo>
                    <a:lnTo>
                      <a:pt x="3102736" y="165099"/>
                    </a:lnTo>
                    <a:lnTo>
                      <a:pt x="3109217" y="177799"/>
                    </a:lnTo>
                    <a:lnTo>
                      <a:pt x="3111377" y="177799"/>
                    </a:lnTo>
                    <a:lnTo>
                      <a:pt x="3104897" y="165099"/>
                    </a:lnTo>
                    <a:close/>
                  </a:path>
                  <a:path w="3439795" h="1447800">
                    <a:moveTo>
                      <a:pt x="3104897" y="165099"/>
                    </a:moveTo>
                    <a:lnTo>
                      <a:pt x="3111377" y="177799"/>
                    </a:lnTo>
                    <a:lnTo>
                      <a:pt x="3113537" y="177799"/>
                    </a:lnTo>
                    <a:lnTo>
                      <a:pt x="3104897" y="165099"/>
                    </a:lnTo>
                    <a:close/>
                  </a:path>
                  <a:path w="3439795" h="1447800">
                    <a:moveTo>
                      <a:pt x="3115698" y="152399"/>
                    </a:moveTo>
                    <a:lnTo>
                      <a:pt x="3104897" y="165099"/>
                    </a:lnTo>
                    <a:lnTo>
                      <a:pt x="3113537" y="177799"/>
                    </a:lnTo>
                    <a:lnTo>
                      <a:pt x="3122178" y="177799"/>
                    </a:lnTo>
                    <a:lnTo>
                      <a:pt x="3122178" y="171449"/>
                    </a:lnTo>
                    <a:lnTo>
                      <a:pt x="3115698" y="152399"/>
                    </a:lnTo>
                    <a:close/>
                  </a:path>
                  <a:path w="3439795" h="1447800">
                    <a:moveTo>
                      <a:pt x="3122178" y="171449"/>
                    </a:moveTo>
                    <a:lnTo>
                      <a:pt x="3122178" y="177799"/>
                    </a:lnTo>
                    <a:lnTo>
                      <a:pt x="3124339" y="177799"/>
                    </a:lnTo>
                    <a:lnTo>
                      <a:pt x="3122178" y="171449"/>
                    </a:lnTo>
                    <a:close/>
                  </a:path>
                  <a:path w="3439795" h="1447800">
                    <a:moveTo>
                      <a:pt x="3123258" y="155574"/>
                    </a:moveTo>
                    <a:lnTo>
                      <a:pt x="3122178" y="158749"/>
                    </a:lnTo>
                    <a:lnTo>
                      <a:pt x="3122224" y="171585"/>
                    </a:lnTo>
                    <a:lnTo>
                      <a:pt x="3124339" y="177799"/>
                    </a:lnTo>
                    <a:lnTo>
                      <a:pt x="3126499" y="165099"/>
                    </a:lnTo>
                    <a:lnTo>
                      <a:pt x="3123258" y="155574"/>
                    </a:lnTo>
                    <a:close/>
                  </a:path>
                  <a:path w="3439795" h="1447800">
                    <a:moveTo>
                      <a:pt x="3124339" y="152399"/>
                    </a:moveTo>
                    <a:lnTo>
                      <a:pt x="3123258" y="155574"/>
                    </a:lnTo>
                    <a:lnTo>
                      <a:pt x="3126499" y="165099"/>
                    </a:lnTo>
                    <a:lnTo>
                      <a:pt x="3124339" y="177799"/>
                    </a:lnTo>
                    <a:lnTo>
                      <a:pt x="3128659" y="177799"/>
                    </a:lnTo>
                    <a:lnTo>
                      <a:pt x="3137300" y="165099"/>
                    </a:lnTo>
                    <a:lnTo>
                      <a:pt x="3130819" y="165099"/>
                    </a:lnTo>
                    <a:lnTo>
                      <a:pt x="3124339" y="152399"/>
                    </a:lnTo>
                    <a:close/>
                  </a:path>
                  <a:path w="3439795" h="1447800">
                    <a:moveTo>
                      <a:pt x="3137300" y="165099"/>
                    </a:moveTo>
                    <a:lnTo>
                      <a:pt x="3128659" y="177799"/>
                    </a:lnTo>
                    <a:lnTo>
                      <a:pt x="3137300" y="177799"/>
                    </a:lnTo>
                    <a:lnTo>
                      <a:pt x="3137300" y="165099"/>
                    </a:lnTo>
                    <a:close/>
                  </a:path>
                  <a:path w="3439795" h="1447800">
                    <a:moveTo>
                      <a:pt x="3225779" y="165099"/>
                    </a:moveTo>
                    <a:lnTo>
                      <a:pt x="3225779" y="173566"/>
                    </a:lnTo>
                    <a:lnTo>
                      <a:pt x="3227939" y="177799"/>
                    </a:lnTo>
                    <a:lnTo>
                      <a:pt x="3232259" y="177799"/>
                    </a:lnTo>
                    <a:lnTo>
                      <a:pt x="3225779" y="165099"/>
                    </a:lnTo>
                    <a:close/>
                  </a:path>
                  <a:path w="3439795" h="1447800">
                    <a:moveTo>
                      <a:pt x="3230099" y="165099"/>
                    </a:moveTo>
                    <a:lnTo>
                      <a:pt x="3225779" y="165099"/>
                    </a:lnTo>
                    <a:lnTo>
                      <a:pt x="3232259" y="177799"/>
                    </a:lnTo>
                    <a:lnTo>
                      <a:pt x="3230099" y="165099"/>
                    </a:lnTo>
                    <a:close/>
                  </a:path>
                  <a:path w="3439795" h="1447800">
                    <a:moveTo>
                      <a:pt x="3316508" y="165099"/>
                    </a:moveTo>
                    <a:lnTo>
                      <a:pt x="3302331" y="177006"/>
                    </a:lnTo>
                    <a:lnTo>
                      <a:pt x="3303546" y="177799"/>
                    </a:lnTo>
                    <a:lnTo>
                      <a:pt x="3316508" y="165099"/>
                    </a:lnTo>
                    <a:close/>
                  </a:path>
                  <a:path w="3439795" h="1447800">
                    <a:moveTo>
                      <a:pt x="3330549" y="171449"/>
                    </a:moveTo>
                    <a:lnTo>
                      <a:pt x="3335950" y="177799"/>
                    </a:lnTo>
                    <a:lnTo>
                      <a:pt x="3335361" y="175490"/>
                    </a:lnTo>
                    <a:lnTo>
                      <a:pt x="3330549" y="171449"/>
                    </a:lnTo>
                    <a:close/>
                  </a:path>
                  <a:path w="3439795" h="1447800">
                    <a:moveTo>
                      <a:pt x="3335361" y="175490"/>
                    </a:moveTo>
                    <a:lnTo>
                      <a:pt x="3335950" y="177799"/>
                    </a:lnTo>
                    <a:lnTo>
                      <a:pt x="3336430" y="176388"/>
                    </a:lnTo>
                    <a:lnTo>
                      <a:pt x="3335361" y="175490"/>
                    </a:lnTo>
                    <a:close/>
                  </a:path>
                  <a:path w="3439795" h="1447800">
                    <a:moveTo>
                      <a:pt x="3336430" y="176388"/>
                    </a:moveTo>
                    <a:lnTo>
                      <a:pt x="3335950" y="177799"/>
                    </a:lnTo>
                    <a:lnTo>
                      <a:pt x="3338110" y="177799"/>
                    </a:lnTo>
                    <a:lnTo>
                      <a:pt x="3336430" y="176388"/>
                    </a:lnTo>
                    <a:close/>
                  </a:path>
                  <a:path w="3439795" h="1447800">
                    <a:moveTo>
                      <a:pt x="3336910" y="174977"/>
                    </a:moveTo>
                    <a:lnTo>
                      <a:pt x="3336430" y="176388"/>
                    </a:lnTo>
                    <a:lnTo>
                      <a:pt x="3338110" y="177799"/>
                    </a:lnTo>
                    <a:lnTo>
                      <a:pt x="3338590" y="176388"/>
                    </a:lnTo>
                    <a:lnTo>
                      <a:pt x="3336910" y="174977"/>
                    </a:lnTo>
                    <a:close/>
                  </a:path>
                  <a:path w="3439795" h="1447800">
                    <a:moveTo>
                      <a:pt x="3338590" y="176388"/>
                    </a:moveTo>
                    <a:lnTo>
                      <a:pt x="3338110" y="177799"/>
                    </a:lnTo>
                    <a:lnTo>
                      <a:pt x="3340270" y="177799"/>
                    </a:lnTo>
                    <a:lnTo>
                      <a:pt x="3338590" y="176388"/>
                    </a:lnTo>
                    <a:close/>
                  </a:path>
                  <a:path w="3439795" h="1447800">
                    <a:moveTo>
                      <a:pt x="3342430" y="165099"/>
                    </a:moveTo>
                    <a:lnTo>
                      <a:pt x="3338590" y="176388"/>
                    </a:lnTo>
                    <a:lnTo>
                      <a:pt x="3340270" y="177799"/>
                    </a:lnTo>
                    <a:lnTo>
                      <a:pt x="3342430" y="177799"/>
                    </a:lnTo>
                    <a:lnTo>
                      <a:pt x="3342430" y="165099"/>
                    </a:lnTo>
                    <a:close/>
                  </a:path>
                  <a:path w="3439795" h="1447800">
                    <a:moveTo>
                      <a:pt x="3368353" y="152399"/>
                    </a:moveTo>
                    <a:lnTo>
                      <a:pt x="3353231" y="165099"/>
                    </a:lnTo>
                    <a:lnTo>
                      <a:pt x="3355392" y="165099"/>
                    </a:lnTo>
                    <a:lnTo>
                      <a:pt x="3355392" y="177799"/>
                    </a:lnTo>
                    <a:lnTo>
                      <a:pt x="3357552" y="175683"/>
                    </a:lnTo>
                    <a:lnTo>
                      <a:pt x="3357552" y="165099"/>
                    </a:lnTo>
                    <a:lnTo>
                      <a:pt x="3368353" y="152399"/>
                    </a:lnTo>
                    <a:close/>
                  </a:path>
                  <a:path w="3439795" h="1447800">
                    <a:moveTo>
                      <a:pt x="3357552" y="175683"/>
                    </a:moveTo>
                    <a:lnTo>
                      <a:pt x="3355392" y="177799"/>
                    </a:lnTo>
                    <a:lnTo>
                      <a:pt x="3357552" y="175985"/>
                    </a:lnTo>
                    <a:lnTo>
                      <a:pt x="3357552" y="175683"/>
                    </a:lnTo>
                    <a:close/>
                  </a:path>
                  <a:path w="3439795" h="1447800">
                    <a:moveTo>
                      <a:pt x="3357552" y="175985"/>
                    </a:moveTo>
                    <a:lnTo>
                      <a:pt x="3355392" y="177799"/>
                    </a:lnTo>
                    <a:lnTo>
                      <a:pt x="3357552" y="177799"/>
                    </a:lnTo>
                    <a:lnTo>
                      <a:pt x="3357552" y="175985"/>
                    </a:lnTo>
                    <a:close/>
                  </a:path>
                  <a:path w="3439795" h="1447800">
                    <a:moveTo>
                      <a:pt x="3368353" y="166914"/>
                    </a:moveTo>
                    <a:lnTo>
                      <a:pt x="3357552" y="175985"/>
                    </a:lnTo>
                    <a:lnTo>
                      <a:pt x="3357552" y="177799"/>
                    </a:lnTo>
                    <a:lnTo>
                      <a:pt x="3368353" y="168728"/>
                    </a:lnTo>
                    <a:lnTo>
                      <a:pt x="3368353" y="166914"/>
                    </a:lnTo>
                    <a:close/>
                  </a:path>
                  <a:path w="3439795" h="1447800">
                    <a:moveTo>
                      <a:pt x="3368353" y="168728"/>
                    </a:moveTo>
                    <a:lnTo>
                      <a:pt x="3357552" y="177799"/>
                    </a:lnTo>
                    <a:lnTo>
                      <a:pt x="3368353" y="169862"/>
                    </a:lnTo>
                    <a:lnTo>
                      <a:pt x="3368353" y="168728"/>
                    </a:lnTo>
                    <a:close/>
                  </a:path>
                  <a:path w="3439795" h="1447800">
                    <a:moveTo>
                      <a:pt x="3368353" y="169862"/>
                    </a:moveTo>
                    <a:lnTo>
                      <a:pt x="3357552" y="177799"/>
                    </a:lnTo>
                    <a:lnTo>
                      <a:pt x="3359712" y="177799"/>
                    </a:lnTo>
                    <a:lnTo>
                      <a:pt x="3368353" y="170542"/>
                    </a:lnTo>
                    <a:lnTo>
                      <a:pt x="3368353" y="169862"/>
                    </a:lnTo>
                    <a:close/>
                  </a:path>
                  <a:path w="3439795" h="1447800">
                    <a:moveTo>
                      <a:pt x="3385545" y="165099"/>
                    </a:moveTo>
                    <a:lnTo>
                      <a:pt x="3385113" y="167639"/>
                    </a:lnTo>
                    <a:lnTo>
                      <a:pt x="3392025" y="177799"/>
                    </a:lnTo>
                    <a:lnTo>
                      <a:pt x="3385545" y="165099"/>
                    </a:lnTo>
                    <a:close/>
                  </a:path>
                  <a:path w="3439795" h="1447800">
                    <a:moveTo>
                      <a:pt x="3392025" y="165099"/>
                    </a:moveTo>
                    <a:lnTo>
                      <a:pt x="3385545" y="165099"/>
                    </a:lnTo>
                    <a:lnTo>
                      <a:pt x="3392025" y="177799"/>
                    </a:lnTo>
                    <a:lnTo>
                      <a:pt x="3392025" y="165099"/>
                    </a:lnTo>
                    <a:close/>
                  </a:path>
                  <a:path w="3439795" h="1447800">
                    <a:moveTo>
                      <a:pt x="3294906" y="152399"/>
                    </a:moveTo>
                    <a:lnTo>
                      <a:pt x="3284105" y="165099"/>
                    </a:lnTo>
                    <a:lnTo>
                      <a:pt x="3302331" y="177006"/>
                    </a:lnTo>
                    <a:lnTo>
                      <a:pt x="3316508" y="165099"/>
                    </a:lnTo>
                    <a:lnTo>
                      <a:pt x="3314348" y="165099"/>
                    </a:lnTo>
                    <a:lnTo>
                      <a:pt x="3294906" y="152399"/>
                    </a:lnTo>
                    <a:close/>
                  </a:path>
                  <a:path w="3439795" h="1447800">
                    <a:moveTo>
                      <a:pt x="3334771" y="173181"/>
                    </a:moveTo>
                    <a:lnTo>
                      <a:pt x="3335361" y="175490"/>
                    </a:lnTo>
                    <a:lnTo>
                      <a:pt x="3336430" y="176388"/>
                    </a:lnTo>
                    <a:lnTo>
                      <a:pt x="3336910" y="174977"/>
                    </a:lnTo>
                    <a:lnTo>
                      <a:pt x="3334771" y="173181"/>
                    </a:lnTo>
                    <a:close/>
                  </a:path>
                  <a:path w="3439795" h="1447800">
                    <a:moveTo>
                      <a:pt x="3342430" y="165099"/>
                    </a:moveTo>
                    <a:lnTo>
                      <a:pt x="3340270" y="165099"/>
                    </a:lnTo>
                    <a:lnTo>
                      <a:pt x="3336910" y="174977"/>
                    </a:lnTo>
                    <a:lnTo>
                      <a:pt x="3338590" y="176388"/>
                    </a:lnTo>
                    <a:lnTo>
                      <a:pt x="3342430" y="165099"/>
                    </a:lnTo>
                    <a:close/>
                  </a:path>
                  <a:path w="3439795" h="1447800">
                    <a:moveTo>
                      <a:pt x="2897606" y="152399"/>
                    </a:moveTo>
                    <a:lnTo>
                      <a:pt x="2884645" y="152399"/>
                    </a:lnTo>
                    <a:lnTo>
                      <a:pt x="2880324" y="165099"/>
                    </a:lnTo>
                    <a:lnTo>
                      <a:pt x="2891557" y="176106"/>
                    </a:lnTo>
                    <a:lnTo>
                      <a:pt x="2897606" y="152399"/>
                    </a:lnTo>
                    <a:close/>
                  </a:path>
                  <a:path w="3439795" h="1447800">
                    <a:moveTo>
                      <a:pt x="3368353" y="165099"/>
                    </a:moveTo>
                    <a:lnTo>
                      <a:pt x="3357552" y="175683"/>
                    </a:lnTo>
                    <a:lnTo>
                      <a:pt x="3357552" y="175985"/>
                    </a:lnTo>
                    <a:lnTo>
                      <a:pt x="3368353" y="166914"/>
                    </a:lnTo>
                    <a:lnTo>
                      <a:pt x="3368353" y="165099"/>
                    </a:lnTo>
                    <a:close/>
                  </a:path>
                  <a:path w="3439795" h="1447800">
                    <a:moveTo>
                      <a:pt x="3368353" y="152399"/>
                    </a:moveTo>
                    <a:lnTo>
                      <a:pt x="3357552" y="165099"/>
                    </a:lnTo>
                    <a:lnTo>
                      <a:pt x="3357552" y="175683"/>
                    </a:lnTo>
                    <a:lnTo>
                      <a:pt x="3368353" y="165099"/>
                    </a:lnTo>
                    <a:lnTo>
                      <a:pt x="3370513" y="165099"/>
                    </a:lnTo>
                    <a:lnTo>
                      <a:pt x="3368353" y="152399"/>
                    </a:lnTo>
                    <a:close/>
                  </a:path>
                  <a:path w="3439795" h="1447800">
                    <a:moveTo>
                      <a:pt x="3325149" y="165099"/>
                    </a:moveTo>
                    <a:lnTo>
                      <a:pt x="3330549" y="171449"/>
                    </a:lnTo>
                    <a:lnTo>
                      <a:pt x="3335361" y="175490"/>
                    </a:lnTo>
                    <a:lnTo>
                      <a:pt x="3334771" y="173181"/>
                    </a:lnTo>
                    <a:lnTo>
                      <a:pt x="3325149" y="165099"/>
                    </a:lnTo>
                    <a:close/>
                  </a:path>
                  <a:path w="3439795" h="1447800">
                    <a:moveTo>
                      <a:pt x="3329469" y="152399"/>
                    </a:moveTo>
                    <a:lnTo>
                      <a:pt x="3334771" y="173181"/>
                    </a:lnTo>
                    <a:lnTo>
                      <a:pt x="3336910" y="174977"/>
                    </a:lnTo>
                    <a:lnTo>
                      <a:pt x="3340270" y="165099"/>
                    </a:lnTo>
                    <a:lnTo>
                      <a:pt x="3342430" y="165099"/>
                    </a:lnTo>
                    <a:lnTo>
                      <a:pt x="3329469" y="152399"/>
                    </a:lnTo>
                    <a:close/>
                  </a:path>
                  <a:path w="3439795" h="1447800">
                    <a:moveTo>
                      <a:pt x="2591035" y="165099"/>
                    </a:moveTo>
                    <a:lnTo>
                      <a:pt x="2584554" y="165099"/>
                    </a:lnTo>
                    <a:lnTo>
                      <a:pt x="2593195" y="173566"/>
                    </a:lnTo>
                    <a:lnTo>
                      <a:pt x="2593195" y="169333"/>
                    </a:lnTo>
                    <a:lnTo>
                      <a:pt x="2591035" y="165099"/>
                    </a:lnTo>
                    <a:close/>
                  </a:path>
                  <a:path w="3439795" h="1447800">
                    <a:moveTo>
                      <a:pt x="3225779" y="165099"/>
                    </a:moveTo>
                    <a:lnTo>
                      <a:pt x="3224051" y="170179"/>
                    </a:lnTo>
                    <a:lnTo>
                      <a:pt x="3225779" y="173566"/>
                    </a:lnTo>
                    <a:lnTo>
                      <a:pt x="3225779" y="165099"/>
                    </a:lnTo>
                    <a:close/>
                  </a:path>
                  <a:path w="3439795" h="1447800">
                    <a:moveTo>
                      <a:pt x="3322988" y="165099"/>
                    </a:moveTo>
                    <a:lnTo>
                      <a:pt x="3320828" y="171449"/>
                    </a:lnTo>
                    <a:lnTo>
                      <a:pt x="3322268" y="173566"/>
                    </a:lnTo>
                    <a:lnTo>
                      <a:pt x="3324669" y="166511"/>
                    </a:lnTo>
                    <a:lnTo>
                      <a:pt x="3322988" y="165099"/>
                    </a:lnTo>
                    <a:close/>
                  </a:path>
                  <a:path w="3439795" h="1447800">
                    <a:moveTo>
                      <a:pt x="3329469" y="152399"/>
                    </a:moveTo>
                    <a:lnTo>
                      <a:pt x="3322988" y="165099"/>
                    </a:lnTo>
                    <a:lnTo>
                      <a:pt x="3325149" y="165099"/>
                    </a:lnTo>
                    <a:lnTo>
                      <a:pt x="3334771" y="173181"/>
                    </a:lnTo>
                    <a:lnTo>
                      <a:pt x="3329469" y="152399"/>
                    </a:lnTo>
                    <a:close/>
                  </a:path>
                  <a:path w="3439795" h="1447800">
                    <a:moveTo>
                      <a:pt x="3374834" y="165099"/>
                    </a:moveTo>
                    <a:lnTo>
                      <a:pt x="3373146" y="166517"/>
                    </a:lnTo>
                    <a:lnTo>
                      <a:pt x="3374834" y="171585"/>
                    </a:lnTo>
                    <a:lnTo>
                      <a:pt x="3374834" y="165099"/>
                    </a:lnTo>
                    <a:close/>
                  </a:path>
                  <a:path w="3439795" h="1447800">
                    <a:moveTo>
                      <a:pt x="2614797" y="152399"/>
                    </a:moveTo>
                    <a:lnTo>
                      <a:pt x="2612637" y="165099"/>
                    </a:lnTo>
                    <a:lnTo>
                      <a:pt x="2614797" y="171449"/>
                    </a:lnTo>
                    <a:lnTo>
                      <a:pt x="2614797" y="152399"/>
                    </a:lnTo>
                    <a:close/>
                  </a:path>
                  <a:path w="3439795" h="1447800">
                    <a:moveTo>
                      <a:pt x="3122178" y="158749"/>
                    </a:moveTo>
                    <a:lnTo>
                      <a:pt x="3120018" y="165099"/>
                    </a:lnTo>
                    <a:lnTo>
                      <a:pt x="3122178" y="171449"/>
                    </a:lnTo>
                    <a:lnTo>
                      <a:pt x="3122178" y="158749"/>
                    </a:lnTo>
                    <a:close/>
                  </a:path>
                  <a:path w="3439795" h="1447800">
                    <a:moveTo>
                      <a:pt x="3325149" y="165099"/>
                    </a:moveTo>
                    <a:lnTo>
                      <a:pt x="3324676" y="166517"/>
                    </a:lnTo>
                    <a:lnTo>
                      <a:pt x="3330549" y="171449"/>
                    </a:lnTo>
                    <a:lnTo>
                      <a:pt x="3325149" y="165099"/>
                    </a:lnTo>
                    <a:close/>
                  </a:path>
                  <a:path w="3439795" h="1447800">
                    <a:moveTo>
                      <a:pt x="3373098" y="166375"/>
                    </a:moveTo>
                    <a:lnTo>
                      <a:pt x="3368353" y="169862"/>
                    </a:lnTo>
                    <a:lnTo>
                      <a:pt x="3368353" y="170542"/>
                    </a:lnTo>
                    <a:lnTo>
                      <a:pt x="3373146" y="166517"/>
                    </a:lnTo>
                    <a:lnTo>
                      <a:pt x="3373098" y="166375"/>
                    </a:lnTo>
                    <a:close/>
                  </a:path>
                  <a:path w="3439795" h="1447800">
                    <a:moveTo>
                      <a:pt x="3225779" y="165099"/>
                    </a:moveTo>
                    <a:lnTo>
                      <a:pt x="3223618" y="165099"/>
                    </a:lnTo>
                    <a:lnTo>
                      <a:pt x="3222898" y="167922"/>
                    </a:lnTo>
                    <a:lnTo>
                      <a:pt x="3224051" y="170179"/>
                    </a:lnTo>
                    <a:lnTo>
                      <a:pt x="3225779" y="165099"/>
                    </a:lnTo>
                    <a:close/>
                  </a:path>
                  <a:path w="3439795" h="1447800">
                    <a:moveTo>
                      <a:pt x="3372673" y="165099"/>
                    </a:moveTo>
                    <a:lnTo>
                      <a:pt x="3368353" y="168728"/>
                    </a:lnTo>
                    <a:lnTo>
                      <a:pt x="3368353" y="169862"/>
                    </a:lnTo>
                    <a:lnTo>
                      <a:pt x="3373098" y="166375"/>
                    </a:lnTo>
                    <a:lnTo>
                      <a:pt x="3372673" y="165099"/>
                    </a:lnTo>
                    <a:close/>
                  </a:path>
                  <a:path w="3439795" h="1447800">
                    <a:moveTo>
                      <a:pt x="2593195" y="165099"/>
                    </a:moveTo>
                    <a:lnTo>
                      <a:pt x="2591035" y="165099"/>
                    </a:lnTo>
                    <a:lnTo>
                      <a:pt x="2593195" y="169333"/>
                    </a:lnTo>
                    <a:lnTo>
                      <a:pt x="2593195" y="165099"/>
                    </a:lnTo>
                    <a:close/>
                  </a:path>
                  <a:path w="3439795" h="1447800">
                    <a:moveTo>
                      <a:pt x="3372673" y="165099"/>
                    </a:moveTo>
                    <a:lnTo>
                      <a:pt x="3370513" y="165099"/>
                    </a:lnTo>
                    <a:lnTo>
                      <a:pt x="3368353" y="166914"/>
                    </a:lnTo>
                    <a:lnTo>
                      <a:pt x="3368353" y="168728"/>
                    </a:lnTo>
                    <a:lnTo>
                      <a:pt x="3372673" y="165099"/>
                    </a:lnTo>
                    <a:close/>
                  </a:path>
                  <a:path w="3439795" h="1447800">
                    <a:moveTo>
                      <a:pt x="3385545" y="165099"/>
                    </a:moveTo>
                    <a:lnTo>
                      <a:pt x="3383384" y="165099"/>
                    </a:lnTo>
                    <a:lnTo>
                      <a:pt x="3385113" y="167639"/>
                    </a:lnTo>
                    <a:lnTo>
                      <a:pt x="3385545" y="165099"/>
                    </a:lnTo>
                    <a:close/>
                  </a:path>
                  <a:path w="3439795" h="1447800">
                    <a:moveTo>
                      <a:pt x="3370513" y="165099"/>
                    </a:moveTo>
                    <a:lnTo>
                      <a:pt x="3368353" y="165099"/>
                    </a:lnTo>
                    <a:lnTo>
                      <a:pt x="3368353" y="166914"/>
                    </a:lnTo>
                    <a:lnTo>
                      <a:pt x="3370513" y="165099"/>
                    </a:lnTo>
                    <a:close/>
                  </a:path>
                  <a:path w="3439795" h="1447800">
                    <a:moveTo>
                      <a:pt x="3374834" y="165099"/>
                    </a:moveTo>
                    <a:lnTo>
                      <a:pt x="3373098" y="166375"/>
                    </a:lnTo>
                    <a:lnTo>
                      <a:pt x="3373146" y="166517"/>
                    </a:lnTo>
                    <a:lnTo>
                      <a:pt x="3374834" y="165099"/>
                    </a:lnTo>
                    <a:close/>
                  </a:path>
                  <a:path w="3439795" h="1447800">
                    <a:moveTo>
                      <a:pt x="3374834" y="165099"/>
                    </a:moveTo>
                    <a:lnTo>
                      <a:pt x="3372673" y="165099"/>
                    </a:lnTo>
                    <a:lnTo>
                      <a:pt x="3373098" y="166375"/>
                    </a:lnTo>
                    <a:lnTo>
                      <a:pt x="3374834" y="165099"/>
                    </a:lnTo>
                    <a:close/>
                  </a:path>
                  <a:path w="3439795" h="1447800">
                    <a:moveTo>
                      <a:pt x="2614797" y="152399"/>
                    </a:moveTo>
                    <a:lnTo>
                      <a:pt x="2608317" y="152399"/>
                    </a:lnTo>
                    <a:lnTo>
                      <a:pt x="2612637" y="165099"/>
                    </a:lnTo>
                    <a:lnTo>
                      <a:pt x="2614797" y="152399"/>
                    </a:lnTo>
                    <a:close/>
                  </a:path>
                  <a:path w="3439795" h="1447800">
                    <a:moveTo>
                      <a:pt x="2614797" y="152399"/>
                    </a:moveTo>
                    <a:lnTo>
                      <a:pt x="2627759" y="165099"/>
                    </a:lnTo>
                    <a:lnTo>
                      <a:pt x="2629829" y="165099"/>
                    </a:lnTo>
                    <a:lnTo>
                      <a:pt x="2614797" y="152399"/>
                    </a:lnTo>
                    <a:close/>
                  </a:path>
                  <a:path w="3439795" h="1447800">
                    <a:moveTo>
                      <a:pt x="2614797" y="152399"/>
                    </a:moveTo>
                    <a:lnTo>
                      <a:pt x="2629829" y="165099"/>
                    </a:lnTo>
                    <a:lnTo>
                      <a:pt x="2627691" y="161924"/>
                    </a:lnTo>
                    <a:lnTo>
                      <a:pt x="2614797" y="152399"/>
                    </a:lnTo>
                    <a:close/>
                  </a:path>
                  <a:path w="3439795" h="1447800">
                    <a:moveTo>
                      <a:pt x="2627691" y="161924"/>
                    </a:moveTo>
                    <a:lnTo>
                      <a:pt x="2629829" y="165099"/>
                    </a:lnTo>
                    <a:lnTo>
                      <a:pt x="2631989" y="165099"/>
                    </a:lnTo>
                    <a:lnTo>
                      <a:pt x="2627691" y="161924"/>
                    </a:lnTo>
                    <a:close/>
                  </a:path>
                  <a:path w="3439795" h="1447800">
                    <a:moveTo>
                      <a:pt x="2626979" y="160866"/>
                    </a:moveTo>
                    <a:lnTo>
                      <a:pt x="2627691" y="161924"/>
                    </a:lnTo>
                    <a:lnTo>
                      <a:pt x="2631989" y="165099"/>
                    </a:lnTo>
                    <a:lnTo>
                      <a:pt x="2626979" y="160866"/>
                    </a:lnTo>
                    <a:close/>
                  </a:path>
                  <a:path w="3439795" h="1447800">
                    <a:moveTo>
                      <a:pt x="2635230" y="152399"/>
                    </a:moveTo>
                    <a:lnTo>
                      <a:pt x="2621278" y="152399"/>
                    </a:lnTo>
                    <a:lnTo>
                      <a:pt x="2626979" y="160866"/>
                    </a:lnTo>
                    <a:lnTo>
                      <a:pt x="2631989" y="165099"/>
                    </a:lnTo>
                    <a:lnTo>
                      <a:pt x="2635230" y="152399"/>
                    </a:lnTo>
                    <a:close/>
                  </a:path>
                  <a:path w="3439795" h="1447800">
                    <a:moveTo>
                      <a:pt x="2854401" y="152399"/>
                    </a:moveTo>
                    <a:lnTo>
                      <a:pt x="2856562" y="165099"/>
                    </a:lnTo>
                    <a:lnTo>
                      <a:pt x="2858722" y="165099"/>
                    </a:lnTo>
                    <a:lnTo>
                      <a:pt x="2854401" y="152399"/>
                    </a:lnTo>
                    <a:close/>
                  </a:path>
                  <a:path w="3439795" h="1447800">
                    <a:moveTo>
                      <a:pt x="2858722" y="147319"/>
                    </a:moveTo>
                    <a:lnTo>
                      <a:pt x="2854401" y="152399"/>
                    </a:lnTo>
                    <a:lnTo>
                      <a:pt x="2858722" y="165099"/>
                    </a:lnTo>
                    <a:lnTo>
                      <a:pt x="2858722" y="147319"/>
                    </a:lnTo>
                    <a:close/>
                  </a:path>
                  <a:path w="3439795" h="1447800">
                    <a:moveTo>
                      <a:pt x="2860402" y="145344"/>
                    </a:moveTo>
                    <a:lnTo>
                      <a:pt x="2858722" y="147319"/>
                    </a:lnTo>
                    <a:lnTo>
                      <a:pt x="2858722" y="165099"/>
                    </a:lnTo>
                    <a:lnTo>
                      <a:pt x="2860402" y="145344"/>
                    </a:lnTo>
                    <a:close/>
                  </a:path>
                  <a:path w="3439795" h="1447800">
                    <a:moveTo>
                      <a:pt x="2860882" y="144779"/>
                    </a:moveTo>
                    <a:lnTo>
                      <a:pt x="2860402" y="145344"/>
                    </a:lnTo>
                    <a:lnTo>
                      <a:pt x="2858722" y="165099"/>
                    </a:lnTo>
                    <a:lnTo>
                      <a:pt x="2861962" y="152399"/>
                    </a:lnTo>
                    <a:lnTo>
                      <a:pt x="2860882" y="152399"/>
                    </a:lnTo>
                    <a:lnTo>
                      <a:pt x="2860882" y="144779"/>
                    </a:lnTo>
                    <a:close/>
                  </a:path>
                  <a:path w="3439795" h="1447800">
                    <a:moveTo>
                      <a:pt x="2865203" y="139699"/>
                    </a:moveTo>
                    <a:lnTo>
                      <a:pt x="2858722" y="165099"/>
                    </a:lnTo>
                    <a:lnTo>
                      <a:pt x="2860882" y="165099"/>
                    </a:lnTo>
                    <a:lnTo>
                      <a:pt x="2869523" y="152399"/>
                    </a:lnTo>
                    <a:lnTo>
                      <a:pt x="2871683" y="152399"/>
                    </a:lnTo>
                    <a:lnTo>
                      <a:pt x="2865203" y="139699"/>
                    </a:lnTo>
                    <a:close/>
                  </a:path>
                  <a:path w="3439795" h="1447800">
                    <a:moveTo>
                      <a:pt x="2869523" y="152399"/>
                    </a:moveTo>
                    <a:lnTo>
                      <a:pt x="2860882" y="165099"/>
                    </a:lnTo>
                    <a:lnTo>
                      <a:pt x="2868083" y="156633"/>
                    </a:lnTo>
                    <a:lnTo>
                      <a:pt x="2869523" y="152399"/>
                    </a:lnTo>
                    <a:close/>
                  </a:path>
                  <a:path w="3439795" h="1447800">
                    <a:moveTo>
                      <a:pt x="2868083" y="156633"/>
                    </a:moveTo>
                    <a:lnTo>
                      <a:pt x="2860882" y="165099"/>
                    </a:lnTo>
                    <a:lnTo>
                      <a:pt x="2865203" y="165099"/>
                    </a:lnTo>
                    <a:lnTo>
                      <a:pt x="2868083" y="156633"/>
                    </a:lnTo>
                    <a:close/>
                  </a:path>
                  <a:path w="3439795" h="1447800">
                    <a:moveTo>
                      <a:pt x="2871683" y="152399"/>
                    </a:moveTo>
                    <a:lnTo>
                      <a:pt x="2868083" y="156633"/>
                    </a:lnTo>
                    <a:lnTo>
                      <a:pt x="2865203" y="165099"/>
                    </a:lnTo>
                    <a:lnTo>
                      <a:pt x="2871683" y="152399"/>
                    </a:lnTo>
                    <a:close/>
                  </a:path>
                  <a:path w="3439795" h="1447800">
                    <a:moveTo>
                      <a:pt x="2882484" y="152399"/>
                    </a:moveTo>
                    <a:lnTo>
                      <a:pt x="2871683" y="152399"/>
                    </a:lnTo>
                    <a:lnTo>
                      <a:pt x="2865203" y="165099"/>
                    </a:lnTo>
                    <a:lnTo>
                      <a:pt x="2880324" y="165099"/>
                    </a:lnTo>
                    <a:lnTo>
                      <a:pt x="2882484" y="152399"/>
                    </a:lnTo>
                    <a:close/>
                  </a:path>
                  <a:path w="3439795" h="1447800">
                    <a:moveTo>
                      <a:pt x="2884645" y="152399"/>
                    </a:moveTo>
                    <a:lnTo>
                      <a:pt x="2882484" y="152399"/>
                    </a:lnTo>
                    <a:lnTo>
                      <a:pt x="2880324" y="165099"/>
                    </a:lnTo>
                    <a:lnTo>
                      <a:pt x="2884645" y="152399"/>
                    </a:lnTo>
                    <a:close/>
                  </a:path>
                  <a:path w="3439795" h="1447800">
                    <a:moveTo>
                      <a:pt x="3120018" y="152399"/>
                    </a:moveTo>
                    <a:lnTo>
                      <a:pt x="3115698" y="152399"/>
                    </a:lnTo>
                    <a:lnTo>
                      <a:pt x="3120018" y="165099"/>
                    </a:lnTo>
                    <a:lnTo>
                      <a:pt x="3120018" y="152399"/>
                    </a:lnTo>
                    <a:close/>
                  </a:path>
                  <a:path w="3439795" h="1447800">
                    <a:moveTo>
                      <a:pt x="3122178" y="152399"/>
                    </a:moveTo>
                    <a:lnTo>
                      <a:pt x="3120018" y="152399"/>
                    </a:lnTo>
                    <a:lnTo>
                      <a:pt x="3120018" y="165099"/>
                    </a:lnTo>
                    <a:lnTo>
                      <a:pt x="3122178" y="158749"/>
                    </a:lnTo>
                    <a:lnTo>
                      <a:pt x="3122178" y="152399"/>
                    </a:lnTo>
                    <a:close/>
                  </a:path>
                  <a:path w="3439795" h="1447800">
                    <a:moveTo>
                      <a:pt x="3124339" y="152399"/>
                    </a:moveTo>
                    <a:lnTo>
                      <a:pt x="3130819" y="165099"/>
                    </a:lnTo>
                    <a:lnTo>
                      <a:pt x="3137300" y="165099"/>
                    </a:lnTo>
                    <a:lnTo>
                      <a:pt x="3124339" y="152399"/>
                    </a:lnTo>
                    <a:close/>
                  </a:path>
                  <a:path w="3439795" h="1447800">
                    <a:moveTo>
                      <a:pt x="3145941" y="139699"/>
                    </a:moveTo>
                    <a:lnTo>
                      <a:pt x="3124339" y="152399"/>
                    </a:lnTo>
                    <a:lnTo>
                      <a:pt x="3137300" y="165099"/>
                    </a:lnTo>
                    <a:lnTo>
                      <a:pt x="3128659" y="152399"/>
                    </a:lnTo>
                    <a:lnTo>
                      <a:pt x="3149181" y="152399"/>
                    </a:lnTo>
                    <a:lnTo>
                      <a:pt x="3145941" y="139699"/>
                    </a:lnTo>
                    <a:close/>
                  </a:path>
                  <a:path w="3439795" h="1447800">
                    <a:moveTo>
                      <a:pt x="3149181" y="152399"/>
                    </a:moveTo>
                    <a:lnTo>
                      <a:pt x="3128659" y="152399"/>
                    </a:lnTo>
                    <a:lnTo>
                      <a:pt x="3137300" y="165099"/>
                    </a:lnTo>
                    <a:lnTo>
                      <a:pt x="3152421" y="165099"/>
                    </a:lnTo>
                    <a:lnTo>
                      <a:pt x="3149181" y="152399"/>
                    </a:lnTo>
                    <a:close/>
                  </a:path>
                  <a:path w="3439795" h="1447800">
                    <a:moveTo>
                      <a:pt x="3165383" y="139699"/>
                    </a:moveTo>
                    <a:lnTo>
                      <a:pt x="3145941" y="139699"/>
                    </a:lnTo>
                    <a:lnTo>
                      <a:pt x="3152421" y="165099"/>
                    </a:lnTo>
                    <a:lnTo>
                      <a:pt x="3171863" y="152399"/>
                    </a:lnTo>
                    <a:lnTo>
                      <a:pt x="3165383" y="139699"/>
                    </a:lnTo>
                    <a:close/>
                  </a:path>
                  <a:path w="3439795" h="1447800">
                    <a:moveTo>
                      <a:pt x="3290585" y="139699"/>
                    </a:moveTo>
                    <a:lnTo>
                      <a:pt x="3284105" y="139699"/>
                    </a:lnTo>
                    <a:lnTo>
                      <a:pt x="3275464" y="152399"/>
                    </a:lnTo>
                    <a:lnTo>
                      <a:pt x="3281944" y="165099"/>
                    </a:lnTo>
                    <a:lnTo>
                      <a:pt x="3277624" y="152399"/>
                    </a:lnTo>
                    <a:lnTo>
                      <a:pt x="3290585" y="139699"/>
                    </a:lnTo>
                    <a:close/>
                  </a:path>
                  <a:path w="3439795" h="1447800">
                    <a:moveTo>
                      <a:pt x="3290585" y="139699"/>
                    </a:moveTo>
                    <a:lnTo>
                      <a:pt x="3277624" y="152399"/>
                    </a:lnTo>
                    <a:lnTo>
                      <a:pt x="3281944" y="165099"/>
                    </a:lnTo>
                    <a:lnTo>
                      <a:pt x="3290585" y="139699"/>
                    </a:lnTo>
                    <a:close/>
                  </a:path>
                  <a:path w="3439795" h="1447800">
                    <a:moveTo>
                      <a:pt x="3290585" y="139699"/>
                    </a:moveTo>
                    <a:lnTo>
                      <a:pt x="3281944" y="165099"/>
                    </a:lnTo>
                    <a:lnTo>
                      <a:pt x="3284105" y="165099"/>
                    </a:lnTo>
                    <a:lnTo>
                      <a:pt x="3294906" y="152399"/>
                    </a:lnTo>
                    <a:lnTo>
                      <a:pt x="3290585" y="139699"/>
                    </a:lnTo>
                    <a:close/>
                  </a:path>
                  <a:path w="3439795" h="1447800">
                    <a:moveTo>
                      <a:pt x="3329469" y="152399"/>
                    </a:moveTo>
                    <a:lnTo>
                      <a:pt x="3322988" y="152399"/>
                    </a:lnTo>
                    <a:lnTo>
                      <a:pt x="3322988" y="165099"/>
                    </a:lnTo>
                    <a:lnTo>
                      <a:pt x="3329469" y="152399"/>
                    </a:lnTo>
                    <a:close/>
                  </a:path>
                  <a:path w="3439795" h="1447800">
                    <a:moveTo>
                      <a:pt x="3333790" y="152399"/>
                    </a:moveTo>
                    <a:lnTo>
                      <a:pt x="3329469" y="152399"/>
                    </a:lnTo>
                    <a:lnTo>
                      <a:pt x="3342430" y="165099"/>
                    </a:lnTo>
                    <a:lnTo>
                      <a:pt x="3333790" y="152399"/>
                    </a:lnTo>
                    <a:close/>
                  </a:path>
                  <a:path w="3439795" h="1447800">
                    <a:moveTo>
                      <a:pt x="3342430" y="152399"/>
                    </a:moveTo>
                    <a:lnTo>
                      <a:pt x="3333790" y="152399"/>
                    </a:lnTo>
                    <a:lnTo>
                      <a:pt x="3342430" y="165099"/>
                    </a:lnTo>
                    <a:lnTo>
                      <a:pt x="3342430" y="152399"/>
                    </a:lnTo>
                    <a:close/>
                  </a:path>
                  <a:path w="3439795" h="1447800">
                    <a:moveTo>
                      <a:pt x="3342430" y="152399"/>
                    </a:moveTo>
                    <a:lnTo>
                      <a:pt x="3342430" y="165099"/>
                    </a:lnTo>
                    <a:lnTo>
                      <a:pt x="3344591" y="165099"/>
                    </a:lnTo>
                    <a:lnTo>
                      <a:pt x="3346751" y="163285"/>
                    </a:lnTo>
                    <a:lnTo>
                      <a:pt x="3346751" y="160866"/>
                    </a:lnTo>
                    <a:lnTo>
                      <a:pt x="3342430" y="152399"/>
                    </a:lnTo>
                    <a:close/>
                  </a:path>
                  <a:path w="3439795" h="1447800">
                    <a:moveTo>
                      <a:pt x="3346751" y="163285"/>
                    </a:moveTo>
                    <a:lnTo>
                      <a:pt x="3344591" y="165099"/>
                    </a:lnTo>
                    <a:lnTo>
                      <a:pt x="3346751" y="165099"/>
                    </a:lnTo>
                    <a:lnTo>
                      <a:pt x="3346751" y="163285"/>
                    </a:lnTo>
                    <a:close/>
                  </a:path>
                  <a:path w="3439795" h="1447800">
                    <a:moveTo>
                      <a:pt x="3347615" y="162559"/>
                    </a:moveTo>
                    <a:lnTo>
                      <a:pt x="3346751" y="163285"/>
                    </a:lnTo>
                    <a:lnTo>
                      <a:pt x="3346751" y="165099"/>
                    </a:lnTo>
                    <a:lnTo>
                      <a:pt x="3348911" y="165099"/>
                    </a:lnTo>
                    <a:lnTo>
                      <a:pt x="3347615" y="162559"/>
                    </a:lnTo>
                    <a:close/>
                  </a:path>
                  <a:path w="3439795" h="1447800">
                    <a:moveTo>
                      <a:pt x="3355932" y="155574"/>
                    </a:moveTo>
                    <a:lnTo>
                      <a:pt x="3347615" y="162559"/>
                    </a:lnTo>
                    <a:lnTo>
                      <a:pt x="3348911" y="165099"/>
                    </a:lnTo>
                    <a:lnTo>
                      <a:pt x="3351071" y="165099"/>
                    </a:lnTo>
                    <a:lnTo>
                      <a:pt x="3355932" y="155574"/>
                    </a:lnTo>
                    <a:close/>
                  </a:path>
                  <a:path w="3439795" h="1447800">
                    <a:moveTo>
                      <a:pt x="3359712" y="152399"/>
                    </a:moveTo>
                    <a:lnTo>
                      <a:pt x="3355932" y="155574"/>
                    </a:lnTo>
                    <a:lnTo>
                      <a:pt x="3351071" y="165099"/>
                    </a:lnTo>
                    <a:lnTo>
                      <a:pt x="3356472" y="158749"/>
                    </a:lnTo>
                    <a:lnTo>
                      <a:pt x="3359712" y="152399"/>
                    </a:lnTo>
                    <a:close/>
                  </a:path>
                  <a:path w="3439795" h="1447800">
                    <a:moveTo>
                      <a:pt x="3356472" y="158749"/>
                    </a:moveTo>
                    <a:lnTo>
                      <a:pt x="3351071" y="165099"/>
                    </a:lnTo>
                    <a:lnTo>
                      <a:pt x="3353231" y="165099"/>
                    </a:lnTo>
                    <a:lnTo>
                      <a:pt x="3356472" y="158749"/>
                    </a:lnTo>
                    <a:close/>
                  </a:path>
                  <a:path w="3439795" h="1447800">
                    <a:moveTo>
                      <a:pt x="3368353" y="152399"/>
                    </a:moveTo>
                    <a:lnTo>
                      <a:pt x="3361872" y="152399"/>
                    </a:lnTo>
                    <a:lnTo>
                      <a:pt x="3356472" y="158749"/>
                    </a:lnTo>
                    <a:lnTo>
                      <a:pt x="3353231" y="165099"/>
                    </a:lnTo>
                    <a:lnTo>
                      <a:pt x="3368353" y="152399"/>
                    </a:lnTo>
                    <a:close/>
                  </a:path>
                  <a:path w="3439795" h="1447800">
                    <a:moveTo>
                      <a:pt x="3346751" y="160866"/>
                    </a:moveTo>
                    <a:lnTo>
                      <a:pt x="3346751" y="163285"/>
                    </a:lnTo>
                    <a:lnTo>
                      <a:pt x="3347615" y="162559"/>
                    </a:lnTo>
                    <a:lnTo>
                      <a:pt x="3346751" y="160866"/>
                    </a:lnTo>
                    <a:close/>
                  </a:path>
                  <a:path w="3439795" h="1447800">
                    <a:moveTo>
                      <a:pt x="3357552" y="152399"/>
                    </a:moveTo>
                    <a:lnTo>
                      <a:pt x="3346751" y="152399"/>
                    </a:lnTo>
                    <a:lnTo>
                      <a:pt x="3346751" y="160866"/>
                    </a:lnTo>
                    <a:lnTo>
                      <a:pt x="3347615" y="162559"/>
                    </a:lnTo>
                    <a:lnTo>
                      <a:pt x="3355932" y="155574"/>
                    </a:lnTo>
                    <a:lnTo>
                      <a:pt x="3357552" y="152399"/>
                    </a:lnTo>
                    <a:close/>
                  </a:path>
                  <a:path w="3439795" h="1447800">
                    <a:moveTo>
                      <a:pt x="2634149" y="126999"/>
                    </a:moveTo>
                    <a:lnTo>
                      <a:pt x="2629829" y="126999"/>
                    </a:lnTo>
                    <a:lnTo>
                      <a:pt x="2629829" y="139699"/>
                    </a:lnTo>
                    <a:lnTo>
                      <a:pt x="2621278" y="139699"/>
                    </a:lnTo>
                    <a:lnTo>
                      <a:pt x="2614797" y="152399"/>
                    </a:lnTo>
                    <a:lnTo>
                      <a:pt x="2627691" y="161924"/>
                    </a:lnTo>
                    <a:lnTo>
                      <a:pt x="2626979" y="160866"/>
                    </a:lnTo>
                    <a:lnTo>
                      <a:pt x="2616958" y="152399"/>
                    </a:lnTo>
                    <a:lnTo>
                      <a:pt x="2635230" y="152399"/>
                    </a:lnTo>
                    <a:lnTo>
                      <a:pt x="2638470" y="139699"/>
                    </a:lnTo>
                    <a:lnTo>
                      <a:pt x="2634149" y="126999"/>
                    </a:lnTo>
                    <a:close/>
                  </a:path>
                  <a:path w="3439795" h="1447800">
                    <a:moveTo>
                      <a:pt x="2621278" y="152399"/>
                    </a:moveTo>
                    <a:lnTo>
                      <a:pt x="2616958" y="152399"/>
                    </a:lnTo>
                    <a:lnTo>
                      <a:pt x="2626979" y="160866"/>
                    </a:lnTo>
                    <a:lnTo>
                      <a:pt x="2621278" y="152399"/>
                    </a:lnTo>
                    <a:close/>
                  </a:path>
                  <a:path w="3439795" h="1447800">
                    <a:moveTo>
                      <a:pt x="3346751" y="152399"/>
                    </a:moveTo>
                    <a:lnTo>
                      <a:pt x="3342430" y="152399"/>
                    </a:lnTo>
                    <a:lnTo>
                      <a:pt x="3346751" y="160866"/>
                    </a:lnTo>
                    <a:lnTo>
                      <a:pt x="3346751" y="152399"/>
                    </a:lnTo>
                    <a:close/>
                  </a:path>
                  <a:path w="3439795" h="1447800">
                    <a:moveTo>
                      <a:pt x="3122178" y="152399"/>
                    </a:moveTo>
                    <a:lnTo>
                      <a:pt x="3122178" y="158749"/>
                    </a:lnTo>
                    <a:lnTo>
                      <a:pt x="3123258" y="155574"/>
                    </a:lnTo>
                    <a:lnTo>
                      <a:pt x="3122178" y="152399"/>
                    </a:lnTo>
                    <a:close/>
                  </a:path>
                  <a:path w="3439795" h="1447800">
                    <a:moveTo>
                      <a:pt x="3361872" y="152399"/>
                    </a:moveTo>
                    <a:lnTo>
                      <a:pt x="3359712" y="152399"/>
                    </a:lnTo>
                    <a:lnTo>
                      <a:pt x="3356472" y="158749"/>
                    </a:lnTo>
                    <a:lnTo>
                      <a:pt x="3361872" y="152399"/>
                    </a:lnTo>
                    <a:close/>
                  </a:path>
                  <a:path w="3439795" h="1447800">
                    <a:moveTo>
                      <a:pt x="2871683" y="152399"/>
                    </a:moveTo>
                    <a:lnTo>
                      <a:pt x="2869523" y="152399"/>
                    </a:lnTo>
                    <a:lnTo>
                      <a:pt x="2868083" y="156633"/>
                    </a:lnTo>
                    <a:lnTo>
                      <a:pt x="2871683" y="152399"/>
                    </a:lnTo>
                    <a:close/>
                  </a:path>
                  <a:path w="3439795" h="1447800">
                    <a:moveTo>
                      <a:pt x="3124339" y="152399"/>
                    </a:moveTo>
                    <a:lnTo>
                      <a:pt x="3122178" y="152399"/>
                    </a:lnTo>
                    <a:lnTo>
                      <a:pt x="3123258" y="155574"/>
                    </a:lnTo>
                    <a:lnTo>
                      <a:pt x="3124339" y="152399"/>
                    </a:lnTo>
                    <a:close/>
                  </a:path>
                  <a:path w="3439795" h="1447800">
                    <a:moveTo>
                      <a:pt x="3359712" y="152399"/>
                    </a:moveTo>
                    <a:lnTo>
                      <a:pt x="3357552" y="152399"/>
                    </a:lnTo>
                    <a:lnTo>
                      <a:pt x="3355932" y="155574"/>
                    </a:lnTo>
                    <a:lnTo>
                      <a:pt x="3359712" y="152399"/>
                    </a:lnTo>
                    <a:close/>
                  </a:path>
                  <a:path w="3439795" h="1447800">
                    <a:moveTo>
                      <a:pt x="2845761" y="126999"/>
                    </a:moveTo>
                    <a:lnTo>
                      <a:pt x="2830639" y="139699"/>
                    </a:lnTo>
                    <a:lnTo>
                      <a:pt x="2834960" y="152399"/>
                    </a:lnTo>
                    <a:lnTo>
                      <a:pt x="2843600" y="143933"/>
                    </a:lnTo>
                    <a:lnTo>
                      <a:pt x="2843600" y="139699"/>
                    </a:lnTo>
                    <a:lnTo>
                      <a:pt x="2832799" y="139699"/>
                    </a:lnTo>
                    <a:lnTo>
                      <a:pt x="2846241" y="128411"/>
                    </a:lnTo>
                    <a:lnTo>
                      <a:pt x="2845761" y="126999"/>
                    </a:lnTo>
                    <a:close/>
                  </a:path>
                  <a:path w="3439795" h="1447800">
                    <a:moveTo>
                      <a:pt x="2843600" y="143933"/>
                    </a:moveTo>
                    <a:lnTo>
                      <a:pt x="2834960" y="152399"/>
                    </a:lnTo>
                    <a:lnTo>
                      <a:pt x="2843600" y="145142"/>
                    </a:lnTo>
                    <a:lnTo>
                      <a:pt x="2843600" y="143933"/>
                    </a:lnTo>
                    <a:close/>
                  </a:path>
                  <a:path w="3439795" h="1447800">
                    <a:moveTo>
                      <a:pt x="2843600" y="145142"/>
                    </a:moveTo>
                    <a:lnTo>
                      <a:pt x="2834960" y="152399"/>
                    </a:lnTo>
                    <a:lnTo>
                      <a:pt x="2843600" y="152399"/>
                    </a:lnTo>
                    <a:lnTo>
                      <a:pt x="2843600" y="145142"/>
                    </a:lnTo>
                    <a:close/>
                  </a:path>
                  <a:path w="3439795" h="1447800">
                    <a:moveTo>
                      <a:pt x="2845761" y="143328"/>
                    </a:moveTo>
                    <a:lnTo>
                      <a:pt x="2843600" y="145142"/>
                    </a:lnTo>
                    <a:lnTo>
                      <a:pt x="2843600" y="152399"/>
                    </a:lnTo>
                    <a:lnTo>
                      <a:pt x="2845761" y="152399"/>
                    </a:lnTo>
                    <a:lnTo>
                      <a:pt x="2845761" y="143328"/>
                    </a:lnTo>
                    <a:close/>
                  </a:path>
                  <a:path w="3439795" h="1447800">
                    <a:moveTo>
                      <a:pt x="2852241" y="139699"/>
                    </a:moveTo>
                    <a:lnTo>
                      <a:pt x="2850081" y="139699"/>
                    </a:lnTo>
                    <a:lnTo>
                      <a:pt x="2845761" y="143328"/>
                    </a:lnTo>
                    <a:lnTo>
                      <a:pt x="2845761" y="152399"/>
                    </a:lnTo>
                    <a:lnTo>
                      <a:pt x="2852241" y="139699"/>
                    </a:lnTo>
                    <a:close/>
                  </a:path>
                  <a:path w="3439795" h="1447800">
                    <a:moveTo>
                      <a:pt x="2858722" y="139699"/>
                    </a:moveTo>
                    <a:lnTo>
                      <a:pt x="2852241" y="139699"/>
                    </a:lnTo>
                    <a:lnTo>
                      <a:pt x="2845761" y="152399"/>
                    </a:lnTo>
                    <a:lnTo>
                      <a:pt x="2858722" y="139699"/>
                    </a:lnTo>
                    <a:close/>
                  </a:path>
                  <a:path w="3439795" h="1447800">
                    <a:moveTo>
                      <a:pt x="2858722" y="139699"/>
                    </a:moveTo>
                    <a:lnTo>
                      <a:pt x="2845761" y="152399"/>
                    </a:lnTo>
                    <a:lnTo>
                      <a:pt x="2852241" y="152399"/>
                    </a:lnTo>
                    <a:lnTo>
                      <a:pt x="2858722" y="139699"/>
                    </a:lnTo>
                    <a:close/>
                  </a:path>
                  <a:path w="3439795" h="1447800">
                    <a:moveTo>
                      <a:pt x="2858722" y="139699"/>
                    </a:moveTo>
                    <a:lnTo>
                      <a:pt x="2852241" y="152399"/>
                    </a:lnTo>
                    <a:lnTo>
                      <a:pt x="2858722" y="142874"/>
                    </a:lnTo>
                    <a:lnTo>
                      <a:pt x="2858722" y="139699"/>
                    </a:lnTo>
                    <a:close/>
                  </a:path>
                  <a:path w="3439795" h="1447800">
                    <a:moveTo>
                      <a:pt x="2858722" y="142874"/>
                    </a:moveTo>
                    <a:lnTo>
                      <a:pt x="2852241" y="152399"/>
                    </a:lnTo>
                    <a:lnTo>
                      <a:pt x="2854401" y="152399"/>
                    </a:lnTo>
                    <a:lnTo>
                      <a:pt x="2858722" y="147319"/>
                    </a:lnTo>
                    <a:lnTo>
                      <a:pt x="2858722" y="142874"/>
                    </a:lnTo>
                    <a:close/>
                  </a:path>
                  <a:path w="3439795" h="1447800">
                    <a:moveTo>
                      <a:pt x="2865203" y="139699"/>
                    </a:moveTo>
                    <a:lnTo>
                      <a:pt x="2860882" y="144779"/>
                    </a:lnTo>
                    <a:lnTo>
                      <a:pt x="2860882" y="152399"/>
                    </a:lnTo>
                    <a:lnTo>
                      <a:pt x="2861962" y="152399"/>
                    </a:lnTo>
                    <a:lnTo>
                      <a:pt x="2865203" y="139699"/>
                    </a:lnTo>
                    <a:close/>
                  </a:path>
                  <a:path w="3439795" h="1447800">
                    <a:moveTo>
                      <a:pt x="3180504" y="126999"/>
                    </a:moveTo>
                    <a:lnTo>
                      <a:pt x="3178344" y="126999"/>
                    </a:lnTo>
                    <a:lnTo>
                      <a:pt x="3165383" y="139699"/>
                    </a:lnTo>
                    <a:lnTo>
                      <a:pt x="3171863" y="152399"/>
                    </a:lnTo>
                    <a:lnTo>
                      <a:pt x="3184825" y="152399"/>
                    </a:lnTo>
                    <a:lnTo>
                      <a:pt x="3180504" y="126999"/>
                    </a:lnTo>
                    <a:close/>
                  </a:path>
                  <a:path w="3439795" h="1447800">
                    <a:moveTo>
                      <a:pt x="3191215" y="126999"/>
                    </a:moveTo>
                    <a:lnTo>
                      <a:pt x="3180504" y="126999"/>
                    </a:lnTo>
                    <a:lnTo>
                      <a:pt x="3184825" y="152399"/>
                    </a:lnTo>
                    <a:lnTo>
                      <a:pt x="3197696" y="139699"/>
                    </a:lnTo>
                    <a:lnTo>
                      <a:pt x="3191215" y="126999"/>
                    </a:lnTo>
                    <a:close/>
                  </a:path>
                  <a:path w="3439795" h="1447800">
                    <a:moveTo>
                      <a:pt x="3271143" y="126999"/>
                    </a:moveTo>
                    <a:lnTo>
                      <a:pt x="3260342" y="139699"/>
                    </a:lnTo>
                    <a:lnTo>
                      <a:pt x="3264663" y="152399"/>
                    </a:lnTo>
                    <a:lnTo>
                      <a:pt x="3267903" y="149224"/>
                    </a:lnTo>
                    <a:lnTo>
                      <a:pt x="3264663" y="139699"/>
                    </a:lnTo>
                    <a:lnTo>
                      <a:pt x="3271143" y="126999"/>
                    </a:lnTo>
                    <a:close/>
                  </a:path>
                  <a:path w="3439795" h="1447800">
                    <a:moveTo>
                      <a:pt x="3267903" y="149224"/>
                    </a:moveTo>
                    <a:lnTo>
                      <a:pt x="3264663" y="152399"/>
                    </a:lnTo>
                    <a:lnTo>
                      <a:pt x="3266823" y="152399"/>
                    </a:lnTo>
                    <a:lnTo>
                      <a:pt x="3268503" y="150988"/>
                    </a:lnTo>
                    <a:lnTo>
                      <a:pt x="3267903" y="149224"/>
                    </a:lnTo>
                    <a:close/>
                  </a:path>
                  <a:path w="3439795" h="1447800">
                    <a:moveTo>
                      <a:pt x="3276904" y="143933"/>
                    </a:moveTo>
                    <a:lnTo>
                      <a:pt x="3268503" y="150988"/>
                    </a:lnTo>
                    <a:lnTo>
                      <a:pt x="3268983" y="152399"/>
                    </a:lnTo>
                    <a:lnTo>
                      <a:pt x="3275464" y="152399"/>
                    </a:lnTo>
                    <a:lnTo>
                      <a:pt x="3276904" y="143933"/>
                    </a:lnTo>
                    <a:close/>
                  </a:path>
                  <a:path w="3439795" h="1447800">
                    <a:moveTo>
                      <a:pt x="3284105" y="139699"/>
                    </a:moveTo>
                    <a:lnTo>
                      <a:pt x="3281944" y="139699"/>
                    </a:lnTo>
                    <a:lnTo>
                      <a:pt x="3276904" y="143933"/>
                    </a:lnTo>
                    <a:lnTo>
                      <a:pt x="3275464" y="152399"/>
                    </a:lnTo>
                    <a:lnTo>
                      <a:pt x="3284105" y="139699"/>
                    </a:lnTo>
                    <a:close/>
                  </a:path>
                  <a:path w="3439795" h="1447800">
                    <a:moveTo>
                      <a:pt x="3277624" y="139699"/>
                    </a:moveTo>
                    <a:lnTo>
                      <a:pt x="3267903" y="149224"/>
                    </a:lnTo>
                    <a:lnTo>
                      <a:pt x="3268503" y="150988"/>
                    </a:lnTo>
                    <a:lnTo>
                      <a:pt x="3276904" y="143933"/>
                    </a:lnTo>
                    <a:lnTo>
                      <a:pt x="3277624" y="139699"/>
                    </a:lnTo>
                    <a:close/>
                  </a:path>
                  <a:path w="3439795" h="1447800">
                    <a:moveTo>
                      <a:pt x="3275464" y="126999"/>
                    </a:moveTo>
                    <a:lnTo>
                      <a:pt x="3271143" y="126999"/>
                    </a:lnTo>
                    <a:lnTo>
                      <a:pt x="3264663" y="139699"/>
                    </a:lnTo>
                    <a:lnTo>
                      <a:pt x="3267903" y="149224"/>
                    </a:lnTo>
                    <a:lnTo>
                      <a:pt x="3277624" y="139699"/>
                    </a:lnTo>
                    <a:lnTo>
                      <a:pt x="3275464" y="126999"/>
                    </a:lnTo>
                    <a:close/>
                  </a:path>
                  <a:path w="3439795" h="1447800">
                    <a:moveTo>
                      <a:pt x="2860882" y="139699"/>
                    </a:moveTo>
                    <a:lnTo>
                      <a:pt x="2858722" y="142874"/>
                    </a:lnTo>
                    <a:lnTo>
                      <a:pt x="2858722" y="147319"/>
                    </a:lnTo>
                    <a:lnTo>
                      <a:pt x="2860402" y="145344"/>
                    </a:lnTo>
                    <a:lnTo>
                      <a:pt x="2860882" y="139699"/>
                    </a:lnTo>
                    <a:close/>
                  </a:path>
                  <a:path w="3439795" h="1447800">
                    <a:moveTo>
                      <a:pt x="2860882" y="139699"/>
                    </a:moveTo>
                    <a:lnTo>
                      <a:pt x="2860402" y="145344"/>
                    </a:lnTo>
                    <a:lnTo>
                      <a:pt x="2860882" y="144779"/>
                    </a:lnTo>
                    <a:lnTo>
                      <a:pt x="2860882" y="139699"/>
                    </a:lnTo>
                    <a:close/>
                  </a:path>
                  <a:path w="3439795" h="1447800">
                    <a:moveTo>
                      <a:pt x="2845761" y="141816"/>
                    </a:moveTo>
                    <a:lnTo>
                      <a:pt x="2843600" y="143933"/>
                    </a:lnTo>
                    <a:lnTo>
                      <a:pt x="2843600" y="145142"/>
                    </a:lnTo>
                    <a:lnTo>
                      <a:pt x="2845761" y="143328"/>
                    </a:lnTo>
                    <a:lnTo>
                      <a:pt x="2845761" y="141816"/>
                    </a:lnTo>
                    <a:close/>
                  </a:path>
                  <a:path w="3439795" h="1447800">
                    <a:moveTo>
                      <a:pt x="2865203" y="139699"/>
                    </a:moveTo>
                    <a:lnTo>
                      <a:pt x="2860882" y="139699"/>
                    </a:lnTo>
                    <a:lnTo>
                      <a:pt x="2860882" y="144779"/>
                    </a:lnTo>
                    <a:lnTo>
                      <a:pt x="2865203" y="139699"/>
                    </a:lnTo>
                    <a:close/>
                  </a:path>
                  <a:path w="3439795" h="1447800">
                    <a:moveTo>
                      <a:pt x="2845761" y="139699"/>
                    </a:moveTo>
                    <a:lnTo>
                      <a:pt x="2843600" y="139699"/>
                    </a:lnTo>
                    <a:lnTo>
                      <a:pt x="2843600" y="143933"/>
                    </a:lnTo>
                    <a:lnTo>
                      <a:pt x="2845761" y="141816"/>
                    </a:lnTo>
                    <a:lnTo>
                      <a:pt x="2845761" y="139699"/>
                    </a:lnTo>
                    <a:close/>
                  </a:path>
                  <a:path w="3439795" h="1447800">
                    <a:moveTo>
                      <a:pt x="3281944" y="139699"/>
                    </a:moveTo>
                    <a:lnTo>
                      <a:pt x="3277624" y="139699"/>
                    </a:lnTo>
                    <a:lnTo>
                      <a:pt x="3276904" y="143933"/>
                    </a:lnTo>
                    <a:lnTo>
                      <a:pt x="3281944" y="139699"/>
                    </a:lnTo>
                    <a:close/>
                  </a:path>
                  <a:path w="3439795" h="1447800">
                    <a:moveTo>
                      <a:pt x="2847921" y="133349"/>
                    </a:moveTo>
                    <a:lnTo>
                      <a:pt x="2847921" y="139699"/>
                    </a:lnTo>
                    <a:lnTo>
                      <a:pt x="2845761" y="141816"/>
                    </a:lnTo>
                    <a:lnTo>
                      <a:pt x="2845761" y="143328"/>
                    </a:lnTo>
                    <a:lnTo>
                      <a:pt x="2850081" y="139699"/>
                    </a:lnTo>
                    <a:lnTo>
                      <a:pt x="2847921" y="133349"/>
                    </a:lnTo>
                    <a:close/>
                  </a:path>
                  <a:path w="3439795" h="1447800">
                    <a:moveTo>
                      <a:pt x="2860882" y="139699"/>
                    </a:moveTo>
                    <a:lnTo>
                      <a:pt x="2858722" y="139699"/>
                    </a:lnTo>
                    <a:lnTo>
                      <a:pt x="2858722" y="142874"/>
                    </a:lnTo>
                    <a:lnTo>
                      <a:pt x="2860882" y="139699"/>
                    </a:lnTo>
                    <a:close/>
                  </a:path>
                  <a:path w="3439795" h="1447800">
                    <a:moveTo>
                      <a:pt x="2846241" y="128411"/>
                    </a:moveTo>
                    <a:lnTo>
                      <a:pt x="2832799" y="139699"/>
                    </a:lnTo>
                    <a:lnTo>
                      <a:pt x="2845761" y="139699"/>
                    </a:lnTo>
                    <a:lnTo>
                      <a:pt x="2845761" y="141816"/>
                    </a:lnTo>
                    <a:lnTo>
                      <a:pt x="2847921" y="139699"/>
                    </a:lnTo>
                    <a:lnTo>
                      <a:pt x="2847921" y="133349"/>
                    </a:lnTo>
                    <a:lnTo>
                      <a:pt x="2846241" y="128411"/>
                    </a:lnTo>
                    <a:close/>
                  </a:path>
                  <a:path w="3439795" h="1447800">
                    <a:moveTo>
                      <a:pt x="2629829" y="126999"/>
                    </a:moveTo>
                    <a:lnTo>
                      <a:pt x="2621278" y="126999"/>
                    </a:lnTo>
                    <a:lnTo>
                      <a:pt x="2619118" y="139699"/>
                    </a:lnTo>
                    <a:lnTo>
                      <a:pt x="2629829" y="139699"/>
                    </a:lnTo>
                    <a:lnTo>
                      <a:pt x="2629829" y="126999"/>
                    </a:lnTo>
                    <a:close/>
                  </a:path>
                  <a:path w="3439795" h="1447800">
                    <a:moveTo>
                      <a:pt x="2634149" y="126999"/>
                    </a:moveTo>
                    <a:lnTo>
                      <a:pt x="2638470" y="139699"/>
                    </a:lnTo>
                    <a:lnTo>
                      <a:pt x="2636670" y="129116"/>
                    </a:lnTo>
                    <a:lnTo>
                      <a:pt x="2634149" y="126999"/>
                    </a:lnTo>
                    <a:close/>
                  </a:path>
                  <a:path w="3439795" h="1447800">
                    <a:moveTo>
                      <a:pt x="2636670" y="129116"/>
                    </a:moveTo>
                    <a:lnTo>
                      <a:pt x="2638470" y="139699"/>
                    </a:lnTo>
                    <a:lnTo>
                      <a:pt x="2638470" y="130628"/>
                    </a:lnTo>
                    <a:lnTo>
                      <a:pt x="2636670" y="129116"/>
                    </a:lnTo>
                    <a:close/>
                  </a:path>
                  <a:path w="3439795" h="1447800">
                    <a:moveTo>
                      <a:pt x="2638470" y="130628"/>
                    </a:moveTo>
                    <a:lnTo>
                      <a:pt x="2638470" y="139699"/>
                    </a:lnTo>
                    <a:lnTo>
                      <a:pt x="2649271" y="139699"/>
                    </a:lnTo>
                    <a:lnTo>
                      <a:pt x="2638470" y="130628"/>
                    </a:lnTo>
                    <a:close/>
                  </a:path>
                  <a:path w="3439795" h="1447800">
                    <a:moveTo>
                      <a:pt x="2638470" y="126999"/>
                    </a:moveTo>
                    <a:lnTo>
                      <a:pt x="2638470" y="130628"/>
                    </a:lnTo>
                    <a:lnTo>
                      <a:pt x="2649271" y="139699"/>
                    </a:lnTo>
                    <a:lnTo>
                      <a:pt x="2638470" y="126999"/>
                    </a:lnTo>
                    <a:close/>
                  </a:path>
                  <a:path w="3439795" h="1447800">
                    <a:moveTo>
                      <a:pt x="2638470" y="114299"/>
                    </a:moveTo>
                    <a:lnTo>
                      <a:pt x="2638470" y="126999"/>
                    </a:lnTo>
                    <a:lnTo>
                      <a:pt x="2649271" y="139699"/>
                    </a:lnTo>
                    <a:lnTo>
                      <a:pt x="2651431" y="126999"/>
                    </a:lnTo>
                    <a:lnTo>
                      <a:pt x="2638470" y="114299"/>
                    </a:lnTo>
                    <a:close/>
                  </a:path>
                  <a:path w="3439795" h="1447800">
                    <a:moveTo>
                      <a:pt x="2828479" y="126999"/>
                    </a:moveTo>
                    <a:lnTo>
                      <a:pt x="2828479" y="139699"/>
                    </a:lnTo>
                    <a:lnTo>
                      <a:pt x="2830639" y="139699"/>
                    </a:lnTo>
                    <a:lnTo>
                      <a:pt x="2828479" y="126999"/>
                    </a:lnTo>
                    <a:close/>
                  </a:path>
                  <a:path w="3439795" h="1447800">
                    <a:moveTo>
                      <a:pt x="2843600" y="126999"/>
                    </a:moveTo>
                    <a:lnTo>
                      <a:pt x="2828479" y="126999"/>
                    </a:lnTo>
                    <a:lnTo>
                      <a:pt x="2830639" y="139699"/>
                    </a:lnTo>
                    <a:lnTo>
                      <a:pt x="2843600" y="126999"/>
                    </a:lnTo>
                    <a:close/>
                  </a:path>
                  <a:path w="3439795" h="1447800">
                    <a:moveTo>
                      <a:pt x="2837120" y="114299"/>
                    </a:moveTo>
                    <a:lnTo>
                      <a:pt x="2817678" y="114299"/>
                    </a:lnTo>
                    <a:lnTo>
                      <a:pt x="2817678" y="126999"/>
                    </a:lnTo>
                    <a:lnTo>
                      <a:pt x="2843600" y="126999"/>
                    </a:lnTo>
                    <a:lnTo>
                      <a:pt x="2830639" y="139699"/>
                    </a:lnTo>
                    <a:lnTo>
                      <a:pt x="2845761" y="126999"/>
                    </a:lnTo>
                    <a:lnTo>
                      <a:pt x="2837120" y="114299"/>
                    </a:lnTo>
                    <a:close/>
                  </a:path>
                  <a:path w="3439795" h="1447800">
                    <a:moveTo>
                      <a:pt x="3193375" y="126999"/>
                    </a:moveTo>
                    <a:lnTo>
                      <a:pt x="3191215" y="126999"/>
                    </a:lnTo>
                    <a:lnTo>
                      <a:pt x="3197696" y="139699"/>
                    </a:lnTo>
                    <a:lnTo>
                      <a:pt x="3193375" y="126999"/>
                    </a:lnTo>
                    <a:close/>
                  </a:path>
                  <a:path w="3439795" h="1447800">
                    <a:moveTo>
                      <a:pt x="3195536" y="126999"/>
                    </a:moveTo>
                    <a:lnTo>
                      <a:pt x="3193375" y="126999"/>
                    </a:lnTo>
                    <a:lnTo>
                      <a:pt x="3197696" y="139699"/>
                    </a:lnTo>
                    <a:lnTo>
                      <a:pt x="3202016" y="139699"/>
                    </a:lnTo>
                    <a:lnTo>
                      <a:pt x="3195536" y="126999"/>
                    </a:lnTo>
                    <a:close/>
                  </a:path>
                  <a:path w="3439795" h="1447800">
                    <a:moveTo>
                      <a:pt x="3202016" y="126999"/>
                    </a:moveTo>
                    <a:lnTo>
                      <a:pt x="3195536" y="126999"/>
                    </a:lnTo>
                    <a:lnTo>
                      <a:pt x="3202016" y="139699"/>
                    </a:lnTo>
                    <a:lnTo>
                      <a:pt x="3202016" y="126999"/>
                    </a:lnTo>
                    <a:close/>
                  </a:path>
                  <a:path w="3439795" h="1447800">
                    <a:moveTo>
                      <a:pt x="3202016" y="126999"/>
                    </a:moveTo>
                    <a:lnTo>
                      <a:pt x="3202016" y="139699"/>
                    </a:lnTo>
                    <a:lnTo>
                      <a:pt x="3206337" y="139699"/>
                    </a:lnTo>
                    <a:lnTo>
                      <a:pt x="3202016" y="126999"/>
                    </a:lnTo>
                    <a:close/>
                  </a:path>
                  <a:path w="3439795" h="1447800">
                    <a:moveTo>
                      <a:pt x="3214978" y="126999"/>
                    </a:moveTo>
                    <a:lnTo>
                      <a:pt x="3202016" y="126999"/>
                    </a:lnTo>
                    <a:lnTo>
                      <a:pt x="3206337" y="139699"/>
                    </a:lnTo>
                    <a:lnTo>
                      <a:pt x="3217138" y="139699"/>
                    </a:lnTo>
                    <a:lnTo>
                      <a:pt x="3214978" y="126999"/>
                    </a:lnTo>
                    <a:close/>
                  </a:path>
                  <a:path w="3439795" h="1447800">
                    <a:moveTo>
                      <a:pt x="3230099" y="126999"/>
                    </a:moveTo>
                    <a:lnTo>
                      <a:pt x="3214978" y="126999"/>
                    </a:lnTo>
                    <a:lnTo>
                      <a:pt x="3217138" y="139699"/>
                    </a:lnTo>
                    <a:lnTo>
                      <a:pt x="3230099" y="139699"/>
                    </a:lnTo>
                    <a:lnTo>
                      <a:pt x="3230099" y="126999"/>
                    </a:lnTo>
                    <a:close/>
                  </a:path>
                  <a:path w="3439795" h="1447800">
                    <a:moveTo>
                      <a:pt x="3236580" y="126999"/>
                    </a:moveTo>
                    <a:lnTo>
                      <a:pt x="3230099" y="126999"/>
                    </a:lnTo>
                    <a:lnTo>
                      <a:pt x="3230099" y="139699"/>
                    </a:lnTo>
                    <a:lnTo>
                      <a:pt x="3236580" y="139699"/>
                    </a:lnTo>
                    <a:lnTo>
                      <a:pt x="3236580" y="126999"/>
                    </a:lnTo>
                    <a:close/>
                  </a:path>
                  <a:path w="3439795" h="1447800">
                    <a:moveTo>
                      <a:pt x="3249541" y="126999"/>
                    </a:moveTo>
                    <a:lnTo>
                      <a:pt x="3236580" y="126999"/>
                    </a:lnTo>
                    <a:lnTo>
                      <a:pt x="3236580" y="139699"/>
                    </a:lnTo>
                    <a:lnTo>
                      <a:pt x="3245221" y="139699"/>
                    </a:lnTo>
                    <a:lnTo>
                      <a:pt x="3249541" y="126999"/>
                    </a:lnTo>
                    <a:close/>
                  </a:path>
                  <a:path w="3439795" h="1447800">
                    <a:moveTo>
                      <a:pt x="3249541" y="126999"/>
                    </a:moveTo>
                    <a:lnTo>
                      <a:pt x="3245221" y="139699"/>
                    </a:lnTo>
                    <a:lnTo>
                      <a:pt x="3247381" y="139699"/>
                    </a:lnTo>
                    <a:lnTo>
                      <a:pt x="3249541" y="126999"/>
                    </a:lnTo>
                    <a:close/>
                  </a:path>
                  <a:path w="3439795" h="1447800">
                    <a:moveTo>
                      <a:pt x="3271143" y="126999"/>
                    </a:moveTo>
                    <a:lnTo>
                      <a:pt x="3249541" y="126999"/>
                    </a:lnTo>
                    <a:lnTo>
                      <a:pt x="3247381" y="139699"/>
                    </a:lnTo>
                    <a:lnTo>
                      <a:pt x="3260342" y="139699"/>
                    </a:lnTo>
                    <a:lnTo>
                      <a:pt x="3271143" y="126999"/>
                    </a:lnTo>
                    <a:close/>
                  </a:path>
                  <a:path w="3439795" h="1447800">
                    <a:moveTo>
                      <a:pt x="3277624" y="126999"/>
                    </a:moveTo>
                    <a:lnTo>
                      <a:pt x="3275464" y="126999"/>
                    </a:lnTo>
                    <a:lnTo>
                      <a:pt x="3277624" y="139699"/>
                    </a:lnTo>
                    <a:lnTo>
                      <a:pt x="3277624" y="126999"/>
                    </a:lnTo>
                    <a:close/>
                  </a:path>
                  <a:path w="3439795" h="1447800">
                    <a:moveTo>
                      <a:pt x="2847921" y="126999"/>
                    </a:moveTo>
                    <a:lnTo>
                      <a:pt x="2846241" y="128411"/>
                    </a:lnTo>
                    <a:lnTo>
                      <a:pt x="2847921" y="133349"/>
                    </a:lnTo>
                    <a:lnTo>
                      <a:pt x="2847921" y="126999"/>
                    </a:lnTo>
                    <a:close/>
                  </a:path>
                  <a:path w="3439795" h="1447800">
                    <a:moveTo>
                      <a:pt x="2638470" y="126999"/>
                    </a:moveTo>
                    <a:lnTo>
                      <a:pt x="2636310" y="126999"/>
                    </a:lnTo>
                    <a:lnTo>
                      <a:pt x="2636670" y="129116"/>
                    </a:lnTo>
                    <a:lnTo>
                      <a:pt x="2638470" y="130628"/>
                    </a:lnTo>
                    <a:lnTo>
                      <a:pt x="2638470" y="126999"/>
                    </a:lnTo>
                    <a:close/>
                  </a:path>
                  <a:path w="3439795" h="1447800">
                    <a:moveTo>
                      <a:pt x="2636310" y="126999"/>
                    </a:moveTo>
                    <a:lnTo>
                      <a:pt x="2634149" y="126999"/>
                    </a:lnTo>
                    <a:lnTo>
                      <a:pt x="2636670" y="129116"/>
                    </a:lnTo>
                    <a:lnTo>
                      <a:pt x="2636310" y="126999"/>
                    </a:lnTo>
                    <a:close/>
                  </a:path>
                  <a:path w="3439795" h="1447800">
                    <a:moveTo>
                      <a:pt x="2847921" y="126999"/>
                    </a:moveTo>
                    <a:lnTo>
                      <a:pt x="2845761" y="126999"/>
                    </a:lnTo>
                    <a:lnTo>
                      <a:pt x="2846241" y="128411"/>
                    </a:lnTo>
                    <a:lnTo>
                      <a:pt x="2847921" y="126999"/>
                    </a:lnTo>
                    <a:close/>
                  </a:path>
                  <a:path w="3439795" h="1447800">
                    <a:moveTo>
                      <a:pt x="2642790" y="114299"/>
                    </a:moveTo>
                    <a:lnTo>
                      <a:pt x="2638470" y="114299"/>
                    </a:lnTo>
                    <a:lnTo>
                      <a:pt x="2651431" y="126999"/>
                    </a:lnTo>
                    <a:lnTo>
                      <a:pt x="2655752" y="126999"/>
                    </a:lnTo>
                    <a:lnTo>
                      <a:pt x="2654131" y="123824"/>
                    </a:lnTo>
                    <a:lnTo>
                      <a:pt x="2642790" y="114299"/>
                    </a:lnTo>
                    <a:close/>
                  </a:path>
                  <a:path w="3439795" h="1447800">
                    <a:moveTo>
                      <a:pt x="2654131" y="123824"/>
                    </a:moveTo>
                    <a:lnTo>
                      <a:pt x="2655752" y="126999"/>
                    </a:lnTo>
                    <a:lnTo>
                      <a:pt x="2656537" y="125845"/>
                    </a:lnTo>
                    <a:lnTo>
                      <a:pt x="2654131" y="123824"/>
                    </a:lnTo>
                    <a:close/>
                  </a:path>
                  <a:path w="3439795" h="1447800">
                    <a:moveTo>
                      <a:pt x="2656537" y="125845"/>
                    </a:moveTo>
                    <a:lnTo>
                      <a:pt x="2655752" y="126999"/>
                    </a:lnTo>
                    <a:lnTo>
                      <a:pt x="2657912" y="126999"/>
                    </a:lnTo>
                    <a:lnTo>
                      <a:pt x="2656537" y="125845"/>
                    </a:lnTo>
                    <a:close/>
                  </a:path>
                  <a:path w="3439795" h="1447800">
                    <a:moveTo>
                      <a:pt x="2657672" y="124177"/>
                    </a:moveTo>
                    <a:lnTo>
                      <a:pt x="2656537" y="125845"/>
                    </a:lnTo>
                    <a:lnTo>
                      <a:pt x="2657912" y="126999"/>
                    </a:lnTo>
                    <a:lnTo>
                      <a:pt x="2658722" y="125412"/>
                    </a:lnTo>
                    <a:lnTo>
                      <a:pt x="2657672" y="124177"/>
                    </a:lnTo>
                    <a:close/>
                  </a:path>
                  <a:path w="3439795" h="1447800">
                    <a:moveTo>
                      <a:pt x="2658722" y="125412"/>
                    </a:moveTo>
                    <a:lnTo>
                      <a:pt x="2657912" y="126999"/>
                    </a:lnTo>
                    <a:lnTo>
                      <a:pt x="2660072" y="126999"/>
                    </a:lnTo>
                    <a:lnTo>
                      <a:pt x="2658722" y="125412"/>
                    </a:lnTo>
                    <a:close/>
                  </a:path>
                  <a:path w="3439795" h="1447800">
                    <a:moveTo>
                      <a:pt x="2664392" y="114299"/>
                    </a:moveTo>
                    <a:lnTo>
                      <a:pt x="2658722" y="125412"/>
                    </a:lnTo>
                    <a:lnTo>
                      <a:pt x="2660072" y="126999"/>
                    </a:lnTo>
                    <a:lnTo>
                      <a:pt x="2662232" y="126999"/>
                    </a:lnTo>
                    <a:lnTo>
                      <a:pt x="2664392" y="114299"/>
                    </a:lnTo>
                    <a:close/>
                  </a:path>
                  <a:path w="3439795" h="1447800">
                    <a:moveTo>
                      <a:pt x="2757282" y="101599"/>
                    </a:moveTo>
                    <a:lnTo>
                      <a:pt x="2744320" y="114299"/>
                    </a:lnTo>
                    <a:lnTo>
                      <a:pt x="2750801" y="126999"/>
                    </a:lnTo>
                    <a:lnTo>
                      <a:pt x="2763762" y="114299"/>
                    </a:lnTo>
                    <a:lnTo>
                      <a:pt x="2750801" y="114299"/>
                    </a:lnTo>
                    <a:lnTo>
                      <a:pt x="2757282" y="101599"/>
                    </a:lnTo>
                    <a:close/>
                  </a:path>
                  <a:path w="3439795" h="1447800">
                    <a:moveTo>
                      <a:pt x="2763762" y="114299"/>
                    </a:moveTo>
                    <a:lnTo>
                      <a:pt x="2750801" y="126999"/>
                    </a:lnTo>
                    <a:lnTo>
                      <a:pt x="2757282" y="126999"/>
                    </a:lnTo>
                    <a:lnTo>
                      <a:pt x="2763762" y="114299"/>
                    </a:lnTo>
                    <a:close/>
                  </a:path>
                  <a:path w="3439795" h="1447800">
                    <a:moveTo>
                      <a:pt x="2765923" y="114299"/>
                    </a:moveTo>
                    <a:lnTo>
                      <a:pt x="2763762" y="114299"/>
                    </a:lnTo>
                    <a:lnTo>
                      <a:pt x="2757282" y="126999"/>
                    </a:lnTo>
                    <a:lnTo>
                      <a:pt x="2765923" y="114299"/>
                    </a:lnTo>
                    <a:close/>
                  </a:path>
                  <a:path w="3439795" h="1447800">
                    <a:moveTo>
                      <a:pt x="2770243" y="114299"/>
                    </a:moveTo>
                    <a:lnTo>
                      <a:pt x="2765923" y="114299"/>
                    </a:lnTo>
                    <a:lnTo>
                      <a:pt x="2757282" y="126999"/>
                    </a:lnTo>
                    <a:lnTo>
                      <a:pt x="2761602" y="126999"/>
                    </a:lnTo>
                    <a:lnTo>
                      <a:pt x="2770243" y="114299"/>
                    </a:lnTo>
                    <a:close/>
                  </a:path>
                  <a:path w="3439795" h="1447800">
                    <a:moveTo>
                      <a:pt x="2770243" y="114299"/>
                    </a:moveTo>
                    <a:lnTo>
                      <a:pt x="2761602" y="126999"/>
                    </a:lnTo>
                    <a:lnTo>
                      <a:pt x="2763762" y="126999"/>
                    </a:lnTo>
                    <a:lnTo>
                      <a:pt x="2770243" y="114299"/>
                    </a:lnTo>
                    <a:close/>
                  </a:path>
                  <a:path w="3439795" h="1447800">
                    <a:moveTo>
                      <a:pt x="2772403" y="114299"/>
                    </a:moveTo>
                    <a:lnTo>
                      <a:pt x="2770243" y="114299"/>
                    </a:lnTo>
                    <a:lnTo>
                      <a:pt x="2763762" y="126999"/>
                    </a:lnTo>
                    <a:lnTo>
                      <a:pt x="2772403" y="126999"/>
                    </a:lnTo>
                    <a:lnTo>
                      <a:pt x="2772403" y="114299"/>
                    </a:lnTo>
                    <a:close/>
                  </a:path>
                  <a:path w="3439795" h="1447800">
                    <a:moveTo>
                      <a:pt x="2776724" y="114299"/>
                    </a:moveTo>
                    <a:lnTo>
                      <a:pt x="2772403" y="114299"/>
                    </a:lnTo>
                    <a:lnTo>
                      <a:pt x="2772403" y="126999"/>
                    </a:lnTo>
                    <a:lnTo>
                      <a:pt x="2776724" y="114299"/>
                    </a:lnTo>
                    <a:close/>
                  </a:path>
                  <a:path w="3439795" h="1447800">
                    <a:moveTo>
                      <a:pt x="2785365" y="114299"/>
                    </a:moveTo>
                    <a:lnTo>
                      <a:pt x="2776724" y="114299"/>
                    </a:lnTo>
                    <a:lnTo>
                      <a:pt x="2772403" y="126999"/>
                    </a:lnTo>
                    <a:lnTo>
                      <a:pt x="2785365" y="126999"/>
                    </a:lnTo>
                    <a:lnTo>
                      <a:pt x="2785365" y="114299"/>
                    </a:lnTo>
                    <a:close/>
                  </a:path>
                  <a:path w="3439795" h="1447800">
                    <a:moveTo>
                      <a:pt x="2802646" y="114299"/>
                    </a:moveTo>
                    <a:lnTo>
                      <a:pt x="2785365" y="114299"/>
                    </a:lnTo>
                    <a:lnTo>
                      <a:pt x="2785365" y="126999"/>
                    </a:lnTo>
                    <a:lnTo>
                      <a:pt x="2802646" y="126999"/>
                    </a:lnTo>
                    <a:lnTo>
                      <a:pt x="2802646" y="114299"/>
                    </a:lnTo>
                    <a:close/>
                  </a:path>
                  <a:path w="3439795" h="1447800">
                    <a:moveTo>
                      <a:pt x="2817678" y="114299"/>
                    </a:moveTo>
                    <a:lnTo>
                      <a:pt x="2802646" y="114299"/>
                    </a:lnTo>
                    <a:lnTo>
                      <a:pt x="2802646" y="126999"/>
                    </a:lnTo>
                    <a:lnTo>
                      <a:pt x="2817678" y="126999"/>
                    </a:lnTo>
                    <a:lnTo>
                      <a:pt x="2817678" y="114299"/>
                    </a:lnTo>
                    <a:close/>
                  </a:path>
                  <a:path w="3439795" h="1447800">
                    <a:moveTo>
                      <a:pt x="2845761" y="114299"/>
                    </a:moveTo>
                    <a:lnTo>
                      <a:pt x="2837120" y="114299"/>
                    </a:lnTo>
                    <a:lnTo>
                      <a:pt x="2845761" y="126999"/>
                    </a:lnTo>
                    <a:lnTo>
                      <a:pt x="2845761" y="114299"/>
                    </a:lnTo>
                    <a:close/>
                  </a:path>
                  <a:path w="3439795" h="1447800">
                    <a:moveTo>
                      <a:pt x="2649271" y="114299"/>
                    </a:moveTo>
                    <a:lnTo>
                      <a:pt x="2654131" y="123824"/>
                    </a:lnTo>
                    <a:lnTo>
                      <a:pt x="2656537" y="125845"/>
                    </a:lnTo>
                    <a:lnTo>
                      <a:pt x="2657672" y="124177"/>
                    </a:lnTo>
                    <a:lnTo>
                      <a:pt x="2649271" y="114299"/>
                    </a:lnTo>
                    <a:close/>
                  </a:path>
                  <a:path w="3439795" h="1447800">
                    <a:moveTo>
                      <a:pt x="2653591" y="88899"/>
                    </a:moveTo>
                    <a:lnTo>
                      <a:pt x="2649271" y="88899"/>
                    </a:lnTo>
                    <a:lnTo>
                      <a:pt x="2649271" y="101599"/>
                    </a:lnTo>
                    <a:lnTo>
                      <a:pt x="2647111" y="114299"/>
                    </a:lnTo>
                    <a:lnTo>
                      <a:pt x="2649271" y="114299"/>
                    </a:lnTo>
                    <a:lnTo>
                      <a:pt x="2657672" y="124177"/>
                    </a:lnTo>
                    <a:lnTo>
                      <a:pt x="2664392" y="114299"/>
                    </a:lnTo>
                    <a:lnTo>
                      <a:pt x="2666553" y="101599"/>
                    </a:lnTo>
                    <a:lnTo>
                      <a:pt x="2662232" y="101599"/>
                    </a:lnTo>
                    <a:lnTo>
                      <a:pt x="2653591" y="88899"/>
                    </a:lnTo>
                    <a:close/>
                  </a:path>
                  <a:path w="3439795" h="1447800">
                    <a:moveTo>
                      <a:pt x="2649271" y="114299"/>
                    </a:moveTo>
                    <a:lnTo>
                      <a:pt x="2642790" y="114299"/>
                    </a:lnTo>
                    <a:lnTo>
                      <a:pt x="2654131" y="123824"/>
                    </a:lnTo>
                    <a:lnTo>
                      <a:pt x="2649271" y="114299"/>
                    </a:lnTo>
                    <a:close/>
                  </a:path>
                  <a:path w="3439795" h="1447800">
                    <a:moveTo>
                      <a:pt x="2714077" y="101599"/>
                    </a:moveTo>
                    <a:lnTo>
                      <a:pt x="2709757" y="114299"/>
                    </a:lnTo>
                    <a:lnTo>
                      <a:pt x="2720558" y="114299"/>
                    </a:lnTo>
                    <a:lnTo>
                      <a:pt x="2721933" y="113145"/>
                    </a:lnTo>
                    <a:lnTo>
                      <a:pt x="2714077" y="101599"/>
                    </a:lnTo>
                    <a:close/>
                  </a:path>
                  <a:path w="3439795" h="1447800">
                    <a:moveTo>
                      <a:pt x="2721933" y="113145"/>
                    </a:moveTo>
                    <a:lnTo>
                      <a:pt x="2720558" y="114299"/>
                    </a:lnTo>
                    <a:lnTo>
                      <a:pt x="2722718" y="114299"/>
                    </a:lnTo>
                    <a:lnTo>
                      <a:pt x="2721933" y="113145"/>
                    </a:lnTo>
                    <a:close/>
                  </a:path>
                  <a:path w="3439795" h="1447800">
                    <a:moveTo>
                      <a:pt x="2722718" y="112485"/>
                    </a:moveTo>
                    <a:lnTo>
                      <a:pt x="2721933" y="113145"/>
                    </a:lnTo>
                    <a:lnTo>
                      <a:pt x="2722718" y="114299"/>
                    </a:lnTo>
                    <a:lnTo>
                      <a:pt x="2722718" y="112485"/>
                    </a:lnTo>
                    <a:close/>
                  </a:path>
                  <a:path w="3439795" h="1447800">
                    <a:moveTo>
                      <a:pt x="2725599" y="110066"/>
                    </a:moveTo>
                    <a:lnTo>
                      <a:pt x="2722718" y="112485"/>
                    </a:lnTo>
                    <a:lnTo>
                      <a:pt x="2722718" y="114299"/>
                    </a:lnTo>
                    <a:lnTo>
                      <a:pt x="2725599" y="110066"/>
                    </a:lnTo>
                    <a:close/>
                  </a:path>
                  <a:path w="3439795" h="1447800">
                    <a:moveTo>
                      <a:pt x="2730639" y="105833"/>
                    </a:moveTo>
                    <a:lnTo>
                      <a:pt x="2725599" y="110066"/>
                    </a:lnTo>
                    <a:lnTo>
                      <a:pt x="2722718" y="114299"/>
                    </a:lnTo>
                    <a:lnTo>
                      <a:pt x="2724879" y="114299"/>
                    </a:lnTo>
                    <a:lnTo>
                      <a:pt x="2730639" y="105833"/>
                    </a:lnTo>
                    <a:close/>
                  </a:path>
                  <a:path w="3439795" h="1447800">
                    <a:moveTo>
                      <a:pt x="2735680" y="101599"/>
                    </a:moveTo>
                    <a:lnTo>
                      <a:pt x="2730639" y="105833"/>
                    </a:lnTo>
                    <a:lnTo>
                      <a:pt x="2724879" y="114299"/>
                    </a:lnTo>
                    <a:lnTo>
                      <a:pt x="2733519" y="105833"/>
                    </a:lnTo>
                    <a:lnTo>
                      <a:pt x="2735680" y="101599"/>
                    </a:lnTo>
                    <a:close/>
                  </a:path>
                  <a:path w="3439795" h="1447800">
                    <a:moveTo>
                      <a:pt x="2733519" y="105833"/>
                    </a:moveTo>
                    <a:lnTo>
                      <a:pt x="2724879" y="114299"/>
                    </a:lnTo>
                    <a:lnTo>
                      <a:pt x="2729199" y="114299"/>
                    </a:lnTo>
                    <a:lnTo>
                      <a:pt x="2733519" y="105833"/>
                    </a:lnTo>
                    <a:close/>
                  </a:path>
                  <a:path w="3439795" h="1447800">
                    <a:moveTo>
                      <a:pt x="2737840" y="101599"/>
                    </a:moveTo>
                    <a:lnTo>
                      <a:pt x="2733519" y="105833"/>
                    </a:lnTo>
                    <a:lnTo>
                      <a:pt x="2729199" y="114299"/>
                    </a:lnTo>
                    <a:lnTo>
                      <a:pt x="2737840" y="114299"/>
                    </a:lnTo>
                    <a:lnTo>
                      <a:pt x="2737840" y="101599"/>
                    </a:lnTo>
                    <a:close/>
                  </a:path>
                  <a:path w="3439795" h="1447800">
                    <a:moveTo>
                      <a:pt x="2742160" y="101599"/>
                    </a:moveTo>
                    <a:lnTo>
                      <a:pt x="2737840" y="101599"/>
                    </a:lnTo>
                    <a:lnTo>
                      <a:pt x="2737840" y="114299"/>
                    </a:lnTo>
                    <a:lnTo>
                      <a:pt x="2742160" y="101599"/>
                    </a:lnTo>
                    <a:close/>
                  </a:path>
                  <a:path w="3439795" h="1447800">
                    <a:moveTo>
                      <a:pt x="2757282" y="101599"/>
                    </a:moveTo>
                    <a:lnTo>
                      <a:pt x="2742160" y="101599"/>
                    </a:lnTo>
                    <a:lnTo>
                      <a:pt x="2737840" y="114299"/>
                    </a:lnTo>
                    <a:lnTo>
                      <a:pt x="2744320" y="114299"/>
                    </a:lnTo>
                    <a:lnTo>
                      <a:pt x="2757282" y="101599"/>
                    </a:lnTo>
                    <a:close/>
                  </a:path>
                  <a:path w="3439795" h="1447800">
                    <a:moveTo>
                      <a:pt x="2757282" y="101599"/>
                    </a:moveTo>
                    <a:lnTo>
                      <a:pt x="2750801" y="114299"/>
                    </a:lnTo>
                    <a:lnTo>
                      <a:pt x="2763762" y="114299"/>
                    </a:lnTo>
                    <a:lnTo>
                      <a:pt x="2757282" y="101599"/>
                    </a:lnTo>
                    <a:close/>
                  </a:path>
                  <a:path w="3439795" h="1447800">
                    <a:moveTo>
                      <a:pt x="2716238" y="95249"/>
                    </a:moveTo>
                    <a:lnTo>
                      <a:pt x="2714077" y="101599"/>
                    </a:lnTo>
                    <a:lnTo>
                      <a:pt x="2721933" y="113145"/>
                    </a:lnTo>
                    <a:lnTo>
                      <a:pt x="2722718" y="112485"/>
                    </a:lnTo>
                    <a:lnTo>
                      <a:pt x="2722718" y="101599"/>
                    </a:lnTo>
                    <a:lnTo>
                      <a:pt x="2716238" y="101599"/>
                    </a:lnTo>
                    <a:lnTo>
                      <a:pt x="2716238" y="95249"/>
                    </a:lnTo>
                    <a:close/>
                  </a:path>
                  <a:path w="3439795" h="1447800">
                    <a:moveTo>
                      <a:pt x="2722718" y="92528"/>
                    </a:moveTo>
                    <a:lnTo>
                      <a:pt x="2722718" y="112485"/>
                    </a:lnTo>
                    <a:lnTo>
                      <a:pt x="2725599" y="110066"/>
                    </a:lnTo>
                    <a:lnTo>
                      <a:pt x="2731359" y="101599"/>
                    </a:lnTo>
                    <a:lnTo>
                      <a:pt x="2733519" y="101599"/>
                    </a:lnTo>
                    <a:lnTo>
                      <a:pt x="2722718" y="92528"/>
                    </a:lnTo>
                    <a:close/>
                  </a:path>
                  <a:path w="3439795" h="1447800">
                    <a:moveTo>
                      <a:pt x="2733519" y="101599"/>
                    </a:moveTo>
                    <a:lnTo>
                      <a:pt x="2731359" y="101599"/>
                    </a:lnTo>
                    <a:lnTo>
                      <a:pt x="2725599" y="110066"/>
                    </a:lnTo>
                    <a:lnTo>
                      <a:pt x="2730639" y="105833"/>
                    </a:lnTo>
                    <a:lnTo>
                      <a:pt x="2733519" y="101599"/>
                    </a:lnTo>
                    <a:close/>
                  </a:path>
                  <a:path w="3439795" h="1447800">
                    <a:moveTo>
                      <a:pt x="2729199" y="88899"/>
                    </a:moveTo>
                    <a:lnTo>
                      <a:pt x="2722718" y="88899"/>
                    </a:lnTo>
                    <a:lnTo>
                      <a:pt x="2722718" y="92528"/>
                    </a:lnTo>
                    <a:lnTo>
                      <a:pt x="2733519" y="101599"/>
                    </a:lnTo>
                    <a:lnTo>
                      <a:pt x="2730639" y="105833"/>
                    </a:lnTo>
                    <a:lnTo>
                      <a:pt x="2735680" y="101599"/>
                    </a:lnTo>
                    <a:lnTo>
                      <a:pt x="2729199" y="88899"/>
                    </a:lnTo>
                    <a:close/>
                  </a:path>
                  <a:path w="3439795" h="1447800">
                    <a:moveTo>
                      <a:pt x="2737840" y="101599"/>
                    </a:moveTo>
                    <a:lnTo>
                      <a:pt x="2735680" y="101599"/>
                    </a:lnTo>
                    <a:lnTo>
                      <a:pt x="2733519" y="105833"/>
                    </a:lnTo>
                    <a:lnTo>
                      <a:pt x="2737840" y="101599"/>
                    </a:lnTo>
                    <a:close/>
                  </a:path>
                  <a:path w="3439795" h="1447800">
                    <a:moveTo>
                      <a:pt x="2666553" y="76199"/>
                    </a:moveTo>
                    <a:lnTo>
                      <a:pt x="2653591" y="88899"/>
                    </a:lnTo>
                    <a:lnTo>
                      <a:pt x="2662232" y="101599"/>
                    </a:lnTo>
                    <a:lnTo>
                      <a:pt x="2666553" y="97366"/>
                    </a:lnTo>
                    <a:lnTo>
                      <a:pt x="2666553" y="88899"/>
                    </a:lnTo>
                    <a:lnTo>
                      <a:pt x="2675194" y="88899"/>
                    </a:lnTo>
                    <a:lnTo>
                      <a:pt x="2666553" y="76199"/>
                    </a:lnTo>
                    <a:close/>
                  </a:path>
                  <a:path w="3439795" h="1447800">
                    <a:moveTo>
                      <a:pt x="2666553" y="97366"/>
                    </a:moveTo>
                    <a:lnTo>
                      <a:pt x="2662232" y="101599"/>
                    </a:lnTo>
                    <a:lnTo>
                      <a:pt x="2666553" y="101599"/>
                    </a:lnTo>
                    <a:lnTo>
                      <a:pt x="2666553" y="97366"/>
                    </a:lnTo>
                    <a:close/>
                  </a:path>
                  <a:path w="3439795" h="1447800">
                    <a:moveTo>
                      <a:pt x="2718398" y="88899"/>
                    </a:moveTo>
                    <a:lnTo>
                      <a:pt x="2716238" y="95249"/>
                    </a:lnTo>
                    <a:lnTo>
                      <a:pt x="2716238" y="101599"/>
                    </a:lnTo>
                    <a:lnTo>
                      <a:pt x="2722718" y="101599"/>
                    </a:lnTo>
                    <a:lnTo>
                      <a:pt x="2722718" y="92528"/>
                    </a:lnTo>
                    <a:lnTo>
                      <a:pt x="2718398" y="88899"/>
                    </a:lnTo>
                    <a:close/>
                  </a:path>
                  <a:path w="3439795" h="1447800">
                    <a:moveTo>
                      <a:pt x="2733519" y="88899"/>
                    </a:moveTo>
                    <a:lnTo>
                      <a:pt x="2729199" y="88899"/>
                    </a:lnTo>
                    <a:lnTo>
                      <a:pt x="2735680" y="101599"/>
                    </a:lnTo>
                    <a:lnTo>
                      <a:pt x="2733519" y="88899"/>
                    </a:lnTo>
                    <a:close/>
                  </a:path>
                  <a:path w="3439795" h="1447800">
                    <a:moveTo>
                      <a:pt x="2731359" y="84666"/>
                    </a:moveTo>
                    <a:lnTo>
                      <a:pt x="2733519" y="88899"/>
                    </a:lnTo>
                    <a:lnTo>
                      <a:pt x="2735680" y="101599"/>
                    </a:lnTo>
                    <a:lnTo>
                      <a:pt x="2735680" y="88899"/>
                    </a:lnTo>
                    <a:lnTo>
                      <a:pt x="2731359" y="84666"/>
                    </a:lnTo>
                    <a:close/>
                  </a:path>
                  <a:path w="3439795" h="1447800">
                    <a:moveTo>
                      <a:pt x="2675194" y="88899"/>
                    </a:moveTo>
                    <a:lnTo>
                      <a:pt x="2666553" y="88899"/>
                    </a:lnTo>
                    <a:lnTo>
                      <a:pt x="2666553" y="97366"/>
                    </a:lnTo>
                    <a:lnTo>
                      <a:pt x="2675194" y="88899"/>
                    </a:lnTo>
                    <a:close/>
                  </a:path>
                  <a:path w="3439795" h="1447800">
                    <a:moveTo>
                      <a:pt x="2722718" y="76199"/>
                    </a:moveTo>
                    <a:lnTo>
                      <a:pt x="2720558" y="76199"/>
                    </a:lnTo>
                    <a:lnTo>
                      <a:pt x="2716238" y="88899"/>
                    </a:lnTo>
                    <a:lnTo>
                      <a:pt x="2716238" y="95249"/>
                    </a:lnTo>
                    <a:lnTo>
                      <a:pt x="2718398" y="88899"/>
                    </a:lnTo>
                    <a:lnTo>
                      <a:pt x="2733519" y="88899"/>
                    </a:lnTo>
                    <a:lnTo>
                      <a:pt x="2731359" y="84666"/>
                    </a:lnTo>
                    <a:lnTo>
                      <a:pt x="2722718" y="76199"/>
                    </a:lnTo>
                    <a:close/>
                  </a:path>
                  <a:path w="3439795" h="1447800">
                    <a:moveTo>
                      <a:pt x="2722718" y="88899"/>
                    </a:moveTo>
                    <a:lnTo>
                      <a:pt x="2718398" y="88899"/>
                    </a:lnTo>
                    <a:lnTo>
                      <a:pt x="2722718" y="92528"/>
                    </a:lnTo>
                    <a:lnTo>
                      <a:pt x="2722718" y="88899"/>
                    </a:lnTo>
                    <a:close/>
                  </a:path>
                  <a:path w="3439795" h="1447800">
                    <a:moveTo>
                      <a:pt x="2681674" y="63499"/>
                    </a:moveTo>
                    <a:lnTo>
                      <a:pt x="2666553" y="76199"/>
                    </a:lnTo>
                    <a:lnTo>
                      <a:pt x="2675194" y="88899"/>
                    </a:lnTo>
                    <a:lnTo>
                      <a:pt x="2679514" y="88899"/>
                    </a:lnTo>
                    <a:lnTo>
                      <a:pt x="2679514" y="76199"/>
                    </a:lnTo>
                    <a:lnTo>
                      <a:pt x="2694635" y="76199"/>
                    </a:lnTo>
                    <a:lnTo>
                      <a:pt x="2681674" y="63499"/>
                    </a:lnTo>
                    <a:close/>
                  </a:path>
                  <a:path w="3439795" h="1447800">
                    <a:moveTo>
                      <a:pt x="2685995" y="76199"/>
                    </a:moveTo>
                    <a:lnTo>
                      <a:pt x="2679514" y="76199"/>
                    </a:lnTo>
                    <a:lnTo>
                      <a:pt x="2679514" y="88899"/>
                    </a:lnTo>
                    <a:lnTo>
                      <a:pt x="2683834" y="88899"/>
                    </a:lnTo>
                    <a:lnTo>
                      <a:pt x="2685995" y="84666"/>
                    </a:lnTo>
                    <a:lnTo>
                      <a:pt x="2685995" y="76199"/>
                    </a:lnTo>
                    <a:close/>
                  </a:path>
                  <a:path w="3439795" h="1447800">
                    <a:moveTo>
                      <a:pt x="2685995" y="84666"/>
                    </a:moveTo>
                    <a:lnTo>
                      <a:pt x="2683834" y="88899"/>
                    </a:lnTo>
                    <a:lnTo>
                      <a:pt x="2685995" y="86359"/>
                    </a:lnTo>
                    <a:lnTo>
                      <a:pt x="2685995" y="84666"/>
                    </a:lnTo>
                    <a:close/>
                  </a:path>
                  <a:path w="3439795" h="1447800">
                    <a:moveTo>
                      <a:pt x="2685995" y="86359"/>
                    </a:moveTo>
                    <a:lnTo>
                      <a:pt x="2683834" y="88899"/>
                    </a:lnTo>
                    <a:lnTo>
                      <a:pt x="2685995" y="88899"/>
                    </a:lnTo>
                    <a:lnTo>
                      <a:pt x="2685995" y="86359"/>
                    </a:lnTo>
                    <a:close/>
                  </a:path>
                  <a:path w="3439795" h="1447800">
                    <a:moveTo>
                      <a:pt x="2689835" y="81844"/>
                    </a:moveTo>
                    <a:lnTo>
                      <a:pt x="2685995" y="86359"/>
                    </a:lnTo>
                    <a:lnTo>
                      <a:pt x="2685995" y="88899"/>
                    </a:lnTo>
                    <a:lnTo>
                      <a:pt x="2692475" y="88899"/>
                    </a:lnTo>
                    <a:lnTo>
                      <a:pt x="2692475" y="85724"/>
                    </a:lnTo>
                    <a:lnTo>
                      <a:pt x="2689835" y="81844"/>
                    </a:lnTo>
                    <a:close/>
                  </a:path>
                  <a:path w="3439795" h="1447800">
                    <a:moveTo>
                      <a:pt x="2692475" y="85724"/>
                    </a:moveTo>
                    <a:lnTo>
                      <a:pt x="2692475" y="88899"/>
                    </a:lnTo>
                    <a:lnTo>
                      <a:pt x="2692907" y="86359"/>
                    </a:lnTo>
                    <a:lnTo>
                      <a:pt x="2692475" y="85724"/>
                    </a:lnTo>
                    <a:close/>
                  </a:path>
                  <a:path w="3439795" h="1447800">
                    <a:moveTo>
                      <a:pt x="2692907" y="86359"/>
                    </a:moveTo>
                    <a:lnTo>
                      <a:pt x="2692475" y="88899"/>
                    </a:lnTo>
                    <a:lnTo>
                      <a:pt x="2694635" y="88899"/>
                    </a:lnTo>
                    <a:lnTo>
                      <a:pt x="2692907" y="86359"/>
                    </a:lnTo>
                    <a:close/>
                  </a:path>
                  <a:path w="3439795" h="1447800">
                    <a:moveTo>
                      <a:pt x="2693195" y="84666"/>
                    </a:moveTo>
                    <a:lnTo>
                      <a:pt x="2692907" y="86359"/>
                    </a:lnTo>
                    <a:lnTo>
                      <a:pt x="2694635" y="88899"/>
                    </a:lnTo>
                    <a:lnTo>
                      <a:pt x="2694635" y="86359"/>
                    </a:lnTo>
                    <a:lnTo>
                      <a:pt x="2693195" y="84666"/>
                    </a:lnTo>
                    <a:close/>
                  </a:path>
                  <a:path w="3439795" h="1447800">
                    <a:moveTo>
                      <a:pt x="2694635" y="86359"/>
                    </a:moveTo>
                    <a:lnTo>
                      <a:pt x="2694635" y="88899"/>
                    </a:lnTo>
                    <a:lnTo>
                      <a:pt x="2695716" y="87629"/>
                    </a:lnTo>
                    <a:lnTo>
                      <a:pt x="2694635" y="86359"/>
                    </a:lnTo>
                    <a:close/>
                  </a:path>
                  <a:path w="3439795" h="1447800">
                    <a:moveTo>
                      <a:pt x="2695716" y="87629"/>
                    </a:moveTo>
                    <a:lnTo>
                      <a:pt x="2694635" y="88899"/>
                    </a:lnTo>
                    <a:lnTo>
                      <a:pt x="2696796" y="88899"/>
                    </a:lnTo>
                    <a:lnTo>
                      <a:pt x="2695716" y="87629"/>
                    </a:lnTo>
                    <a:close/>
                  </a:path>
                  <a:path w="3439795" h="1447800">
                    <a:moveTo>
                      <a:pt x="2696436" y="86783"/>
                    </a:moveTo>
                    <a:lnTo>
                      <a:pt x="2695716" y="87629"/>
                    </a:lnTo>
                    <a:lnTo>
                      <a:pt x="2696796" y="88899"/>
                    </a:lnTo>
                    <a:lnTo>
                      <a:pt x="2696436" y="86783"/>
                    </a:lnTo>
                    <a:close/>
                  </a:path>
                  <a:path w="3439795" h="1447800">
                    <a:moveTo>
                      <a:pt x="2697336" y="85724"/>
                    </a:moveTo>
                    <a:lnTo>
                      <a:pt x="2696514" y="86691"/>
                    </a:lnTo>
                    <a:lnTo>
                      <a:pt x="2696517" y="87261"/>
                    </a:lnTo>
                    <a:lnTo>
                      <a:pt x="2696796" y="88899"/>
                    </a:lnTo>
                    <a:lnTo>
                      <a:pt x="2697660" y="86359"/>
                    </a:lnTo>
                    <a:lnTo>
                      <a:pt x="2697336" y="85724"/>
                    </a:lnTo>
                    <a:close/>
                  </a:path>
                  <a:path w="3439795" h="1447800">
                    <a:moveTo>
                      <a:pt x="2697660" y="86359"/>
                    </a:moveTo>
                    <a:lnTo>
                      <a:pt x="2696796" y="88899"/>
                    </a:lnTo>
                    <a:lnTo>
                      <a:pt x="2698956" y="88899"/>
                    </a:lnTo>
                    <a:lnTo>
                      <a:pt x="2697660" y="86359"/>
                    </a:lnTo>
                    <a:close/>
                  </a:path>
                  <a:path w="3439795" h="1447800">
                    <a:moveTo>
                      <a:pt x="2700036" y="82549"/>
                    </a:moveTo>
                    <a:lnTo>
                      <a:pt x="2698236" y="84666"/>
                    </a:lnTo>
                    <a:lnTo>
                      <a:pt x="2697660" y="86359"/>
                    </a:lnTo>
                    <a:lnTo>
                      <a:pt x="2698956" y="88899"/>
                    </a:lnTo>
                    <a:lnTo>
                      <a:pt x="2700036" y="82549"/>
                    </a:lnTo>
                    <a:close/>
                  </a:path>
                  <a:path w="3439795" h="1447800">
                    <a:moveTo>
                      <a:pt x="2705437" y="76199"/>
                    </a:moveTo>
                    <a:lnTo>
                      <a:pt x="2700036" y="82549"/>
                    </a:lnTo>
                    <a:lnTo>
                      <a:pt x="2698956" y="88899"/>
                    </a:lnTo>
                    <a:lnTo>
                      <a:pt x="2705437" y="88899"/>
                    </a:lnTo>
                    <a:lnTo>
                      <a:pt x="2705437" y="76199"/>
                    </a:lnTo>
                    <a:close/>
                  </a:path>
                  <a:path w="3439795" h="1447800">
                    <a:moveTo>
                      <a:pt x="2720558" y="76199"/>
                    </a:moveTo>
                    <a:lnTo>
                      <a:pt x="2716238" y="76199"/>
                    </a:lnTo>
                    <a:lnTo>
                      <a:pt x="2716238" y="88899"/>
                    </a:lnTo>
                    <a:lnTo>
                      <a:pt x="2720558" y="76199"/>
                    </a:lnTo>
                    <a:close/>
                  </a:path>
                  <a:path w="3439795" h="1447800">
                    <a:moveTo>
                      <a:pt x="2727039" y="76199"/>
                    </a:moveTo>
                    <a:lnTo>
                      <a:pt x="2731359" y="84666"/>
                    </a:lnTo>
                    <a:lnTo>
                      <a:pt x="2735680" y="88899"/>
                    </a:lnTo>
                    <a:lnTo>
                      <a:pt x="2737282" y="87261"/>
                    </a:lnTo>
                    <a:lnTo>
                      <a:pt x="2736760" y="85724"/>
                    </a:lnTo>
                    <a:lnTo>
                      <a:pt x="2727039" y="76199"/>
                    </a:lnTo>
                    <a:close/>
                  </a:path>
                  <a:path w="3439795" h="1447800">
                    <a:moveTo>
                      <a:pt x="2737282" y="87261"/>
                    </a:moveTo>
                    <a:lnTo>
                      <a:pt x="2735680" y="88899"/>
                    </a:lnTo>
                    <a:lnTo>
                      <a:pt x="2737840" y="88899"/>
                    </a:lnTo>
                    <a:lnTo>
                      <a:pt x="2737282" y="87261"/>
                    </a:lnTo>
                    <a:close/>
                  </a:path>
                  <a:path w="3439795" h="1447800">
                    <a:moveTo>
                      <a:pt x="2737794" y="86738"/>
                    </a:moveTo>
                    <a:lnTo>
                      <a:pt x="2737282" y="87261"/>
                    </a:lnTo>
                    <a:lnTo>
                      <a:pt x="2737840" y="88899"/>
                    </a:lnTo>
                    <a:lnTo>
                      <a:pt x="2737794" y="86738"/>
                    </a:lnTo>
                    <a:close/>
                  </a:path>
                  <a:path w="3439795" h="1447800">
                    <a:moveTo>
                      <a:pt x="2737840" y="86783"/>
                    </a:moveTo>
                    <a:lnTo>
                      <a:pt x="2737840" y="88899"/>
                    </a:lnTo>
                    <a:lnTo>
                      <a:pt x="2740000" y="88899"/>
                    </a:lnTo>
                    <a:lnTo>
                      <a:pt x="2737840" y="86783"/>
                    </a:lnTo>
                    <a:close/>
                  </a:path>
                  <a:path w="3439795" h="1447800">
                    <a:moveTo>
                      <a:pt x="2741457" y="82993"/>
                    </a:moveTo>
                    <a:lnTo>
                      <a:pt x="2737840" y="86691"/>
                    </a:lnTo>
                    <a:lnTo>
                      <a:pt x="2740000" y="88899"/>
                    </a:lnTo>
                    <a:lnTo>
                      <a:pt x="2746481" y="88899"/>
                    </a:lnTo>
                    <a:lnTo>
                      <a:pt x="2741457" y="82993"/>
                    </a:lnTo>
                    <a:close/>
                  </a:path>
                  <a:path w="3439795" h="1447800">
                    <a:moveTo>
                      <a:pt x="2743693" y="80706"/>
                    </a:moveTo>
                    <a:lnTo>
                      <a:pt x="2741457" y="82993"/>
                    </a:lnTo>
                    <a:lnTo>
                      <a:pt x="2746481" y="88899"/>
                    </a:lnTo>
                    <a:lnTo>
                      <a:pt x="2743693" y="80706"/>
                    </a:lnTo>
                    <a:close/>
                  </a:path>
                  <a:path w="3439795" h="1447800">
                    <a:moveTo>
                      <a:pt x="2751856" y="72360"/>
                    </a:moveTo>
                    <a:lnTo>
                      <a:pt x="2743693" y="80706"/>
                    </a:lnTo>
                    <a:lnTo>
                      <a:pt x="2746481" y="88899"/>
                    </a:lnTo>
                    <a:lnTo>
                      <a:pt x="2748641" y="88899"/>
                    </a:lnTo>
                    <a:lnTo>
                      <a:pt x="2755122" y="76199"/>
                    </a:lnTo>
                    <a:lnTo>
                      <a:pt x="2751856" y="72360"/>
                    </a:lnTo>
                    <a:close/>
                  </a:path>
                  <a:path w="3439795" h="1447800">
                    <a:moveTo>
                      <a:pt x="2694635" y="80433"/>
                    </a:moveTo>
                    <a:lnTo>
                      <a:pt x="2694635" y="86359"/>
                    </a:lnTo>
                    <a:lnTo>
                      <a:pt x="2695716" y="87629"/>
                    </a:lnTo>
                    <a:lnTo>
                      <a:pt x="2696436" y="86783"/>
                    </a:lnTo>
                    <a:lnTo>
                      <a:pt x="2695716" y="82549"/>
                    </a:lnTo>
                    <a:lnTo>
                      <a:pt x="2694635" y="80433"/>
                    </a:lnTo>
                    <a:close/>
                  </a:path>
                  <a:path w="3439795" h="1447800">
                    <a:moveTo>
                      <a:pt x="2736760" y="85724"/>
                    </a:moveTo>
                    <a:lnTo>
                      <a:pt x="2737282" y="87261"/>
                    </a:lnTo>
                    <a:lnTo>
                      <a:pt x="2737750" y="86783"/>
                    </a:lnTo>
                    <a:lnTo>
                      <a:pt x="2736760" y="85724"/>
                    </a:lnTo>
                    <a:close/>
                  </a:path>
                  <a:path w="3439795" h="1447800">
                    <a:moveTo>
                      <a:pt x="2695716" y="82549"/>
                    </a:moveTo>
                    <a:lnTo>
                      <a:pt x="2696436" y="86783"/>
                    </a:lnTo>
                    <a:lnTo>
                      <a:pt x="2697336" y="85724"/>
                    </a:lnTo>
                    <a:lnTo>
                      <a:pt x="2695716" y="82549"/>
                    </a:lnTo>
                    <a:close/>
                  </a:path>
                  <a:path w="3439795" h="1447800">
                    <a:moveTo>
                      <a:pt x="2737840" y="63499"/>
                    </a:moveTo>
                    <a:lnTo>
                      <a:pt x="2733519" y="76199"/>
                    </a:lnTo>
                    <a:lnTo>
                      <a:pt x="2736760" y="85724"/>
                    </a:lnTo>
                    <a:lnTo>
                      <a:pt x="2737794" y="86738"/>
                    </a:lnTo>
                    <a:lnTo>
                      <a:pt x="2737840" y="78739"/>
                    </a:lnTo>
                    <a:lnTo>
                      <a:pt x="2735680" y="76199"/>
                    </a:lnTo>
                    <a:lnTo>
                      <a:pt x="2740000" y="69849"/>
                    </a:lnTo>
                    <a:lnTo>
                      <a:pt x="2737840" y="63499"/>
                    </a:lnTo>
                    <a:close/>
                  </a:path>
                  <a:path w="3439795" h="1447800">
                    <a:moveTo>
                      <a:pt x="2737840" y="78739"/>
                    </a:moveTo>
                    <a:lnTo>
                      <a:pt x="2737840" y="86691"/>
                    </a:lnTo>
                    <a:lnTo>
                      <a:pt x="2741457" y="82993"/>
                    </a:lnTo>
                    <a:lnTo>
                      <a:pt x="2737840" y="78739"/>
                    </a:lnTo>
                    <a:close/>
                  </a:path>
                  <a:path w="3439795" h="1447800">
                    <a:moveTo>
                      <a:pt x="2688463" y="79828"/>
                    </a:moveTo>
                    <a:lnTo>
                      <a:pt x="2685995" y="84666"/>
                    </a:lnTo>
                    <a:lnTo>
                      <a:pt x="2685995" y="86359"/>
                    </a:lnTo>
                    <a:lnTo>
                      <a:pt x="2689835" y="81844"/>
                    </a:lnTo>
                    <a:lnTo>
                      <a:pt x="2688463" y="79828"/>
                    </a:lnTo>
                    <a:close/>
                  </a:path>
                  <a:path w="3439795" h="1447800">
                    <a:moveTo>
                      <a:pt x="2692475" y="83819"/>
                    </a:moveTo>
                    <a:lnTo>
                      <a:pt x="2692475" y="85724"/>
                    </a:lnTo>
                    <a:lnTo>
                      <a:pt x="2692907" y="86359"/>
                    </a:lnTo>
                    <a:lnTo>
                      <a:pt x="2693195" y="84666"/>
                    </a:lnTo>
                    <a:lnTo>
                      <a:pt x="2692475" y="83819"/>
                    </a:lnTo>
                    <a:close/>
                  </a:path>
                  <a:path w="3439795" h="1447800">
                    <a:moveTo>
                      <a:pt x="2694095" y="79374"/>
                    </a:moveTo>
                    <a:lnTo>
                      <a:pt x="2693195" y="84666"/>
                    </a:lnTo>
                    <a:lnTo>
                      <a:pt x="2694635" y="86359"/>
                    </a:lnTo>
                    <a:lnTo>
                      <a:pt x="2694635" y="80433"/>
                    </a:lnTo>
                    <a:lnTo>
                      <a:pt x="2694095" y="79374"/>
                    </a:lnTo>
                    <a:close/>
                  </a:path>
                  <a:path w="3439795" h="1447800">
                    <a:moveTo>
                      <a:pt x="2698236" y="84666"/>
                    </a:moveTo>
                    <a:lnTo>
                      <a:pt x="2697336" y="85724"/>
                    </a:lnTo>
                    <a:lnTo>
                      <a:pt x="2697660" y="86359"/>
                    </a:lnTo>
                    <a:lnTo>
                      <a:pt x="2698236" y="84666"/>
                    </a:lnTo>
                    <a:close/>
                  </a:path>
                  <a:path w="3439795" h="1447800">
                    <a:moveTo>
                      <a:pt x="2690315" y="81279"/>
                    </a:moveTo>
                    <a:lnTo>
                      <a:pt x="2689835" y="81844"/>
                    </a:lnTo>
                    <a:lnTo>
                      <a:pt x="2692475" y="85724"/>
                    </a:lnTo>
                    <a:lnTo>
                      <a:pt x="2692475" y="83819"/>
                    </a:lnTo>
                    <a:lnTo>
                      <a:pt x="2690315" y="81279"/>
                    </a:lnTo>
                    <a:close/>
                  </a:path>
                  <a:path w="3439795" h="1447800">
                    <a:moveTo>
                      <a:pt x="2694635" y="66674"/>
                    </a:moveTo>
                    <a:lnTo>
                      <a:pt x="2694635" y="76199"/>
                    </a:lnTo>
                    <a:lnTo>
                      <a:pt x="2695716" y="82549"/>
                    </a:lnTo>
                    <a:lnTo>
                      <a:pt x="2697336" y="85724"/>
                    </a:lnTo>
                    <a:lnTo>
                      <a:pt x="2698236" y="84666"/>
                    </a:lnTo>
                    <a:lnTo>
                      <a:pt x="2701116" y="76199"/>
                    </a:lnTo>
                    <a:lnTo>
                      <a:pt x="2694635" y="66674"/>
                    </a:lnTo>
                    <a:close/>
                  </a:path>
                  <a:path w="3439795" h="1447800">
                    <a:moveTo>
                      <a:pt x="2733519" y="76199"/>
                    </a:moveTo>
                    <a:lnTo>
                      <a:pt x="2727039" y="76199"/>
                    </a:lnTo>
                    <a:lnTo>
                      <a:pt x="2736760" y="85724"/>
                    </a:lnTo>
                    <a:lnTo>
                      <a:pt x="2733519" y="76199"/>
                    </a:lnTo>
                    <a:close/>
                  </a:path>
                  <a:path w="3439795" h="1447800">
                    <a:moveTo>
                      <a:pt x="2685995" y="76199"/>
                    </a:moveTo>
                    <a:lnTo>
                      <a:pt x="2685995" y="84666"/>
                    </a:lnTo>
                    <a:lnTo>
                      <a:pt x="2688463" y="79828"/>
                    </a:lnTo>
                    <a:lnTo>
                      <a:pt x="2685995" y="76199"/>
                    </a:lnTo>
                    <a:close/>
                  </a:path>
                  <a:path w="3439795" h="1447800">
                    <a:moveTo>
                      <a:pt x="2693285" y="77787"/>
                    </a:moveTo>
                    <a:lnTo>
                      <a:pt x="2692475" y="78739"/>
                    </a:lnTo>
                    <a:lnTo>
                      <a:pt x="2692475" y="83819"/>
                    </a:lnTo>
                    <a:lnTo>
                      <a:pt x="2693195" y="84666"/>
                    </a:lnTo>
                    <a:lnTo>
                      <a:pt x="2694095" y="79374"/>
                    </a:lnTo>
                    <a:lnTo>
                      <a:pt x="2693285" y="77787"/>
                    </a:lnTo>
                    <a:close/>
                  </a:path>
                  <a:path w="3439795" h="1447800">
                    <a:moveTo>
                      <a:pt x="2701116" y="76199"/>
                    </a:moveTo>
                    <a:lnTo>
                      <a:pt x="2698236" y="84666"/>
                    </a:lnTo>
                    <a:lnTo>
                      <a:pt x="2700036" y="82549"/>
                    </a:lnTo>
                    <a:lnTo>
                      <a:pt x="2701116" y="76199"/>
                    </a:lnTo>
                    <a:close/>
                  </a:path>
                  <a:path w="3439795" h="1447800">
                    <a:moveTo>
                      <a:pt x="2727039" y="76199"/>
                    </a:moveTo>
                    <a:lnTo>
                      <a:pt x="2722718" y="76199"/>
                    </a:lnTo>
                    <a:lnTo>
                      <a:pt x="2731359" y="84666"/>
                    </a:lnTo>
                    <a:lnTo>
                      <a:pt x="2727039" y="76199"/>
                    </a:lnTo>
                    <a:close/>
                  </a:path>
                  <a:path w="3439795" h="1447800">
                    <a:moveTo>
                      <a:pt x="2692475" y="78739"/>
                    </a:moveTo>
                    <a:lnTo>
                      <a:pt x="2690315" y="81279"/>
                    </a:lnTo>
                    <a:lnTo>
                      <a:pt x="2692475" y="83819"/>
                    </a:lnTo>
                    <a:lnTo>
                      <a:pt x="2692475" y="78739"/>
                    </a:lnTo>
                    <a:close/>
                  </a:path>
                  <a:path w="3439795" h="1447800">
                    <a:moveTo>
                      <a:pt x="2742160" y="76199"/>
                    </a:moveTo>
                    <a:lnTo>
                      <a:pt x="2737840" y="76199"/>
                    </a:lnTo>
                    <a:lnTo>
                      <a:pt x="2737840" y="78739"/>
                    </a:lnTo>
                    <a:lnTo>
                      <a:pt x="2741457" y="82993"/>
                    </a:lnTo>
                    <a:lnTo>
                      <a:pt x="2743693" y="80706"/>
                    </a:lnTo>
                    <a:lnTo>
                      <a:pt x="2742160" y="76199"/>
                    </a:lnTo>
                    <a:close/>
                  </a:path>
                  <a:path w="3439795" h="1447800">
                    <a:moveTo>
                      <a:pt x="2694635" y="76199"/>
                    </a:moveTo>
                    <a:lnTo>
                      <a:pt x="2694635" y="80433"/>
                    </a:lnTo>
                    <a:lnTo>
                      <a:pt x="2695716" y="82549"/>
                    </a:lnTo>
                    <a:lnTo>
                      <a:pt x="2694635" y="76199"/>
                    </a:lnTo>
                    <a:close/>
                  </a:path>
                  <a:path w="3439795" h="1447800">
                    <a:moveTo>
                      <a:pt x="2698956" y="69849"/>
                    </a:moveTo>
                    <a:lnTo>
                      <a:pt x="2701116" y="76199"/>
                    </a:lnTo>
                    <a:lnTo>
                      <a:pt x="2700036" y="82549"/>
                    </a:lnTo>
                    <a:lnTo>
                      <a:pt x="2705437" y="76199"/>
                    </a:lnTo>
                    <a:lnTo>
                      <a:pt x="2698956" y="69849"/>
                    </a:lnTo>
                    <a:close/>
                  </a:path>
                  <a:path w="3439795" h="1447800">
                    <a:moveTo>
                      <a:pt x="2688695" y="79374"/>
                    </a:moveTo>
                    <a:lnTo>
                      <a:pt x="2688463" y="79828"/>
                    </a:lnTo>
                    <a:lnTo>
                      <a:pt x="2689835" y="81844"/>
                    </a:lnTo>
                    <a:lnTo>
                      <a:pt x="2690315" y="81279"/>
                    </a:lnTo>
                    <a:lnTo>
                      <a:pt x="2688695" y="79374"/>
                    </a:lnTo>
                    <a:close/>
                  </a:path>
                  <a:path w="3439795" h="1447800">
                    <a:moveTo>
                      <a:pt x="2692475" y="76199"/>
                    </a:moveTo>
                    <a:lnTo>
                      <a:pt x="2690315" y="76199"/>
                    </a:lnTo>
                    <a:lnTo>
                      <a:pt x="2688695" y="79374"/>
                    </a:lnTo>
                    <a:lnTo>
                      <a:pt x="2690315" y="81279"/>
                    </a:lnTo>
                    <a:lnTo>
                      <a:pt x="2692475" y="78739"/>
                    </a:lnTo>
                    <a:lnTo>
                      <a:pt x="2692475" y="76199"/>
                    </a:lnTo>
                    <a:close/>
                  </a:path>
                  <a:path w="3439795" h="1447800">
                    <a:moveTo>
                      <a:pt x="2744320" y="63499"/>
                    </a:moveTo>
                    <a:lnTo>
                      <a:pt x="2740000" y="69849"/>
                    </a:lnTo>
                    <a:lnTo>
                      <a:pt x="2743693" y="80706"/>
                    </a:lnTo>
                    <a:lnTo>
                      <a:pt x="2751856" y="72360"/>
                    </a:lnTo>
                    <a:lnTo>
                      <a:pt x="2744320" y="63499"/>
                    </a:lnTo>
                    <a:close/>
                  </a:path>
                  <a:path w="3439795" h="1447800">
                    <a:moveTo>
                      <a:pt x="2694635" y="76199"/>
                    </a:moveTo>
                    <a:lnTo>
                      <a:pt x="2694095" y="79374"/>
                    </a:lnTo>
                    <a:lnTo>
                      <a:pt x="2694635" y="80433"/>
                    </a:lnTo>
                    <a:lnTo>
                      <a:pt x="2694635" y="76199"/>
                    </a:lnTo>
                    <a:close/>
                  </a:path>
                  <a:path w="3439795" h="1447800">
                    <a:moveTo>
                      <a:pt x="2685995" y="76199"/>
                    </a:moveTo>
                    <a:lnTo>
                      <a:pt x="2688463" y="79828"/>
                    </a:lnTo>
                    <a:lnTo>
                      <a:pt x="2688695" y="79374"/>
                    </a:lnTo>
                    <a:lnTo>
                      <a:pt x="2685995" y="76199"/>
                    </a:lnTo>
                    <a:close/>
                  </a:path>
                  <a:path w="3439795" h="1447800">
                    <a:moveTo>
                      <a:pt x="2690315" y="76199"/>
                    </a:moveTo>
                    <a:lnTo>
                      <a:pt x="2685995" y="76199"/>
                    </a:lnTo>
                    <a:lnTo>
                      <a:pt x="2688695" y="79374"/>
                    </a:lnTo>
                    <a:lnTo>
                      <a:pt x="2690315" y="76199"/>
                    </a:lnTo>
                    <a:close/>
                  </a:path>
                  <a:path w="3439795" h="1447800">
                    <a:moveTo>
                      <a:pt x="2694635" y="76199"/>
                    </a:moveTo>
                    <a:lnTo>
                      <a:pt x="2693285" y="77787"/>
                    </a:lnTo>
                    <a:lnTo>
                      <a:pt x="2694095" y="79374"/>
                    </a:lnTo>
                    <a:lnTo>
                      <a:pt x="2694635" y="76199"/>
                    </a:lnTo>
                    <a:close/>
                  </a:path>
                  <a:path w="3439795" h="1447800">
                    <a:moveTo>
                      <a:pt x="2692475" y="76199"/>
                    </a:moveTo>
                    <a:lnTo>
                      <a:pt x="2692475" y="78739"/>
                    </a:lnTo>
                    <a:lnTo>
                      <a:pt x="2693285" y="77787"/>
                    </a:lnTo>
                    <a:lnTo>
                      <a:pt x="2692475" y="76199"/>
                    </a:lnTo>
                    <a:close/>
                  </a:path>
                  <a:path w="3439795" h="1447800">
                    <a:moveTo>
                      <a:pt x="2740000" y="69849"/>
                    </a:moveTo>
                    <a:lnTo>
                      <a:pt x="2735680" y="76199"/>
                    </a:lnTo>
                    <a:lnTo>
                      <a:pt x="2737840" y="78739"/>
                    </a:lnTo>
                    <a:lnTo>
                      <a:pt x="2737840" y="76199"/>
                    </a:lnTo>
                    <a:lnTo>
                      <a:pt x="2742160" y="76199"/>
                    </a:lnTo>
                    <a:lnTo>
                      <a:pt x="2740000" y="69849"/>
                    </a:lnTo>
                    <a:close/>
                  </a:path>
                  <a:path w="3439795" h="1447800">
                    <a:moveTo>
                      <a:pt x="2694635" y="76199"/>
                    </a:moveTo>
                    <a:lnTo>
                      <a:pt x="2692475" y="76199"/>
                    </a:lnTo>
                    <a:lnTo>
                      <a:pt x="2693285" y="77787"/>
                    </a:lnTo>
                    <a:lnTo>
                      <a:pt x="2694635" y="76199"/>
                    </a:lnTo>
                    <a:close/>
                  </a:path>
                  <a:path w="3439795" h="1447800">
                    <a:moveTo>
                      <a:pt x="2688155" y="63499"/>
                    </a:moveTo>
                    <a:lnTo>
                      <a:pt x="2681674" y="63499"/>
                    </a:lnTo>
                    <a:lnTo>
                      <a:pt x="2694635" y="76199"/>
                    </a:lnTo>
                    <a:lnTo>
                      <a:pt x="2688155" y="63499"/>
                    </a:lnTo>
                    <a:close/>
                  </a:path>
                  <a:path w="3439795" h="1447800">
                    <a:moveTo>
                      <a:pt x="2694635" y="65616"/>
                    </a:moveTo>
                    <a:lnTo>
                      <a:pt x="2694635" y="66674"/>
                    </a:lnTo>
                    <a:lnTo>
                      <a:pt x="2701116" y="76199"/>
                    </a:lnTo>
                    <a:lnTo>
                      <a:pt x="2698956" y="69849"/>
                    </a:lnTo>
                    <a:lnTo>
                      <a:pt x="2694635" y="65616"/>
                    </a:lnTo>
                    <a:close/>
                  </a:path>
                  <a:path w="3439795" h="1447800">
                    <a:moveTo>
                      <a:pt x="2698236" y="67733"/>
                    </a:moveTo>
                    <a:lnTo>
                      <a:pt x="2698956" y="69849"/>
                    </a:lnTo>
                    <a:lnTo>
                      <a:pt x="2705437" y="76199"/>
                    </a:lnTo>
                    <a:lnTo>
                      <a:pt x="2698236" y="67733"/>
                    </a:lnTo>
                    <a:close/>
                  </a:path>
                  <a:path w="3439795" h="1447800">
                    <a:moveTo>
                      <a:pt x="2697660" y="66039"/>
                    </a:moveTo>
                    <a:lnTo>
                      <a:pt x="2698236" y="67733"/>
                    </a:lnTo>
                    <a:lnTo>
                      <a:pt x="2705437" y="76199"/>
                    </a:lnTo>
                    <a:lnTo>
                      <a:pt x="2705437" y="72571"/>
                    </a:lnTo>
                    <a:lnTo>
                      <a:pt x="2697660" y="66039"/>
                    </a:lnTo>
                    <a:close/>
                  </a:path>
                  <a:path w="3439795" h="1447800">
                    <a:moveTo>
                      <a:pt x="2705437" y="72571"/>
                    </a:moveTo>
                    <a:lnTo>
                      <a:pt x="2705437" y="76199"/>
                    </a:lnTo>
                    <a:lnTo>
                      <a:pt x="2709757" y="76199"/>
                    </a:lnTo>
                    <a:lnTo>
                      <a:pt x="2705437" y="72571"/>
                    </a:lnTo>
                    <a:close/>
                  </a:path>
                  <a:path w="3439795" h="1447800">
                    <a:moveTo>
                      <a:pt x="2705437" y="68579"/>
                    </a:moveTo>
                    <a:lnTo>
                      <a:pt x="2705437" y="72571"/>
                    </a:lnTo>
                    <a:lnTo>
                      <a:pt x="2709757" y="76199"/>
                    </a:lnTo>
                    <a:lnTo>
                      <a:pt x="2711917" y="76199"/>
                    </a:lnTo>
                    <a:lnTo>
                      <a:pt x="2705437" y="68579"/>
                    </a:lnTo>
                    <a:close/>
                  </a:path>
                  <a:path w="3439795" h="1447800">
                    <a:moveTo>
                      <a:pt x="2705437" y="52916"/>
                    </a:moveTo>
                    <a:lnTo>
                      <a:pt x="2705437" y="68579"/>
                    </a:lnTo>
                    <a:lnTo>
                      <a:pt x="2711917" y="76199"/>
                    </a:lnTo>
                    <a:lnTo>
                      <a:pt x="2706157" y="53622"/>
                    </a:lnTo>
                    <a:lnTo>
                      <a:pt x="2705437" y="52916"/>
                    </a:lnTo>
                    <a:close/>
                  </a:path>
                  <a:path w="3439795" h="1447800">
                    <a:moveTo>
                      <a:pt x="2706157" y="53622"/>
                    </a:moveTo>
                    <a:lnTo>
                      <a:pt x="2711917" y="76199"/>
                    </a:lnTo>
                    <a:lnTo>
                      <a:pt x="2716238" y="63499"/>
                    </a:lnTo>
                    <a:lnTo>
                      <a:pt x="2706157" y="53622"/>
                    </a:lnTo>
                    <a:close/>
                  </a:path>
                  <a:path w="3439795" h="1447800">
                    <a:moveTo>
                      <a:pt x="2754167" y="69997"/>
                    </a:moveTo>
                    <a:lnTo>
                      <a:pt x="2751856" y="72360"/>
                    </a:lnTo>
                    <a:lnTo>
                      <a:pt x="2755122" y="76199"/>
                    </a:lnTo>
                    <a:lnTo>
                      <a:pt x="2759442" y="76199"/>
                    </a:lnTo>
                    <a:lnTo>
                      <a:pt x="2754167" y="69997"/>
                    </a:lnTo>
                    <a:close/>
                  </a:path>
                  <a:path w="3439795" h="1447800">
                    <a:moveTo>
                      <a:pt x="2754708" y="69444"/>
                    </a:moveTo>
                    <a:lnTo>
                      <a:pt x="2754167" y="69997"/>
                    </a:lnTo>
                    <a:lnTo>
                      <a:pt x="2759442" y="76199"/>
                    </a:lnTo>
                    <a:lnTo>
                      <a:pt x="2759010" y="73659"/>
                    </a:lnTo>
                    <a:lnTo>
                      <a:pt x="2754708" y="69444"/>
                    </a:lnTo>
                    <a:close/>
                  </a:path>
                  <a:path w="3439795" h="1447800">
                    <a:moveTo>
                      <a:pt x="2759010" y="73659"/>
                    </a:moveTo>
                    <a:lnTo>
                      <a:pt x="2759442" y="76199"/>
                    </a:lnTo>
                    <a:lnTo>
                      <a:pt x="2761602" y="76199"/>
                    </a:lnTo>
                    <a:lnTo>
                      <a:pt x="2759010" y="73659"/>
                    </a:lnTo>
                    <a:close/>
                  </a:path>
                  <a:path w="3439795" h="1447800">
                    <a:moveTo>
                      <a:pt x="2759721" y="64319"/>
                    </a:moveTo>
                    <a:lnTo>
                      <a:pt x="2757762" y="66322"/>
                    </a:lnTo>
                    <a:lnTo>
                      <a:pt x="2759010" y="73659"/>
                    </a:lnTo>
                    <a:lnTo>
                      <a:pt x="2761602" y="76199"/>
                    </a:lnTo>
                    <a:lnTo>
                      <a:pt x="2760882" y="67733"/>
                    </a:lnTo>
                    <a:lnTo>
                      <a:pt x="2759721" y="64319"/>
                    </a:lnTo>
                    <a:close/>
                  </a:path>
                  <a:path w="3439795" h="1447800">
                    <a:moveTo>
                      <a:pt x="2760882" y="67733"/>
                    </a:moveTo>
                    <a:lnTo>
                      <a:pt x="2761602" y="76199"/>
                    </a:lnTo>
                    <a:lnTo>
                      <a:pt x="2761602" y="69849"/>
                    </a:lnTo>
                    <a:lnTo>
                      <a:pt x="2760882" y="67733"/>
                    </a:lnTo>
                    <a:close/>
                  </a:path>
                  <a:path w="3439795" h="1447800">
                    <a:moveTo>
                      <a:pt x="2761602" y="69849"/>
                    </a:moveTo>
                    <a:lnTo>
                      <a:pt x="2761602" y="76199"/>
                    </a:lnTo>
                    <a:lnTo>
                      <a:pt x="2763762" y="76199"/>
                    </a:lnTo>
                    <a:lnTo>
                      <a:pt x="2761602" y="69849"/>
                    </a:lnTo>
                    <a:close/>
                  </a:path>
                  <a:path w="3439795" h="1447800">
                    <a:moveTo>
                      <a:pt x="2766255" y="57638"/>
                    </a:moveTo>
                    <a:lnTo>
                      <a:pt x="2761602" y="62395"/>
                    </a:lnTo>
                    <a:lnTo>
                      <a:pt x="2761652" y="69997"/>
                    </a:lnTo>
                    <a:lnTo>
                      <a:pt x="2763762" y="76199"/>
                    </a:lnTo>
                    <a:lnTo>
                      <a:pt x="2765923" y="76199"/>
                    </a:lnTo>
                    <a:lnTo>
                      <a:pt x="2770243" y="63499"/>
                    </a:lnTo>
                    <a:lnTo>
                      <a:pt x="2766255" y="57638"/>
                    </a:lnTo>
                    <a:close/>
                  </a:path>
                  <a:path w="3439795" h="1447800">
                    <a:moveTo>
                      <a:pt x="2757762" y="66322"/>
                    </a:moveTo>
                    <a:lnTo>
                      <a:pt x="2754708" y="69444"/>
                    </a:lnTo>
                    <a:lnTo>
                      <a:pt x="2759010" y="73659"/>
                    </a:lnTo>
                    <a:lnTo>
                      <a:pt x="2757762" y="66322"/>
                    </a:lnTo>
                    <a:close/>
                  </a:path>
                  <a:path w="3439795" h="1447800">
                    <a:moveTo>
                      <a:pt x="2702556" y="55033"/>
                    </a:moveTo>
                    <a:lnTo>
                      <a:pt x="2696796" y="63499"/>
                    </a:lnTo>
                    <a:lnTo>
                      <a:pt x="2697660" y="66039"/>
                    </a:lnTo>
                    <a:lnTo>
                      <a:pt x="2705437" y="72571"/>
                    </a:lnTo>
                    <a:lnTo>
                      <a:pt x="2705437" y="68579"/>
                    </a:lnTo>
                    <a:lnTo>
                      <a:pt x="2701116" y="63499"/>
                    </a:lnTo>
                    <a:lnTo>
                      <a:pt x="2702556" y="55033"/>
                    </a:lnTo>
                    <a:close/>
                  </a:path>
                  <a:path w="3439795" h="1447800">
                    <a:moveTo>
                      <a:pt x="2748641" y="63499"/>
                    </a:moveTo>
                    <a:lnTo>
                      <a:pt x="2744320" y="63499"/>
                    </a:lnTo>
                    <a:lnTo>
                      <a:pt x="2751856" y="72360"/>
                    </a:lnTo>
                    <a:lnTo>
                      <a:pt x="2754167" y="69997"/>
                    </a:lnTo>
                    <a:lnTo>
                      <a:pt x="2748641" y="63499"/>
                    </a:lnTo>
                    <a:close/>
                  </a:path>
                  <a:path w="3439795" h="1447800">
                    <a:moveTo>
                      <a:pt x="2748641" y="63499"/>
                    </a:moveTo>
                    <a:lnTo>
                      <a:pt x="2754167" y="69997"/>
                    </a:lnTo>
                    <a:lnTo>
                      <a:pt x="2754708" y="69444"/>
                    </a:lnTo>
                    <a:lnTo>
                      <a:pt x="2748641" y="63499"/>
                    </a:lnTo>
                    <a:close/>
                  </a:path>
                  <a:path w="3439795" h="1447800">
                    <a:moveTo>
                      <a:pt x="2694635" y="63499"/>
                    </a:moveTo>
                    <a:lnTo>
                      <a:pt x="2694635" y="65616"/>
                    </a:lnTo>
                    <a:lnTo>
                      <a:pt x="2698956" y="69849"/>
                    </a:lnTo>
                    <a:lnTo>
                      <a:pt x="2698236" y="67733"/>
                    </a:lnTo>
                    <a:lnTo>
                      <a:pt x="2694635" y="63499"/>
                    </a:lnTo>
                    <a:close/>
                  </a:path>
                  <a:path w="3439795" h="1447800">
                    <a:moveTo>
                      <a:pt x="2761602" y="62395"/>
                    </a:moveTo>
                    <a:lnTo>
                      <a:pt x="2760522" y="63499"/>
                    </a:lnTo>
                    <a:lnTo>
                      <a:pt x="2760882" y="67733"/>
                    </a:lnTo>
                    <a:lnTo>
                      <a:pt x="2761602" y="69849"/>
                    </a:lnTo>
                    <a:lnTo>
                      <a:pt x="2761602" y="62395"/>
                    </a:lnTo>
                    <a:close/>
                  </a:path>
                  <a:path w="3439795" h="1447800">
                    <a:moveTo>
                      <a:pt x="2748641" y="38099"/>
                    </a:moveTo>
                    <a:lnTo>
                      <a:pt x="2744320" y="38099"/>
                    </a:lnTo>
                    <a:lnTo>
                      <a:pt x="2750801" y="50799"/>
                    </a:lnTo>
                    <a:lnTo>
                      <a:pt x="2748641" y="63499"/>
                    </a:lnTo>
                    <a:lnTo>
                      <a:pt x="2754708" y="69444"/>
                    </a:lnTo>
                    <a:lnTo>
                      <a:pt x="2757762" y="66322"/>
                    </a:lnTo>
                    <a:lnTo>
                      <a:pt x="2755122" y="50799"/>
                    </a:lnTo>
                    <a:lnTo>
                      <a:pt x="2748641" y="38099"/>
                    </a:lnTo>
                    <a:close/>
                  </a:path>
                  <a:path w="3439795" h="1447800">
                    <a:moveTo>
                      <a:pt x="2704897" y="52387"/>
                    </a:moveTo>
                    <a:lnTo>
                      <a:pt x="2701116" y="63499"/>
                    </a:lnTo>
                    <a:lnTo>
                      <a:pt x="2705437" y="68579"/>
                    </a:lnTo>
                    <a:lnTo>
                      <a:pt x="2705437" y="52916"/>
                    </a:lnTo>
                    <a:lnTo>
                      <a:pt x="2704897" y="52387"/>
                    </a:lnTo>
                    <a:close/>
                  </a:path>
                  <a:path w="3439795" h="1447800">
                    <a:moveTo>
                      <a:pt x="2694635" y="63499"/>
                    </a:moveTo>
                    <a:lnTo>
                      <a:pt x="2698236" y="67733"/>
                    </a:lnTo>
                    <a:lnTo>
                      <a:pt x="2697660" y="66039"/>
                    </a:lnTo>
                    <a:lnTo>
                      <a:pt x="2694635" y="63499"/>
                    </a:lnTo>
                    <a:close/>
                  </a:path>
                  <a:path w="3439795" h="1447800">
                    <a:moveTo>
                      <a:pt x="2760522" y="63499"/>
                    </a:moveTo>
                    <a:lnTo>
                      <a:pt x="2759721" y="64319"/>
                    </a:lnTo>
                    <a:lnTo>
                      <a:pt x="2760882" y="67733"/>
                    </a:lnTo>
                    <a:lnTo>
                      <a:pt x="2760522" y="63499"/>
                    </a:lnTo>
                    <a:close/>
                  </a:path>
                  <a:path w="3439795" h="1447800">
                    <a:moveTo>
                      <a:pt x="2692475" y="63499"/>
                    </a:moveTo>
                    <a:lnTo>
                      <a:pt x="2694635" y="66674"/>
                    </a:lnTo>
                    <a:lnTo>
                      <a:pt x="2694635" y="65616"/>
                    </a:lnTo>
                    <a:lnTo>
                      <a:pt x="2692475" y="63499"/>
                    </a:lnTo>
                    <a:close/>
                  </a:path>
                  <a:path w="3439795" h="1447800">
                    <a:moveTo>
                      <a:pt x="2755122" y="50799"/>
                    </a:moveTo>
                    <a:lnTo>
                      <a:pt x="2757762" y="66322"/>
                    </a:lnTo>
                    <a:lnTo>
                      <a:pt x="2759721" y="64319"/>
                    </a:lnTo>
                    <a:lnTo>
                      <a:pt x="2755122" y="50799"/>
                    </a:lnTo>
                    <a:close/>
                  </a:path>
                  <a:path w="3439795" h="1447800">
                    <a:moveTo>
                      <a:pt x="2696796" y="63499"/>
                    </a:moveTo>
                    <a:lnTo>
                      <a:pt x="2694635" y="63499"/>
                    </a:lnTo>
                    <a:lnTo>
                      <a:pt x="2697660" y="66039"/>
                    </a:lnTo>
                    <a:lnTo>
                      <a:pt x="2696796" y="63499"/>
                    </a:lnTo>
                    <a:close/>
                  </a:path>
                  <a:path w="3439795" h="1447800">
                    <a:moveTo>
                      <a:pt x="2694635" y="63499"/>
                    </a:moveTo>
                    <a:lnTo>
                      <a:pt x="2692475" y="63499"/>
                    </a:lnTo>
                    <a:lnTo>
                      <a:pt x="2694635" y="65616"/>
                    </a:lnTo>
                    <a:lnTo>
                      <a:pt x="2694635" y="63499"/>
                    </a:lnTo>
                    <a:close/>
                  </a:path>
                  <a:path w="3439795" h="1447800">
                    <a:moveTo>
                      <a:pt x="2755122" y="38099"/>
                    </a:moveTo>
                    <a:lnTo>
                      <a:pt x="2748641" y="38099"/>
                    </a:lnTo>
                    <a:lnTo>
                      <a:pt x="2755122" y="50799"/>
                    </a:lnTo>
                    <a:lnTo>
                      <a:pt x="2759721" y="64319"/>
                    </a:lnTo>
                    <a:lnTo>
                      <a:pt x="2760522" y="63499"/>
                    </a:lnTo>
                    <a:lnTo>
                      <a:pt x="2759442" y="50799"/>
                    </a:lnTo>
                    <a:lnTo>
                      <a:pt x="2763762" y="50799"/>
                    </a:lnTo>
                    <a:lnTo>
                      <a:pt x="2755122" y="38099"/>
                    </a:lnTo>
                    <a:close/>
                  </a:path>
                  <a:path w="3439795" h="1447800">
                    <a:moveTo>
                      <a:pt x="2703276" y="50799"/>
                    </a:moveTo>
                    <a:lnTo>
                      <a:pt x="2698956" y="50799"/>
                    </a:lnTo>
                    <a:lnTo>
                      <a:pt x="2696796" y="63499"/>
                    </a:lnTo>
                    <a:lnTo>
                      <a:pt x="2702556" y="55033"/>
                    </a:lnTo>
                    <a:lnTo>
                      <a:pt x="2703276" y="50799"/>
                    </a:lnTo>
                    <a:close/>
                  </a:path>
                  <a:path w="3439795" h="1447800">
                    <a:moveTo>
                      <a:pt x="2704572" y="52069"/>
                    </a:moveTo>
                    <a:lnTo>
                      <a:pt x="2702556" y="55033"/>
                    </a:lnTo>
                    <a:lnTo>
                      <a:pt x="2701116" y="63499"/>
                    </a:lnTo>
                    <a:lnTo>
                      <a:pt x="2704897" y="52387"/>
                    </a:lnTo>
                    <a:lnTo>
                      <a:pt x="2704572" y="52069"/>
                    </a:lnTo>
                    <a:close/>
                  </a:path>
                  <a:path w="3439795" h="1447800">
                    <a:moveTo>
                      <a:pt x="2705437" y="50799"/>
                    </a:moveTo>
                    <a:lnTo>
                      <a:pt x="2706157" y="53622"/>
                    </a:lnTo>
                    <a:lnTo>
                      <a:pt x="2716238" y="63499"/>
                    </a:lnTo>
                    <a:lnTo>
                      <a:pt x="2705437" y="50799"/>
                    </a:lnTo>
                    <a:close/>
                  </a:path>
                  <a:path w="3439795" h="1447800">
                    <a:moveTo>
                      <a:pt x="2707597" y="50799"/>
                    </a:moveTo>
                    <a:lnTo>
                      <a:pt x="2705437" y="50799"/>
                    </a:lnTo>
                    <a:lnTo>
                      <a:pt x="2716238" y="63499"/>
                    </a:lnTo>
                    <a:lnTo>
                      <a:pt x="2718398" y="63499"/>
                    </a:lnTo>
                    <a:lnTo>
                      <a:pt x="2707597" y="50799"/>
                    </a:lnTo>
                    <a:close/>
                  </a:path>
                  <a:path w="3439795" h="1447800">
                    <a:moveTo>
                      <a:pt x="2709757" y="50799"/>
                    </a:moveTo>
                    <a:lnTo>
                      <a:pt x="2707597" y="50799"/>
                    </a:lnTo>
                    <a:lnTo>
                      <a:pt x="2718398" y="63499"/>
                    </a:lnTo>
                    <a:lnTo>
                      <a:pt x="2709757" y="50799"/>
                    </a:lnTo>
                    <a:close/>
                  </a:path>
                  <a:path w="3439795" h="1447800">
                    <a:moveTo>
                      <a:pt x="2714077" y="50799"/>
                    </a:moveTo>
                    <a:lnTo>
                      <a:pt x="2709757" y="50799"/>
                    </a:lnTo>
                    <a:lnTo>
                      <a:pt x="2718398" y="63499"/>
                    </a:lnTo>
                    <a:lnTo>
                      <a:pt x="2727039" y="63499"/>
                    </a:lnTo>
                    <a:lnTo>
                      <a:pt x="2714077" y="50799"/>
                    </a:lnTo>
                    <a:close/>
                  </a:path>
                  <a:path w="3439795" h="1447800">
                    <a:moveTo>
                      <a:pt x="2729199" y="38099"/>
                    </a:moveTo>
                    <a:lnTo>
                      <a:pt x="2724879" y="38099"/>
                    </a:lnTo>
                    <a:lnTo>
                      <a:pt x="2714077" y="50799"/>
                    </a:lnTo>
                    <a:lnTo>
                      <a:pt x="2727039" y="63499"/>
                    </a:lnTo>
                    <a:lnTo>
                      <a:pt x="2716238" y="50799"/>
                    </a:lnTo>
                    <a:lnTo>
                      <a:pt x="2729199" y="50799"/>
                    </a:lnTo>
                    <a:lnTo>
                      <a:pt x="2729199" y="38099"/>
                    </a:lnTo>
                    <a:close/>
                  </a:path>
                  <a:path w="3439795" h="1447800">
                    <a:moveTo>
                      <a:pt x="2729199" y="50799"/>
                    </a:moveTo>
                    <a:lnTo>
                      <a:pt x="2716238" y="50799"/>
                    </a:lnTo>
                    <a:lnTo>
                      <a:pt x="2727039" y="63499"/>
                    </a:lnTo>
                    <a:lnTo>
                      <a:pt x="2729199" y="60324"/>
                    </a:lnTo>
                    <a:lnTo>
                      <a:pt x="2729199" y="50799"/>
                    </a:lnTo>
                    <a:close/>
                  </a:path>
                  <a:path w="3439795" h="1447800">
                    <a:moveTo>
                      <a:pt x="2735680" y="38099"/>
                    </a:moveTo>
                    <a:lnTo>
                      <a:pt x="2729199" y="38099"/>
                    </a:lnTo>
                    <a:lnTo>
                      <a:pt x="2735680" y="50799"/>
                    </a:lnTo>
                    <a:lnTo>
                      <a:pt x="2729199" y="60324"/>
                    </a:lnTo>
                    <a:lnTo>
                      <a:pt x="2729199" y="63499"/>
                    </a:lnTo>
                    <a:lnTo>
                      <a:pt x="2737840" y="63499"/>
                    </a:lnTo>
                    <a:lnTo>
                      <a:pt x="2735680" y="38099"/>
                    </a:lnTo>
                    <a:close/>
                  </a:path>
                  <a:path w="3439795" h="1447800">
                    <a:moveTo>
                      <a:pt x="2737840" y="38099"/>
                    </a:moveTo>
                    <a:lnTo>
                      <a:pt x="2735680" y="38099"/>
                    </a:lnTo>
                    <a:lnTo>
                      <a:pt x="2737840" y="63499"/>
                    </a:lnTo>
                    <a:lnTo>
                      <a:pt x="2737840" y="38099"/>
                    </a:lnTo>
                    <a:close/>
                  </a:path>
                  <a:path w="3439795" h="1447800">
                    <a:moveTo>
                      <a:pt x="2742160" y="38099"/>
                    </a:moveTo>
                    <a:lnTo>
                      <a:pt x="2737840" y="38099"/>
                    </a:lnTo>
                    <a:lnTo>
                      <a:pt x="2737840" y="63499"/>
                    </a:lnTo>
                    <a:lnTo>
                      <a:pt x="2748641" y="50799"/>
                    </a:lnTo>
                    <a:lnTo>
                      <a:pt x="2750801" y="50799"/>
                    </a:lnTo>
                    <a:lnTo>
                      <a:pt x="2742160" y="38099"/>
                    </a:lnTo>
                    <a:close/>
                  </a:path>
                  <a:path w="3439795" h="1447800">
                    <a:moveTo>
                      <a:pt x="2761602" y="50799"/>
                    </a:moveTo>
                    <a:lnTo>
                      <a:pt x="2759442" y="50799"/>
                    </a:lnTo>
                    <a:lnTo>
                      <a:pt x="2760522" y="63499"/>
                    </a:lnTo>
                    <a:lnTo>
                      <a:pt x="2761602" y="62395"/>
                    </a:lnTo>
                    <a:lnTo>
                      <a:pt x="2761602" y="50799"/>
                    </a:lnTo>
                    <a:close/>
                  </a:path>
                  <a:path w="3439795" h="1447800">
                    <a:moveTo>
                      <a:pt x="2767529" y="56335"/>
                    </a:moveTo>
                    <a:lnTo>
                      <a:pt x="2766255" y="57638"/>
                    </a:lnTo>
                    <a:lnTo>
                      <a:pt x="2770243" y="63499"/>
                    </a:lnTo>
                    <a:lnTo>
                      <a:pt x="2772403" y="63499"/>
                    </a:lnTo>
                    <a:lnTo>
                      <a:pt x="2767529" y="56335"/>
                    </a:lnTo>
                    <a:close/>
                  </a:path>
                  <a:path w="3439795" h="1447800">
                    <a:moveTo>
                      <a:pt x="2768033" y="55820"/>
                    </a:moveTo>
                    <a:lnTo>
                      <a:pt x="2767529" y="56335"/>
                    </a:lnTo>
                    <a:lnTo>
                      <a:pt x="2772403" y="63499"/>
                    </a:lnTo>
                    <a:lnTo>
                      <a:pt x="2774563" y="63499"/>
                    </a:lnTo>
                    <a:lnTo>
                      <a:pt x="2768033" y="55820"/>
                    </a:lnTo>
                    <a:close/>
                  </a:path>
                  <a:path w="3439795" h="1447800">
                    <a:moveTo>
                      <a:pt x="2770077" y="53730"/>
                    </a:moveTo>
                    <a:lnTo>
                      <a:pt x="2768033" y="55820"/>
                    </a:lnTo>
                    <a:lnTo>
                      <a:pt x="2774563" y="63499"/>
                    </a:lnTo>
                    <a:lnTo>
                      <a:pt x="2776724" y="63499"/>
                    </a:lnTo>
                    <a:lnTo>
                      <a:pt x="2770077" y="53730"/>
                    </a:lnTo>
                    <a:close/>
                  </a:path>
                  <a:path w="3439795" h="1447800">
                    <a:moveTo>
                      <a:pt x="2771169" y="52614"/>
                    </a:moveTo>
                    <a:lnTo>
                      <a:pt x="2770077" y="53730"/>
                    </a:lnTo>
                    <a:lnTo>
                      <a:pt x="2776724" y="63499"/>
                    </a:lnTo>
                    <a:lnTo>
                      <a:pt x="2771169" y="52614"/>
                    </a:lnTo>
                    <a:close/>
                  </a:path>
                  <a:path w="3439795" h="1447800">
                    <a:moveTo>
                      <a:pt x="2772654" y="51095"/>
                    </a:moveTo>
                    <a:lnTo>
                      <a:pt x="2771169" y="52614"/>
                    </a:lnTo>
                    <a:lnTo>
                      <a:pt x="2776724" y="63499"/>
                    </a:lnTo>
                    <a:lnTo>
                      <a:pt x="2783204" y="63499"/>
                    </a:lnTo>
                    <a:lnTo>
                      <a:pt x="2772654" y="51095"/>
                    </a:lnTo>
                    <a:close/>
                  </a:path>
                  <a:path w="3439795" h="1447800">
                    <a:moveTo>
                      <a:pt x="2774563" y="49143"/>
                    </a:moveTo>
                    <a:lnTo>
                      <a:pt x="2772654" y="51095"/>
                    </a:lnTo>
                    <a:lnTo>
                      <a:pt x="2783204" y="63499"/>
                    </a:lnTo>
                    <a:lnTo>
                      <a:pt x="2774563" y="50799"/>
                    </a:lnTo>
                    <a:lnTo>
                      <a:pt x="2774563" y="49143"/>
                    </a:lnTo>
                    <a:close/>
                  </a:path>
                  <a:path w="3439795" h="1447800">
                    <a:moveTo>
                      <a:pt x="2783054" y="40462"/>
                    </a:moveTo>
                    <a:lnTo>
                      <a:pt x="2774563" y="49143"/>
                    </a:lnTo>
                    <a:lnTo>
                      <a:pt x="2774563" y="50799"/>
                    </a:lnTo>
                    <a:lnTo>
                      <a:pt x="2783204" y="63499"/>
                    </a:lnTo>
                    <a:lnTo>
                      <a:pt x="2794005" y="50799"/>
                    </a:lnTo>
                    <a:lnTo>
                      <a:pt x="2791845" y="50799"/>
                    </a:lnTo>
                    <a:lnTo>
                      <a:pt x="2783054" y="40462"/>
                    </a:lnTo>
                    <a:close/>
                  </a:path>
                  <a:path w="3439795" h="1447800">
                    <a:moveTo>
                      <a:pt x="2761602" y="50799"/>
                    </a:moveTo>
                    <a:lnTo>
                      <a:pt x="2761602" y="62395"/>
                    </a:lnTo>
                    <a:lnTo>
                      <a:pt x="2766255" y="57638"/>
                    </a:lnTo>
                    <a:lnTo>
                      <a:pt x="2761602" y="50799"/>
                    </a:lnTo>
                    <a:close/>
                  </a:path>
                  <a:path w="3439795" h="1447800">
                    <a:moveTo>
                      <a:pt x="2729199" y="38099"/>
                    </a:moveTo>
                    <a:lnTo>
                      <a:pt x="2729199" y="60324"/>
                    </a:lnTo>
                    <a:lnTo>
                      <a:pt x="2735680" y="50799"/>
                    </a:lnTo>
                    <a:lnTo>
                      <a:pt x="2729199" y="38099"/>
                    </a:lnTo>
                    <a:close/>
                  </a:path>
                  <a:path w="3439795" h="1447800">
                    <a:moveTo>
                      <a:pt x="2763762" y="50799"/>
                    </a:moveTo>
                    <a:lnTo>
                      <a:pt x="2761602" y="50799"/>
                    </a:lnTo>
                    <a:lnTo>
                      <a:pt x="2766255" y="57638"/>
                    </a:lnTo>
                    <a:lnTo>
                      <a:pt x="2767529" y="56335"/>
                    </a:lnTo>
                    <a:lnTo>
                      <a:pt x="2763762" y="50799"/>
                    </a:lnTo>
                    <a:close/>
                  </a:path>
                  <a:path w="3439795" h="1447800">
                    <a:moveTo>
                      <a:pt x="2763762" y="50799"/>
                    </a:moveTo>
                    <a:lnTo>
                      <a:pt x="2767529" y="56335"/>
                    </a:lnTo>
                    <a:lnTo>
                      <a:pt x="2768033" y="55820"/>
                    </a:lnTo>
                    <a:lnTo>
                      <a:pt x="2763762" y="50799"/>
                    </a:lnTo>
                    <a:close/>
                  </a:path>
                  <a:path w="3439795" h="1447800">
                    <a:moveTo>
                      <a:pt x="2765923" y="25399"/>
                    </a:moveTo>
                    <a:lnTo>
                      <a:pt x="2755122" y="38099"/>
                    </a:lnTo>
                    <a:lnTo>
                      <a:pt x="2763762" y="50799"/>
                    </a:lnTo>
                    <a:lnTo>
                      <a:pt x="2768033" y="55820"/>
                    </a:lnTo>
                    <a:lnTo>
                      <a:pt x="2770077" y="53730"/>
                    </a:lnTo>
                    <a:lnTo>
                      <a:pt x="2768083" y="50799"/>
                    </a:lnTo>
                    <a:lnTo>
                      <a:pt x="2772403" y="50799"/>
                    </a:lnTo>
                    <a:lnTo>
                      <a:pt x="2774563" y="38099"/>
                    </a:lnTo>
                    <a:lnTo>
                      <a:pt x="2763762" y="38099"/>
                    </a:lnTo>
                    <a:lnTo>
                      <a:pt x="2769763" y="31044"/>
                    </a:lnTo>
                    <a:lnTo>
                      <a:pt x="2765923" y="25399"/>
                    </a:lnTo>
                    <a:close/>
                  </a:path>
                  <a:path w="3439795" h="1447800">
                    <a:moveTo>
                      <a:pt x="2703276" y="50799"/>
                    </a:moveTo>
                    <a:lnTo>
                      <a:pt x="2702556" y="55033"/>
                    </a:lnTo>
                    <a:lnTo>
                      <a:pt x="2704572" y="52069"/>
                    </a:lnTo>
                    <a:lnTo>
                      <a:pt x="2703276" y="50799"/>
                    </a:lnTo>
                    <a:close/>
                  </a:path>
                  <a:path w="3439795" h="1447800">
                    <a:moveTo>
                      <a:pt x="2770243" y="50799"/>
                    </a:moveTo>
                    <a:lnTo>
                      <a:pt x="2768083" y="50799"/>
                    </a:lnTo>
                    <a:lnTo>
                      <a:pt x="2770077" y="53730"/>
                    </a:lnTo>
                    <a:lnTo>
                      <a:pt x="2771169" y="52614"/>
                    </a:lnTo>
                    <a:lnTo>
                      <a:pt x="2770243" y="50799"/>
                    </a:lnTo>
                    <a:close/>
                  </a:path>
                  <a:path w="3439795" h="1447800">
                    <a:moveTo>
                      <a:pt x="2705437" y="50799"/>
                    </a:moveTo>
                    <a:lnTo>
                      <a:pt x="2705437" y="52916"/>
                    </a:lnTo>
                    <a:lnTo>
                      <a:pt x="2706157" y="53622"/>
                    </a:lnTo>
                    <a:lnTo>
                      <a:pt x="2705437" y="50799"/>
                    </a:lnTo>
                    <a:close/>
                  </a:path>
                  <a:path w="3439795" h="1447800">
                    <a:moveTo>
                      <a:pt x="2705437" y="50799"/>
                    </a:moveTo>
                    <a:lnTo>
                      <a:pt x="2704897" y="52387"/>
                    </a:lnTo>
                    <a:lnTo>
                      <a:pt x="2705437" y="52916"/>
                    </a:lnTo>
                    <a:lnTo>
                      <a:pt x="2705437" y="50799"/>
                    </a:lnTo>
                    <a:close/>
                  </a:path>
                  <a:path w="3439795" h="1447800">
                    <a:moveTo>
                      <a:pt x="2772403" y="50799"/>
                    </a:moveTo>
                    <a:lnTo>
                      <a:pt x="2770243" y="50799"/>
                    </a:lnTo>
                    <a:lnTo>
                      <a:pt x="2771169" y="52614"/>
                    </a:lnTo>
                    <a:lnTo>
                      <a:pt x="2772654" y="51095"/>
                    </a:lnTo>
                    <a:lnTo>
                      <a:pt x="2772403" y="50799"/>
                    </a:lnTo>
                    <a:close/>
                  </a:path>
                  <a:path w="3439795" h="1447800">
                    <a:moveTo>
                      <a:pt x="2705437" y="50799"/>
                    </a:moveTo>
                    <a:lnTo>
                      <a:pt x="2704572" y="52069"/>
                    </a:lnTo>
                    <a:lnTo>
                      <a:pt x="2704897" y="52387"/>
                    </a:lnTo>
                    <a:lnTo>
                      <a:pt x="2705437" y="50799"/>
                    </a:lnTo>
                    <a:close/>
                  </a:path>
                  <a:path w="3439795" h="1447800">
                    <a:moveTo>
                      <a:pt x="2705437" y="50799"/>
                    </a:moveTo>
                    <a:lnTo>
                      <a:pt x="2703276" y="50799"/>
                    </a:lnTo>
                    <a:lnTo>
                      <a:pt x="2704572" y="52069"/>
                    </a:lnTo>
                    <a:lnTo>
                      <a:pt x="2705437" y="50799"/>
                    </a:lnTo>
                    <a:close/>
                  </a:path>
                  <a:path w="3439795" h="1447800">
                    <a:moveTo>
                      <a:pt x="2774563" y="47624"/>
                    </a:moveTo>
                    <a:lnTo>
                      <a:pt x="2772403" y="50799"/>
                    </a:lnTo>
                    <a:lnTo>
                      <a:pt x="2772654" y="51095"/>
                    </a:lnTo>
                    <a:lnTo>
                      <a:pt x="2774563" y="49143"/>
                    </a:lnTo>
                    <a:lnTo>
                      <a:pt x="2774563" y="47624"/>
                    </a:lnTo>
                    <a:close/>
                  </a:path>
                  <a:path w="3439795" h="1447800">
                    <a:moveTo>
                      <a:pt x="2744320" y="38099"/>
                    </a:moveTo>
                    <a:lnTo>
                      <a:pt x="2742160" y="38099"/>
                    </a:lnTo>
                    <a:lnTo>
                      <a:pt x="2750801" y="50799"/>
                    </a:lnTo>
                    <a:lnTo>
                      <a:pt x="2744320" y="38099"/>
                    </a:lnTo>
                    <a:close/>
                  </a:path>
                  <a:path w="3439795" h="1447800">
                    <a:moveTo>
                      <a:pt x="2774563" y="38099"/>
                    </a:moveTo>
                    <a:lnTo>
                      <a:pt x="2772403" y="50799"/>
                    </a:lnTo>
                    <a:lnTo>
                      <a:pt x="2774563" y="47624"/>
                    </a:lnTo>
                    <a:lnTo>
                      <a:pt x="2774563" y="38099"/>
                    </a:lnTo>
                    <a:close/>
                  </a:path>
                  <a:path w="3439795" h="1447800">
                    <a:moveTo>
                      <a:pt x="2783250" y="40261"/>
                    </a:moveTo>
                    <a:lnTo>
                      <a:pt x="2783054" y="40462"/>
                    </a:lnTo>
                    <a:lnTo>
                      <a:pt x="2791845" y="50799"/>
                    </a:lnTo>
                    <a:lnTo>
                      <a:pt x="2794005" y="50799"/>
                    </a:lnTo>
                    <a:lnTo>
                      <a:pt x="2783250" y="40261"/>
                    </a:lnTo>
                    <a:close/>
                  </a:path>
                  <a:path w="3439795" h="1447800">
                    <a:moveTo>
                      <a:pt x="2785365" y="34924"/>
                    </a:moveTo>
                    <a:lnTo>
                      <a:pt x="2785365" y="38099"/>
                    </a:lnTo>
                    <a:lnTo>
                      <a:pt x="2783250" y="40261"/>
                    </a:lnTo>
                    <a:lnTo>
                      <a:pt x="2794005" y="50799"/>
                    </a:lnTo>
                    <a:lnTo>
                      <a:pt x="2800486" y="50799"/>
                    </a:lnTo>
                    <a:lnTo>
                      <a:pt x="2791845" y="38099"/>
                    </a:lnTo>
                    <a:lnTo>
                      <a:pt x="2787525" y="38099"/>
                    </a:lnTo>
                    <a:lnTo>
                      <a:pt x="2785365" y="34924"/>
                    </a:lnTo>
                    <a:close/>
                  </a:path>
                  <a:path w="3439795" h="1447800">
                    <a:moveTo>
                      <a:pt x="2791605" y="32455"/>
                    </a:moveTo>
                    <a:lnTo>
                      <a:pt x="2789685" y="38099"/>
                    </a:lnTo>
                    <a:lnTo>
                      <a:pt x="2791845" y="38099"/>
                    </a:lnTo>
                    <a:lnTo>
                      <a:pt x="2800486" y="50799"/>
                    </a:lnTo>
                    <a:lnTo>
                      <a:pt x="2794005" y="38099"/>
                    </a:lnTo>
                    <a:lnTo>
                      <a:pt x="2791605" y="32455"/>
                    </a:lnTo>
                    <a:close/>
                  </a:path>
                  <a:path w="3439795" h="1447800">
                    <a:moveTo>
                      <a:pt x="2798326" y="38099"/>
                    </a:moveTo>
                    <a:lnTo>
                      <a:pt x="2794005" y="38099"/>
                    </a:lnTo>
                    <a:lnTo>
                      <a:pt x="2800486" y="50799"/>
                    </a:lnTo>
                    <a:lnTo>
                      <a:pt x="2804807" y="50799"/>
                    </a:lnTo>
                    <a:lnTo>
                      <a:pt x="2798326" y="38099"/>
                    </a:lnTo>
                    <a:close/>
                  </a:path>
                  <a:path w="3439795" h="1447800">
                    <a:moveTo>
                      <a:pt x="2798326" y="38099"/>
                    </a:moveTo>
                    <a:lnTo>
                      <a:pt x="2804807" y="50799"/>
                    </a:lnTo>
                    <a:lnTo>
                      <a:pt x="2806099" y="49524"/>
                    </a:lnTo>
                    <a:lnTo>
                      <a:pt x="2798326" y="38099"/>
                    </a:lnTo>
                    <a:close/>
                  </a:path>
                  <a:path w="3439795" h="1447800">
                    <a:moveTo>
                      <a:pt x="2806099" y="49524"/>
                    </a:moveTo>
                    <a:lnTo>
                      <a:pt x="2804807" y="50799"/>
                    </a:lnTo>
                    <a:lnTo>
                      <a:pt x="2806967" y="50799"/>
                    </a:lnTo>
                    <a:lnTo>
                      <a:pt x="2806099" y="49524"/>
                    </a:lnTo>
                    <a:close/>
                  </a:path>
                  <a:path w="3439795" h="1447800">
                    <a:moveTo>
                      <a:pt x="2808042" y="26675"/>
                    </a:moveTo>
                    <a:lnTo>
                      <a:pt x="2798326" y="38099"/>
                    </a:lnTo>
                    <a:lnTo>
                      <a:pt x="2806099" y="49524"/>
                    </a:lnTo>
                    <a:lnTo>
                      <a:pt x="2817678" y="38099"/>
                    </a:lnTo>
                    <a:lnTo>
                      <a:pt x="2808042" y="26675"/>
                    </a:lnTo>
                    <a:close/>
                  </a:path>
                  <a:path w="3439795" h="1447800">
                    <a:moveTo>
                      <a:pt x="2781044" y="38099"/>
                    </a:moveTo>
                    <a:lnTo>
                      <a:pt x="2774563" y="47624"/>
                    </a:lnTo>
                    <a:lnTo>
                      <a:pt x="2774563" y="49143"/>
                    </a:lnTo>
                    <a:lnTo>
                      <a:pt x="2783054" y="40462"/>
                    </a:lnTo>
                    <a:lnTo>
                      <a:pt x="2781044" y="38099"/>
                    </a:lnTo>
                    <a:close/>
                  </a:path>
                  <a:path w="3439795" h="1447800">
                    <a:moveTo>
                      <a:pt x="2781044" y="38099"/>
                    </a:moveTo>
                    <a:lnTo>
                      <a:pt x="2783054" y="40462"/>
                    </a:lnTo>
                    <a:lnTo>
                      <a:pt x="2783250" y="40261"/>
                    </a:lnTo>
                    <a:lnTo>
                      <a:pt x="2781044" y="38099"/>
                    </a:lnTo>
                    <a:close/>
                  </a:path>
                  <a:path w="3439795" h="1447800">
                    <a:moveTo>
                      <a:pt x="2774563" y="25399"/>
                    </a:moveTo>
                    <a:lnTo>
                      <a:pt x="2783204" y="38099"/>
                    </a:lnTo>
                    <a:lnTo>
                      <a:pt x="2781044" y="38099"/>
                    </a:lnTo>
                    <a:lnTo>
                      <a:pt x="2783250" y="40261"/>
                    </a:lnTo>
                    <a:lnTo>
                      <a:pt x="2785365" y="38099"/>
                    </a:lnTo>
                    <a:lnTo>
                      <a:pt x="2774563" y="25399"/>
                    </a:lnTo>
                    <a:close/>
                  </a:path>
                  <a:path w="3439795" h="1447800">
                    <a:moveTo>
                      <a:pt x="2769763" y="31044"/>
                    </a:moveTo>
                    <a:lnTo>
                      <a:pt x="2763762" y="38099"/>
                    </a:lnTo>
                    <a:lnTo>
                      <a:pt x="2774563" y="38099"/>
                    </a:lnTo>
                    <a:lnTo>
                      <a:pt x="2769763" y="31044"/>
                    </a:lnTo>
                    <a:close/>
                  </a:path>
                  <a:path w="3439795" h="1447800">
                    <a:moveTo>
                      <a:pt x="2774563" y="25399"/>
                    </a:moveTo>
                    <a:lnTo>
                      <a:pt x="2769763" y="31044"/>
                    </a:lnTo>
                    <a:lnTo>
                      <a:pt x="2774563" y="38099"/>
                    </a:lnTo>
                    <a:lnTo>
                      <a:pt x="2783204" y="38099"/>
                    </a:lnTo>
                    <a:lnTo>
                      <a:pt x="2774563" y="25399"/>
                    </a:lnTo>
                    <a:close/>
                  </a:path>
                  <a:path w="3439795" h="1447800">
                    <a:moveTo>
                      <a:pt x="2778884" y="25399"/>
                    </a:moveTo>
                    <a:lnTo>
                      <a:pt x="2774563" y="25399"/>
                    </a:lnTo>
                    <a:lnTo>
                      <a:pt x="2785365" y="38099"/>
                    </a:lnTo>
                    <a:lnTo>
                      <a:pt x="2785365" y="34924"/>
                    </a:lnTo>
                    <a:lnTo>
                      <a:pt x="2778884" y="25399"/>
                    </a:lnTo>
                    <a:close/>
                  </a:path>
                  <a:path w="3439795" h="1447800">
                    <a:moveTo>
                      <a:pt x="2785365" y="17779"/>
                    </a:moveTo>
                    <a:lnTo>
                      <a:pt x="2785365" y="34924"/>
                    </a:lnTo>
                    <a:lnTo>
                      <a:pt x="2787525" y="38099"/>
                    </a:lnTo>
                    <a:lnTo>
                      <a:pt x="2789685" y="38099"/>
                    </a:lnTo>
                    <a:lnTo>
                      <a:pt x="2791605" y="32455"/>
                    </a:lnTo>
                    <a:lnTo>
                      <a:pt x="2785365" y="17779"/>
                    </a:lnTo>
                    <a:close/>
                  </a:path>
                  <a:path w="3439795" h="1447800">
                    <a:moveTo>
                      <a:pt x="2792154" y="30842"/>
                    </a:moveTo>
                    <a:lnTo>
                      <a:pt x="2791605" y="32455"/>
                    </a:lnTo>
                    <a:lnTo>
                      <a:pt x="2794005" y="38099"/>
                    </a:lnTo>
                    <a:lnTo>
                      <a:pt x="2792154" y="30842"/>
                    </a:lnTo>
                    <a:close/>
                  </a:path>
                  <a:path w="3439795" h="1447800">
                    <a:moveTo>
                      <a:pt x="2794005" y="25399"/>
                    </a:moveTo>
                    <a:lnTo>
                      <a:pt x="2792154" y="30842"/>
                    </a:lnTo>
                    <a:lnTo>
                      <a:pt x="2794005" y="38099"/>
                    </a:lnTo>
                    <a:lnTo>
                      <a:pt x="2794005" y="25399"/>
                    </a:lnTo>
                    <a:close/>
                  </a:path>
                  <a:path w="3439795" h="1447800">
                    <a:moveTo>
                      <a:pt x="2796166" y="12699"/>
                    </a:moveTo>
                    <a:lnTo>
                      <a:pt x="2787525" y="12699"/>
                    </a:lnTo>
                    <a:lnTo>
                      <a:pt x="2788821" y="17779"/>
                    </a:lnTo>
                    <a:lnTo>
                      <a:pt x="2794005" y="25399"/>
                    </a:lnTo>
                    <a:lnTo>
                      <a:pt x="2794005" y="38099"/>
                    </a:lnTo>
                    <a:lnTo>
                      <a:pt x="2802646" y="25399"/>
                    </a:lnTo>
                    <a:lnTo>
                      <a:pt x="2796166" y="12699"/>
                    </a:lnTo>
                    <a:close/>
                  </a:path>
                  <a:path w="3439795" h="1447800">
                    <a:moveTo>
                      <a:pt x="2809127" y="25399"/>
                    </a:moveTo>
                    <a:lnTo>
                      <a:pt x="2808042" y="26675"/>
                    </a:lnTo>
                    <a:lnTo>
                      <a:pt x="2817678" y="38099"/>
                    </a:lnTo>
                    <a:lnTo>
                      <a:pt x="2809127" y="25399"/>
                    </a:lnTo>
                    <a:close/>
                  </a:path>
                  <a:path w="3439795" h="1447800">
                    <a:moveTo>
                      <a:pt x="2809127" y="25399"/>
                    </a:moveTo>
                    <a:lnTo>
                      <a:pt x="2817678" y="38099"/>
                    </a:lnTo>
                    <a:lnTo>
                      <a:pt x="2824158" y="38099"/>
                    </a:lnTo>
                    <a:lnTo>
                      <a:pt x="2809127" y="25399"/>
                    </a:lnTo>
                    <a:close/>
                  </a:path>
                  <a:path w="3439795" h="1447800">
                    <a:moveTo>
                      <a:pt x="2813447" y="0"/>
                    </a:moveTo>
                    <a:lnTo>
                      <a:pt x="2809127" y="0"/>
                    </a:lnTo>
                    <a:lnTo>
                      <a:pt x="2796166" y="12699"/>
                    </a:lnTo>
                    <a:lnTo>
                      <a:pt x="2802646" y="25399"/>
                    </a:lnTo>
                    <a:lnTo>
                      <a:pt x="2809127" y="25399"/>
                    </a:lnTo>
                    <a:lnTo>
                      <a:pt x="2824158" y="38099"/>
                    </a:lnTo>
                    <a:lnTo>
                      <a:pt x="2811287" y="25399"/>
                    </a:lnTo>
                    <a:lnTo>
                      <a:pt x="2813447" y="12699"/>
                    </a:lnTo>
                    <a:lnTo>
                      <a:pt x="2813447" y="0"/>
                    </a:lnTo>
                    <a:close/>
                  </a:path>
                  <a:path w="3439795" h="1447800">
                    <a:moveTo>
                      <a:pt x="2813447" y="12699"/>
                    </a:moveTo>
                    <a:lnTo>
                      <a:pt x="2811287" y="25399"/>
                    </a:lnTo>
                    <a:lnTo>
                      <a:pt x="2824158" y="38099"/>
                    </a:lnTo>
                    <a:lnTo>
                      <a:pt x="2828479" y="25399"/>
                    </a:lnTo>
                    <a:lnTo>
                      <a:pt x="2813447" y="25399"/>
                    </a:lnTo>
                    <a:lnTo>
                      <a:pt x="2813447" y="12699"/>
                    </a:lnTo>
                    <a:close/>
                  </a:path>
                  <a:path w="3439795" h="1447800">
                    <a:moveTo>
                      <a:pt x="2784035" y="14653"/>
                    </a:moveTo>
                    <a:lnTo>
                      <a:pt x="2776724" y="25399"/>
                    </a:lnTo>
                    <a:lnTo>
                      <a:pt x="2778884" y="25399"/>
                    </a:lnTo>
                    <a:lnTo>
                      <a:pt x="2785365" y="34924"/>
                    </a:lnTo>
                    <a:lnTo>
                      <a:pt x="2785365" y="17779"/>
                    </a:lnTo>
                    <a:lnTo>
                      <a:pt x="2784035" y="14653"/>
                    </a:lnTo>
                    <a:close/>
                  </a:path>
                  <a:path w="3439795" h="1447800">
                    <a:moveTo>
                      <a:pt x="2785365" y="12699"/>
                    </a:moveTo>
                    <a:lnTo>
                      <a:pt x="2785365" y="17779"/>
                    </a:lnTo>
                    <a:lnTo>
                      <a:pt x="2791605" y="32455"/>
                    </a:lnTo>
                    <a:lnTo>
                      <a:pt x="2792154" y="30842"/>
                    </a:lnTo>
                    <a:lnTo>
                      <a:pt x="2788821" y="17779"/>
                    </a:lnTo>
                    <a:lnTo>
                      <a:pt x="2785365" y="12699"/>
                    </a:lnTo>
                    <a:close/>
                  </a:path>
                  <a:path w="3439795" h="1447800">
                    <a:moveTo>
                      <a:pt x="2788821" y="17779"/>
                    </a:moveTo>
                    <a:lnTo>
                      <a:pt x="2792154" y="30842"/>
                    </a:lnTo>
                    <a:lnTo>
                      <a:pt x="2794005" y="25399"/>
                    </a:lnTo>
                    <a:lnTo>
                      <a:pt x="2788821" y="17779"/>
                    </a:lnTo>
                    <a:close/>
                  </a:path>
                  <a:path w="3439795" h="1447800">
                    <a:moveTo>
                      <a:pt x="2809127" y="25399"/>
                    </a:moveTo>
                    <a:lnTo>
                      <a:pt x="2806967" y="25399"/>
                    </a:lnTo>
                    <a:lnTo>
                      <a:pt x="2808042" y="26675"/>
                    </a:lnTo>
                    <a:lnTo>
                      <a:pt x="2809127" y="25399"/>
                    </a:lnTo>
                    <a:close/>
                  </a:path>
                  <a:path w="3439795" h="1447800">
                    <a:moveTo>
                      <a:pt x="2783204" y="12699"/>
                    </a:moveTo>
                    <a:lnTo>
                      <a:pt x="2776724" y="12699"/>
                    </a:lnTo>
                    <a:lnTo>
                      <a:pt x="2776724" y="25399"/>
                    </a:lnTo>
                    <a:lnTo>
                      <a:pt x="2784035" y="14653"/>
                    </a:lnTo>
                    <a:lnTo>
                      <a:pt x="2783204" y="12699"/>
                    </a:lnTo>
                    <a:close/>
                  </a:path>
                  <a:path w="3439795" h="1447800">
                    <a:moveTo>
                      <a:pt x="2813447" y="12699"/>
                    </a:moveTo>
                    <a:lnTo>
                      <a:pt x="2813447" y="25399"/>
                    </a:lnTo>
                    <a:lnTo>
                      <a:pt x="2815518" y="25399"/>
                    </a:lnTo>
                    <a:lnTo>
                      <a:pt x="2814549" y="13513"/>
                    </a:lnTo>
                    <a:lnTo>
                      <a:pt x="2813447" y="12699"/>
                    </a:lnTo>
                    <a:close/>
                  </a:path>
                  <a:path w="3439795" h="1447800">
                    <a:moveTo>
                      <a:pt x="2814549" y="13513"/>
                    </a:moveTo>
                    <a:lnTo>
                      <a:pt x="2815518" y="25399"/>
                    </a:lnTo>
                    <a:lnTo>
                      <a:pt x="2819838" y="25399"/>
                    </a:lnTo>
                    <a:lnTo>
                      <a:pt x="2819838" y="17420"/>
                    </a:lnTo>
                    <a:lnTo>
                      <a:pt x="2814549" y="13513"/>
                    </a:lnTo>
                    <a:close/>
                  </a:path>
                  <a:path w="3439795" h="1447800">
                    <a:moveTo>
                      <a:pt x="2819838" y="17420"/>
                    </a:moveTo>
                    <a:lnTo>
                      <a:pt x="2819838" y="25399"/>
                    </a:lnTo>
                    <a:lnTo>
                      <a:pt x="2821998" y="25399"/>
                    </a:lnTo>
                    <a:lnTo>
                      <a:pt x="2824889" y="21151"/>
                    </a:lnTo>
                    <a:lnTo>
                      <a:pt x="2819838" y="17420"/>
                    </a:lnTo>
                    <a:close/>
                  </a:path>
                  <a:path w="3439795" h="1447800">
                    <a:moveTo>
                      <a:pt x="2824889" y="21151"/>
                    </a:moveTo>
                    <a:lnTo>
                      <a:pt x="2821998" y="25399"/>
                    </a:lnTo>
                    <a:lnTo>
                      <a:pt x="2830639" y="25399"/>
                    </a:lnTo>
                    <a:lnTo>
                      <a:pt x="2824889" y="21151"/>
                    </a:lnTo>
                    <a:close/>
                  </a:path>
                  <a:path w="3439795" h="1447800">
                    <a:moveTo>
                      <a:pt x="2830639" y="12699"/>
                    </a:moveTo>
                    <a:lnTo>
                      <a:pt x="2824889" y="21151"/>
                    </a:lnTo>
                    <a:lnTo>
                      <a:pt x="2830639" y="25399"/>
                    </a:lnTo>
                    <a:lnTo>
                      <a:pt x="2830639" y="12699"/>
                    </a:lnTo>
                    <a:close/>
                  </a:path>
                  <a:path w="3439795" h="1447800">
                    <a:moveTo>
                      <a:pt x="2821998" y="0"/>
                    </a:moveTo>
                    <a:lnTo>
                      <a:pt x="2819838" y="0"/>
                    </a:lnTo>
                    <a:lnTo>
                      <a:pt x="2819838" y="17420"/>
                    </a:lnTo>
                    <a:lnTo>
                      <a:pt x="2824889" y="21151"/>
                    </a:lnTo>
                    <a:lnTo>
                      <a:pt x="2830639" y="12699"/>
                    </a:lnTo>
                    <a:lnTo>
                      <a:pt x="2821998" y="0"/>
                    </a:lnTo>
                    <a:close/>
                  </a:path>
                  <a:path w="3439795" h="1447800">
                    <a:moveTo>
                      <a:pt x="2785365" y="12699"/>
                    </a:moveTo>
                    <a:lnTo>
                      <a:pt x="2784035" y="14653"/>
                    </a:lnTo>
                    <a:lnTo>
                      <a:pt x="2785365" y="17779"/>
                    </a:lnTo>
                    <a:lnTo>
                      <a:pt x="2785365" y="12699"/>
                    </a:lnTo>
                    <a:close/>
                  </a:path>
                  <a:path w="3439795" h="1447800">
                    <a:moveTo>
                      <a:pt x="2787525" y="12699"/>
                    </a:moveTo>
                    <a:lnTo>
                      <a:pt x="2785365" y="12699"/>
                    </a:lnTo>
                    <a:lnTo>
                      <a:pt x="2788821" y="17779"/>
                    </a:lnTo>
                    <a:lnTo>
                      <a:pt x="2787525" y="12699"/>
                    </a:lnTo>
                    <a:close/>
                  </a:path>
                  <a:path w="3439795" h="1447800">
                    <a:moveTo>
                      <a:pt x="2819838" y="0"/>
                    </a:moveTo>
                    <a:lnTo>
                      <a:pt x="2813447" y="0"/>
                    </a:lnTo>
                    <a:lnTo>
                      <a:pt x="2814549" y="13513"/>
                    </a:lnTo>
                    <a:lnTo>
                      <a:pt x="2819838" y="17420"/>
                    </a:lnTo>
                    <a:lnTo>
                      <a:pt x="2819838" y="0"/>
                    </a:lnTo>
                    <a:close/>
                  </a:path>
                  <a:path w="3439795" h="1447800">
                    <a:moveTo>
                      <a:pt x="2785365" y="12699"/>
                    </a:moveTo>
                    <a:lnTo>
                      <a:pt x="2783204" y="12699"/>
                    </a:lnTo>
                    <a:lnTo>
                      <a:pt x="2784035" y="14653"/>
                    </a:lnTo>
                    <a:lnTo>
                      <a:pt x="2785365" y="12699"/>
                    </a:lnTo>
                    <a:close/>
                  </a:path>
                  <a:path w="3439795" h="1447800">
                    <a:moveTo>
                      <a:pt x="2813447" y="0"/>
                    </a:moveTo>
                    <a:lnTo>
                      <a:pt x="2813447" y="12699"/>
                    </a:lnTo>
                    <a:lnTo>
                      <a:pt x="2814549" y="13513"/>
                    </a:lnTo>
                    <a:lnTo>
                      <a:pt x="2813447" y="0"/>
                    </a:lnTo>
                    <a:close/>
                  </a:path>
                  <a:path w="3439795" h="1447800">
                    <a:moveTo>
                      <a:pt x="2830639" y="0"/>
                    </a:moveTo>
                    <a:lnTo>
                      <a:pt x="2821998" y="0"/>
                    </a:lnTo>
                    <a:lnTo>
                      <a:pt x="2830639" y="12699"/>
                    </a:lnTo>
                    <a:lnTo>
                      <a:pt x="2830639" y="0"/>
                    </a:lnTo>
                    <a:close/>
                  </a:path>
                </a:pathLst>
              </a:custGeom>
              <a:solidFill>
                <a:srgbClr val="838281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2" name="object 35"/>
              <p:cNvSpPr/>
              <p:nvPr/>
            </p:nvSpPr>
            <p:spPr>
              <a:xfrm>
                <a:off x="4340865" y="2275927"/>
                <a:ext cx="5384004" cy="3095998"/>
              </a:xfrm>
              <a:prstGeom prst="rect">
                <a:avLst/>
              </a:prstGeom>
              <a:blipFill>
                <a:blip r:embed="rId1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83" name="Скругленный прямоугольник 82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0751555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1468926" y="747970"/>
            <a:ext cx="7675074" cy="460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ры государственной поддержк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74035" y="1523353"/>
            <a:ext cx="4516108" cy="3462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>
            <a:defPPr>
              <a:defRPr lang="ru-RU"/>
            </a:defPPr>
            <a:lvl1pPr>
              <a:defRPr sz="1800" b="1" i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Из бюджета Республики Татарстан: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52610" y="1961321"/>
            <a:ext cx="6969620" cy="584773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180975" indent="-180975" algn="just">
              <a:buFont typeface="Arial" pitchFamily="34" charset="0"/>
              <a:buChar char="•"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техническое перевооружение объектов мелиорации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b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ключая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истему капельного орошения (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70%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фин. обеспечение)</a:t>
            </a:r>
          </a:p>
        </p:txBody>
      </p:sp>
      <p:pic>
        <p:nvPicPr>
          <p:cNvPr id="13" name="Picture 8" descr="C:\Users\User\Desktop\ПИСЦОВ\IMG_5756.JPG"/>
          <p:cNvPicPr>
            <a:picLocks noChangeAspect="1" noChangeArrowheads="1"/>
          </p:cNvPicPr>
          <p:nvPr/>
        </p:nvPicPr>
        <p:blipFill>
          <a:blip r:embed="rId2" cstate="screen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046" y="3497413"/>
            <a:ext cx="2278162" cy="1646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9" descr="F:\ФОТО ОБЪЕКТОВ 2018г\70 на 30\ДАВЛЕТШИН\КФХ Давлетшин\IMG_4075-20-07-18-10-04.JPG"/>
          <p:cNvPicPr>
            <a:picLocks noChangeAspect="1" noChangeArrowheads="1"/>
          </p:cNvPicPr>
          <p:nvPr/>
        </p:nvPicPr>
        <p:blipFill>
          <a:blip r:embed="rId3" cstate="screen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31906" y="1333979"/>
            <a:ext cx="1512094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4" descr="C:\Users\User\Desktop\ФОТО ОБЪЕКТОВ 2019г\2.КАПЕЛЬНОЕ ОРОШЕНИЕ\Давлетшина буинск\IMG-20190711-WA0027.jpeg"/>
          <p:cNvPicPr>
            <a:picLocks noChangeAspect="1" noChangeArrowheads="1"/>
          </p:cNvPicPr>
          <p:nvPr/>
        </p:nvPicPr>
        <p:blipFill>
          <a:blip r:embed="rId4" cstate="screen">
            <a:lum bright="10000" contras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5102" y="3497360"/>
            <a:ext cx="2653355" cy="1646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692655" y="2701703"/>
            <a:ext cx="6607065" cy="577081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ru-RU" sz="1500" b="1" dirty="0">
                <a:latin typeface="Arial" pitchFamily="34" charset="0"/>
                <a:cs typeface="Arial" pitchFamily="34" charset="0"/>
              </a:rPr>
              <a:t>В 2019 году в 39 хозяйствах республики закуплена мелиоративная </a:t>
            </a:r>
          </a:p>
          <a:p>
            <a:r>
              <a:rPr lang="ru-RU" sz="1500" b="1" dirty="0">
                <a:latin typeface="Arial" pitchFamily="34" charset="0"/>
                <a:cs typeface="Arial" pitchFamily="34" charset="0"/>
              </a:rPr>
              <a:t>техника, включая капельное орошение, на сумму </a:t>
            </a:r>
            <a:r>
              <a:rPr lang="ru-RU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98,1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500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500" b="1" strike="sngStrike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4" name="Picture 15" descr="C:\Users\User\Desktop\ФОТО ОБЪЕКТОВ 2019г\2.КАПЕЛЬНОЕ ОРОШЕНИЕ\Давлетшина буинск\IMG-20190711-WA0063.jpeg"/>
          <p:cNvPicPr>
            <a:picLocks noChangeAspect="1" noChangeArrowheads="1"/>
          </p:cNvPicPr>
          <p:nvPr/>
        </p:nvPicPr>
        <p:blipFill rotWithShape="1">
          <a:blip r:embed="rId5" cstate="screen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894330" y="3497360"/>
            <a:ext cx="1620441" cy="1646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79015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2562" y="3523864"/>
            <a:ext cx="3131438" cy="16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46046" y="1894581"/>
            <a:ext cx="8217588" cy="353941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257175" indent="-257175" algn="just">
              <a:buFont typeface="Arial" pitchFamily="34" charset="0"/>
              <a:buChar char="•"/>
            </a:pPr>
            <a:r>
              <a:rPr lang="ru-RU" sz="1700" b="1" dirty="0">
                <a:latin typeface="Arial" panose="020B0604020202020204" pitchFamily="34" charset="0"/>
                <a:cs typeface="Arial" panose="020B0604020202020204" pitchFamily="34" charset="0"/>
              </a:rPr>
              <a:t>капитальный ремонт ГТС (</a:t>
            </a:r>
            <a:r>
              <a:rPr 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70% </a:t>
            </a:r>
            <a:r>
              <a:rPr lang="ru-RU" sz="1700" b="1" dirty="0">
                <a:latin typeface="Arial" panose="020B0604020202020204" pitchFamily="34" charset="0"/>
                <a:cs typeface="Arial" panose="020B0604020202020204" pitchFamily="34" charset="0"/>
              </a:rPr>
              <a:t>от затрат без учета НДС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787577" y="2366511"/>
            <a:ext cx="7925375" cy="3462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ru-RU" sz="1500" b="1" dirty="0" smtClean="0">
                <a:latin typeface="Arial" pitchFamily="34" charset="0"/>
                <a:cs typeface="Arial" pitchFamily="34" charset="0"/>
              </a:rPr>
              <a:t>В 2019 году проведен капитальный ремонт на </a:t>
            </a:r>
            <a:r>
              <a:rPr lang="ru-RU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30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 объектах на 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сумму </a:t>
            </a:r>
            <a:r>
              <a:rPr lang="ru-RU" sz="18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05,0</a:t>
            </a:r>
            <a:r>
              <a:rPr lang="ru-RU" sz="1500" b="1" dirty="0" smtClean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500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1500" b="1" strike="sngStrike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855" y="3523500"/>
            <a:ext cx="2333744" cy="16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3"/>
          <p:cNvSpPr>
            <a:spLocks noChangeArrowheads="1"/>
          </p:cNvSpPr>
          <p:nvPr/>
        </p:nvSpPr>
        <p:spPr bwMode="auto">
          <a:xfrm>
            <a:off x="794251" y="2784948"/>
            <a:ext cx="8069422" cy="577081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bg1">
                <a:alpha val="50000"/>
              </a:schemeClr>
            </a:outerShdw>
          </a:effectLst>
        </p:spPr>
        <p:txBody>
          <a:bodyPr wrap="square" lIns="68580" tIns="34290" rIns="68580" bIns="34290" anchor="ctr">
            <a:spAutoFit/>
          </a:bodyPr>
          <a:lstStyle/>
          <a:p>
            <a:pPr indent="64294" algn="ctr">
              <a:tabLst>
                <a:tab pos="202406" algn="l"/>
              </a:tabLst>
              <a:defRPr/>
            </a:pPr>
            <a:r>
              <a:rPr lang="ru-RU" sz="1500" b="1" dirty="0">
                <a:latin typeface="Arial" pitchFamily="34" charset="0"/>
                <a:cs typeface="Arial" pitchFamily="34" charset="0"/>
              </a:rPr>
              <a:t>Всего за последние 5 лет по президентской программе капремонта прудов восстановлено более </a:t>
            </a:r>
            <a:r>
              <a:rPr lang="ru-RU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480</a:t>
            </a:r>
            <a:r>
              <a:rPr lang="ru-RU" sz="1500" b="1" dirty="0">
                <a:latin typeface="Arial" pitchFamily="34" charset="0"/>
                <a:cs typeface="Arial" pitchFamily="34" charset="0"/>
              </a:rPr>
              <a:t> ГТС</a:t>
            </a:r>
          </a:p>
        </p:txBody>
      </p:sp>
      <p:pic>
        <p:nvPicPr>
          <p:cNvPr id="26" name="Рисунок 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06030" y="3529956"/>
            <a:ext cx="2674474" cy="16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Прямоугольник 28"/>
          <p:cNvSpPr/>
          <p:nvPr/>
        </p:nvSpPr>
        <p:spPr>
          <a:xfrm>
            <a:off x="1468926" y="747970"/>
            <a:ext cx="7675074" cy="460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ры государственной поддержки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74035" y="1523353"/>
            <a:ext cx="4516108" cy="3462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>
            <a:defPPr>
              <a:defRPr lang="ru-RU"/>
            </a:defPPr>
            <a:lvl1pPr>
              <a:defRPr sz="1800" b="1" i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Из бюджета Республики Татарстан:</a:t>
            </a:r>
          </a:p>
        </p:txBody>
      </p:sp>
    </p:spTree>
    <p:extLst>
      <p:ext uri="{BB962C8B-B14F-4D97-AF65-F5344CB8AC3E}">
        <p14:creationId xmlns:p14="http://schemas.microsoft.com/office/powerpoint/2010/main" val="32923356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0" descr="водо башня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02435" y="978021"/>
            <a:ext cx="1341565" cy="4165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26024" y="2041409"/>
            <a:ext cx="6889528" cy="646329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257175" indent="-257175" algn="just">
              <a:buFont typeface="Arial" pitchFamily="34" charset="0"/>
              <a:buChar char="•"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на проведение мелиоративных работ по строительству систем водоснабжения (</a:t>
            </a:r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90% 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от затрат без учета НДС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813239" y="3090420"/>
            <a:ext cx="6148215" cy="136191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В 2019 году построено всего 26 объектов </a:t>
            </a:r>
            <a:br>
              <a:rPr lang="ru-RU" sz="1800" b="1" dirty="0" smtClean="0">
                <a:latin typeface="Arial" pitchFamily="34" charset="0"/>
                <a:cs typeface="Arial" pitchFamily="34" charset="0"/>
              </a:rPr>
            </a:b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на сумму </a:t>
            </a:r>
            <a:r>
              <a:rPr lang="ru-RU" sz="20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27,7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1800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:</a:t>
            </a:r>
          </a:p>
          <a:p>
            <a:pPr marL="214313" indent="-214313">
              <a:spcAft>
                <a:spcPts val="600"/>
              </a:spcAft>
              <a:buFontTx/>
              <a:buChar char="-"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22 скважины,</a:t>
            </a:r>
          </a:p>
          <a:p>
            <a:pPr marL="214313" indent="-214313">
              <a:spcAft>
                <a:spcPts val="600"/>
              </a:spcAft>
              <a:buFontTx/>
              <a:buChar char="-"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9 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водонапорных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башен</a:t>
            </a:r>
            <a:endParaRPr lang="ru-RU" sz="1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468926" y="747970"/>
            <a:ext cx="7675074" cy="460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ры государственной поддержки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74035" y="1523353"/>
            <a:ext cx="4516108" cy="3462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>
            <a:defPPr>
              <a:defRPr lang="ru-RU"/>
            </a:defPPr>
            <a:lvl1pPr>
              <a:defRPr sz="1800" b="1" i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Из бюджета Республики Татарстан:</a:t>
            </a:r>
          </a:p>
        </p:txBody>
      </p:sp>
    </p:spTree>
    <p:extLst>
      <p:ext uri="{BB962C8B-B14F-4D97-AF65-F5344CB8AC3E}">
        <p14:creationId xmlns:p14="http://schemas.microsoft.com/office/powerpoint/2010/main" val="32923356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8" descr="G:\Чулпан\Капельное орошение н 2019 год (от 16.08.2019)\2019\ООО ТоймаФэнзиль Галиев\IMG_0337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6600" y="3021732"/>
            <a:ext cx="3207400" cy="2126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46046" y="1874559"/>
            <a:ext cx="8217588" cy="369330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257175" indent="-257175" algn="just">
              <a:buFont typeface="Arial" pitchFamily="34" charset="0"/>
              <a:buChar char="•"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на приобретение модульных теплиц (</a:t>
            </a:r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50% 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от затрат без учета НДС)</a:t>
            </a:r>
          </a:p>
        </p:txBody>
      </p:sp>
      <p:pic>
        <p:nvPicPr>
          <p:cNvPr id="7170" name="Picture 2" descr="R:\2020\САДЫ\выступление Ягодный союз\модульные\IMG_20190912_140816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572699" y="3275047"/>
            <a:ext cx="2126630" cy="16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1" name="Picture 3" descr="R:\2020\САДЫ\выступление Ягодный союз\модульные\IMG-20190925-WA0027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07979" y="3021732"/>
            <a:ext cx="3216785" cy="2122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746046" y="2453900"/>
            <a:ext cx="8217588" cy="369329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just"/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В 2019 году введено в эксплуатацию 7 га модульных теплиц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468926" y="747970"/>
            <a:ext cx="7675074" cy="460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еры государственной поддержки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74035" y="1523353"/>
            <a:ext cx="4516108" cy="3462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>
            <a:defPPr>
              <a:defRPr lang="ru-RU"/>
            </a:defPPr>
            <a:lvl1pPr>
              <a:defRPr sz="1800" b="1" i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Из бюджета Республики Татарстан:</a:t>
            </a:r>
          </a:p>
        </p:txBody>
      </p:sp>
    </p:spTree>
    <p:extLst>
      <p:ext uri="{BB962C8B-B14F-4D97-AF65-F5344CB8AC3E}">
        <p14:creationId xmlns:p14="http://schemas.microsoft.com/office/powerpoint/2010/main" val="32923356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62249" y="741300"/>
            <a:ext cx="7241236" cy="5201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витие орошения в Республике Татарстан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46533" y="1468822"/>
            <a:ext cx="7962138" cy="3370153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2000" b="1" i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За последние 10 лет:</a:t>
            </a:r>
          </a:p>
          <a:p>
            <a:endParaRPr lang="ru-RU" sz="1050" b="1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800" b="1" dirty="0">
                <a:latin typeface="Arial" pitchFamily="34" charset="0"/>
                <a:cs typeface="Arial" pitchFamily="34" charset="0"/>
              </a:rPr>
              <a:t>построено и реконструировано 32,6 </a:t>
            </a:r>
            <a:r>
              <a:rPr lang="ru-RU" sz="1800" b="1" dirty="0" err="1" smtClean="0">
                <a:latin typeface="Arial" pitchFamily="34" charset="0"/>
                <a:cs typeface="Arial" pitchFamily="34" charset="0"/>
              </a:rPr>
              <a:t>тыс.га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орошаемых земель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b="1" dirty="0" smtClean="0">
                <a:latin typeface="Arial" pitchFamily="34" charset="0"/>
                <a:cs typeface="Arial" pitchFamily="34" charset="0"/>
              </a:rPr>
            </a:b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в 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213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хозяйствах;</a:t>
            </a:r>
            <a:endParaRPr lang="ru-RU" sz="1800" b="1" dirty="0"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800" b="1" dirty="0">
                <a:latin typeface="Arial" pitchFamily="34" charset="0"/>
                <a:cs typeface="Arial" pitchFamily="34" charset="0"/>
              </a:rPr>
              <a:t>отремонтировано 554 гидротехнических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сооружений;</a:t>
            </a:r>
            <a:endParaRPr lang="ru-RU" sz="1800" b="1" dirty="0"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800" b="1" dirty="0">
                <a:latin typeface="Arial" pitchFamily="34" charset="0"/>
                <a:cs typeface="Arial" pitchFamily="34" charset="0"/>
              </a:rPr>
              <a:t>проложено 196,6 км магистральных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трубопроводов;</a:t>
            </a:r>
            <a:endParaRPr lang="ru-RU" sz="1800" b="1" dirty="0"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800" b="1" dirty="0">
                <a:latin typeface="Arial" pitchFamily="34" charset="0"/>
                <a:cs typeface="Arial" pitchFamily="34" charset="0"/>
              </a:rPr>
              <a:t>проведено техническое перевооружение объектов мелиорации на 13 </a:t>
            </a:r>
            <a:r>
              <a:rPr lang="ru-RU" sz="1800" b="1" dirty="0" err="1">
                <a:latin typeface="Arial" pitchFamily="34" charset="0"/>
                <a:cs typeface="Arial" pitchFamily="34" charset="0"/>
              </a:rPr>
              <a:t>тыс.га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площади;</a:t>
            </a:r>
            <a:endParaRPr lang="ru-RU" sz="1800" b="1" dirty="0"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800" b="1" dirty="0">
                <a:latin typeface="Arial" pitchFamily="34" charset="0"/>
                <a:cs typeface="Arial" pitchFamily="34" charset="0"/>
              </a:rPr>
              <a:t>закуплено 414 оросительной техники, 95 систем капельного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орошения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88282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1462280" y="644311"/>
            <a:ext cx="7241236" cy="4836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sz="2100" b="1" dirty="0" err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ягодоводы</a:t>
            </a: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Республики Татарстан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546376"/>
              </p:ext>
            </p:extLst>
          </p:nvPr>
        </p:nvGraphicFramePr>
        <p:xfrm>
          <a:off x="760056" y="1125537"/>
          <a:ext cx="8163535" cy="3886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967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20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18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628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567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Хозяйство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айон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ощадь ягодников, га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ультура 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5676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ООО "</a:t>
                      </a:r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Ягодная Долина"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Альметьевск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88,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черная смородина, малина, земляника садовая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49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КФХ "Шавалеева Э.Р"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Буинский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63,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мородина черная, малина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5676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СПК "</a:t>
                      </a:r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Деревня"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Альметьевск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8,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мородина, малина, </a:t>
                      </a:r>
                      <a:r>
                        <a:rPr lang="ru-RU" sz="13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ru-RU" sz="13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3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земляника </a:t>
                      </a:r>
                      <a:r>
                        <a:rPr lang="ru-RU" sz="13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адовая, ежевика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3514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ООО </a:t>
                      </a:r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АФ </a:t>
                      </a:r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"Заря"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Верхнеуслонск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7,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алина, смородина,  черноплодная рябина, </a:t>
                      </a:r>
                      <a:r>
                        <a:rPr lang="ru-RU" sz="13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ru-RU" sz="13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3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земляника садовая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349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ОАО Масловский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Р.Слободск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6,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алина, земляника садовая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349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ПК Чишма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Н.Шешминск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4,0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облепиха</a:t>
                      </a:r>
                      <a:endParaRPr lang="ru-RU" sz="13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349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КФХ Володин </a:t>
                      </a:r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Н.В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Р.Слободск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4,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мородина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8349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КФХ </a:t>
                      </a:r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Хайруллин А.И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Дрожжановск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7,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алина, земляника садовая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5676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КФХ Писцов М.М.  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Мамадышск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4,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алина, смородина, </a:t>
                      </a:r>
                      <a:r>
                        <a:rPr lang="ru-RU" sz="13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ru-RU" sz="13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3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земляника </a:t>
                      </a:r>
                      <a:r>
                        <a:rPr lang="ru-RU" sz="13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адовая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8349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КФХ Мустафин Р.С.   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Мамадышск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,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земляника садовая</a:t>
                      </a:r>
                      <a:endParaRPr lang="ru-RU" sz="13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349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КФХ</a:t>
                      </a:r>
                      <a:r>
                        <a:rPr lang="ru-RU" sz="1400" b="1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Усманов </a:t>
                      </a:r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Т.А</a:t>
                      </a:r>
                      <a:r>
                        <a:rPr lang="ru-RU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Высокогорск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,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276" marR="627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мородина, малина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97370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77846" y="3284244"/>
            <a:ext cx="1866155" cy="1866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75600" y="767999"/>
            <a:ext cx="7668399" cy="642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ерспективы развития </a:t>
            </a: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лодово-ягодной отрасли </a:t>
            </a:r>
            <a:b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Республике Татарстан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35568" y="1625331"/>
            <a:ext cx="7973102" cy="283923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ru-RU" sz="1800" b="1" dirty="0">
                <a:latin typeface="Arial" pitchFamily="34" charset="0"/>
                <a:cs typeface="Arial" pitchFamily="34" charset="0"/>
              </a:rPr>
              <a:t>Потребность населения Республики Татарстан в плодово-ягодной </a:t>
            </a:r>
            <a:br>
              <a:rPr lang="ru-RU" sz="1800" b="1" dirty="0">
                <a:latin typeface="Arial" pitchFamily="34" charset="0"/>
                <a:cs typeface="Arial" pitchFamily="34" charset="0"/>
              </a:rPr>
            </a:br>
            <a:r>
              <a:rPr lang="ru-RU" sz="1800" b="1" dirty="0">
                <a:latin typeface="Arial" pitchFamily="34" charset="0"/>
                <a:cs typeface="Arial" pitchFamily="34" charset="0"/>
              </a:rPr>
              <a:t>продукции –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429,0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latin typeface="Arial" pitchFamily="34" charset="0"/>
                <a:cs typeface="Arial" pitchFamily="34" charset="0"/>
              </a:rPr>
              <a:t>тыс.тн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.</a:t>
            </a:r>
            <a:endParaRPr lang="ru-RU" sz="1800" b="1" dirty="0">
              <a:latin typeface="Arial" pitchFamily="34" charset="0"/>
              <a:cs typeface="Arial" pitchFamily="34" charset="0"/>
            </a:endParaRPr>
          </a:p>
          <a:p>
            <a:pPr algn="just">
              <a:spcAft>
                <a:spcPts val="1200"/>
              </a:spcAft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Обеспеченность 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собственной плодово-ягодной продукцией –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25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%.</a:t>
            </a:r>
            <a:endParaRPr lang="ru-RU" sz="1800" b="1" dirty="0">
              <a:latin typeface="Arial" pitchFamily="34" charset="0"/>
              <a:cs typeface="Arial" pitchFamily="34" charset="0"/>
            </a:endParaRPr>
          </a:p>
          <a:p>
            <a:pPr algn="just">
              <a:spcAft>
                <a:spcPts val="1200"/>
              </a:spcAft>
            </a:pPr>
            <a:r>
              <a:rPr lang="ru-RU" sz="1800" b="1" dirty="0">
                <a:latin typeface="Arial" pitchFamily="34" charset="0"/>
                <a:cs typeface="Arial" pitchFamily="34" charset="0"/>
              </a:rPr>
              <a:t>Дефицит – 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320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 smtClean="0">
                <a:latin typeface="Arial" pitchFamily="34" charset="0"/>
                <a:cs typeface="Arial" pitchFamily="34" charset="0"/>
              </a:rPr>
              <a:t>тыс.тн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(75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%).</a:t>
            </a:r>
            <a:endParaRPr lang="ru-RU" sz="1800" b="1" dirty="0">
              <a:latin typeface="Arial" pitchFamily="34" charset="0"/>
              <a:cs typeface="Arial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Рынок 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способен поглотить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b="1" dirty="0" smtClean="0">
                <a:latin typeface="Arial" pitchFamily="34" charset="0"/>
                <a:cs typeface="Arial" pitchFamily="34" charset="0"/>
              </a:rPr>
            </a:b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трехкратное 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увеличение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b="1" dirty="0" smtClean="0">
                <a:latin typeface="Arial" pitchFamily="34" charset="0"/>
                <a:cs typeface="Arial" pitchFamily="34" charset="0"/>
              </a:rPr>
            </a:b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производства 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/>
            </a:r>
            <a:br>
              <a:rPr lang="ru-RU" sz="1800" b="1" dirty="0">
                <a:latin typeface="Arial" pitchFamily="34" charset="0"/>
                <a:cs typeface="Arial" pitchFamily="34" charset="0"/>
              </a:rPr>
            </a:br>
            <a:r>
              <a:rPr lang="ru-RU" sz="1800" b="1" dirty="0">
                <a:latin typeface="Arial" pitchFamily="34" charset="0"/>
                <a:cs typeface="Arial" pitchFamily="34" charset="0"/>
              </a:rPr>
              <a:t>плодово-ягодной отрасли</a:t>
            </a:r>
          </a:p>
        </p:txBody>
      </p:sp>
      <p:pic>
        <p:nvPicPr>
          <p:cNvPr id="17" name="Picture 5" descr="Картинки по запросу ягодная долина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3241" y="3284470"/>
            <a:ext cx="1559126" cy="1864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71650" y="3285653"/>
            <a:ext cx="1234707" cy="1864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201513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1425391" y="733545"/>
            <a:ext cx="7718609" cy="642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аловая продукция сельского хозяйства  </a:t>
            </a:r>
          </a:p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спублики Татарстан, млрд </a:t>
            </a:r>
            <a:r>
              <a:rPr lang="ru-RU" sz="2100" b="1" strike="sngStrike" dirty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</a:t>
            </a:r>
          </a:p>
        </p:txBody>
      </p:sp>
      <p:sp>
        <p:nvSpPr>
          <p:cNvPr id="43" name="object 3"/>
          <p:cNvSpPr/>
          <p:nvPr/>
        </p:nvSpPr>
        <p:spPr>
          <a:xfrm>
            <a:off x="714502" y="4122052"/>
            <a:ext cx="8430990" cy="10219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"/>
          <p:cNvSpPr/>
          <p:nvPr/>
        </p:nvSpPr>
        <p:spPr>
          <a:xfrm>
            <a:off x="3671045" y="1616198"/>
            <a:ext cx="5463228" cy="2199095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5"/>
          <p:cNvSpPr txBox="1"/>
          <p:nvPr/>
        </p:nvSpPr>
        <p:spPr>
          <a:xfrm>
            <a:off x="4199111" y="2494633"/>
            <a:ext cx="703623" cy="309219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900" b="1" spc="-8" dirty="0">
                <a:latin typeface="Arial" pitchFamily="34" charset="0"/>
                <a:cs typeface="Arial" pitchFamily="34" charset="0"/>
              </a:rPr>
              <a:t>2</a:t>
            </a:r>
            <a:r>
              <a:rPr sz="1900" b="1" spc="-71" dirty="0">
                <a:latin typeface="Arial" pitchFamily="34" charset="0"/>
                <a:cs typeface="Arial" pitchFamily="34" charset="0"/>
              </a:rPr>
              <a:t>1</a:t>
            </a:r>
            <a:r>
              <a:rPr sz="1900" b="1" spc="-8" dirty="0">
                <a:latin typeface="Arial" pitchFamily="34" charset="0"/>
                <a:cs typeface="Arial" pitchFamily="34" charset="0"/>
              </a:rPr>
              <a:t>1,8</a:t>
            </a:r>
            <a:endParaRPr sz="1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object 6"/>
          <p:cNvSpPr txBox="1"/>
          <p:nvPr/>
        </p:nvSpPr>
        <p:spPr>
          <a:xfrm>
            <a:off x="5097726" y="2107411"/>
            <a:ext cx="717661" cy="309219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900" b="1" spc="-8" dirty="0">
                <a:latin typeface="Arial" pitchFamily="34" charset="0"/>
                <a:cs typeface="Arial" pitchFamily="34" charset="0"/>
              </a:rPr>
              <a:t>229,8</a:t>
            </a:r>
            <a:endParaRPr sz="1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object 7"/>
          <p:cNvSpPr txBox="1"/>
          <p:nvPr/>
        </p:nvSpPr>
        <p:spPr>
          <a:xfrm>
            <a:off x="6099081" y="1999520"/>
            <a:ext cx="717661" cy="309219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900" b="1" spc="-8" dirty="0">
                <a:latin typeface="Arial" pitchFamily="34" charset="0"/>
                <a:cs typeface="Arial" pitchFamily="34" charset="0"/>
              </a:rPr>
              <a:t>235,3</a:t>
            </a:r>
            <a:endParaRPr sz="1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object 8"/>
          <p:cNvSpPr txBox="1"/>
          <p:nvPr/>
        </p:nvSpPr>
        <p:spPr>
          <a:xfrm>
            <a:off x="7052579" y="2167930"/>
            <a:ext cx="717661" cy="309219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900" b="1" spc="-8" dirty="0">
                <a:latin typeface="Arial" pitchFamily="34" charset="0"/>
                <a:cs typeface="Arial" pitchFamily="34" charset="0"/>
              </a:rPr>
              <a:t>226,0</a:t>
            </a:r>
            <a:endParaRPr sz="1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object 9"/>
          <p:cNvSpPr txBox="1"/>
          <p:nvPr/>
        </p:nvSpPr>
        <p:spPr>
          <a:xfrm>
            <a:off x="7999427" y="1619039"/>
            <a:ext cx="717661" cy="309219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900" b="1" spc="-8" dirty="0">
                <a:latin typeface="Arial" pitchFamily="34" charset="0"/>
                <a:cs typeface="Arial" pitchFamily="34" charset="0"/>
              </a:rPr>
              <a:t>250,9</a:t>
            </a:r>
            <a:endParaRPr sz="1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object 10"/>
          <p:cNvSpPr txBox="1"/>
          <p:nvPr/>
        </p:nvSpPr>
        <p:spPr>
          <a:xfrm>
            <a:off x="774968" y="1568258"/>
            <a:ext cx="3110984" cy="674704"/>
          </a:xfrm>
          <a:prstGeom prst="rect">
            <a:avLst/>
          </a:prstGeom>
        </p:spPr>
        <p:txBody>
          <a:bodyPr vert="horz" wrap="square" lIns="0" tIns="28099" rIns="0" bIns="0" rtlCol="0">
            <a:spAutoFit/>
          </a:bodyPr>
          <a:lstStyle/>
          <a:p>
            <a:pPr marL="535305" marR="203359" indent="-526256">
              <a:spcBef>
                <a:spcPts val="221"/>
              </a:spcBef>
            </a:pPr>
            <a:r>
              <a:rPr b="1" spc="-4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03,0% </a:t>
            </a:r>
            <a:r>
              <a:rPr b="1" dirty="0">
                <a:latin typeface="Arial" pitchFamily="34" charset="0"/>
                <a:cs typeface="Arial" pitchFamily="34" charset="0"/>
              </a:rPr>
              <a:t>- Индекс </a:t>
            </a:r>
            <a:r>
              <a:rPr b="1" dirty="0" err="1">
                <a:latin typeface="Arial" pitchFamily="34" charset="0"/>
                <a:cs typeface="Arial" pitchFamily="34" charset="0"/>
              </a:rPr>
              <a:t>производства</a:t>
            </a:r>
            <a:r>
              <a:rPr b="1" dirty="0">
                <a:latin typeface="Arial" pitchFamily="34" charset="0"/>
                <a:cs typeface="Arial" pitchFamily="34" charset="0"/>
              </a:rPr>
              <a:t> 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b="1" dirty="0" smtClean="0">
                <a:latin typeface="Arial" pitchFamily="34" charset="0"/>
                <a:cs typeface="Arial" pitchFamily="34" charset="0"/>
              </a:rPr>
            </a:br>
            <a:r>
              <a:rPr lang="ru-RU" b="1" dirty="0" smtClean="0">
                <a:latin typeface="Arial" pitchFamily="34" charset="0"/>
                <a:cs typeface="Arial" pitchFamily="34" charset="0"/>
              </a:rPr>
              <a:t>    </a:t>
            </a:r>
            <a:r>
              <a:rPr b="1" dirty="0" smtClean="0">
                <a:latin typeface="Arial" pitchFamily="34" charset="0"/>
                <a:cs typeface="Arial" pitchFamily="34" charset="0"/>
              </a:rPr>
              <a:t>в </a:t>
            </a:r>
            <a:r>
              <a:rPr b="1" spc="-4" dirty="0">
                <a:latin typeface="Arial" pitchFamily="34" charset="0"/>
                <a:cs typeface="Arial" pitchFamily="34" charset="0"/>
              </a:rPr>
              <a:t>сопоставимой</a:t>
            </a:r>
            <a:r>
              <a:rPr b="1" spc="-105" dirty="0">
                <a:latin typeface="Arial" pitchFamily="34" charset="0"/>
                <a:cs typeface="Arial" pitchFamily="34" charset="0"/>
              </a:rPr>
              <a:t> </a:t>
            </a:r>
            <a:r>
              <a:rPr b="1" dirty="0">
                <a:latin typeface="Arial" pitchFamily="34" charset="0"/>
                <a:cs typeface="Arial" pitchFamily="34" charset="0"/>
              </a:rPr>
              <a:t>оценке</a:t>
            </a:r>
            <a:endParaRPr dirty="0">
              <a:latin typeface="Arial" pitchFamily="34" charset="0"/>
              <a:cs typeface="Arial" pitchFamily="34" charset="0"/>
            </a:endParaRPr>
          </a:p>
          <a:p>
            <a:pPr marL="535305"/>
            <a:r>
              <a:rPr lang="ru-RU" b="1" dirty="0" smtClean="0">
                <a:latin typeface="Arial" pitchFamily="34" charset="0"/>
                <a:cs typeface="Arial" pitchFamily="34" charset="0"/>
              </a:rPr>
              <a:t>    </a:t>
            </a:r>
            <a:r>
              <a:rPr b="1" dirty="0" smtClean="0">
                <a:latin typeface="Arial" pitchFamily="34" charset="0"/>
                <a:cs typeface="Arial" pitchFamily="34" charset="0"/>
              </a:rPr>
              <a:t>(</a:t>
            </a:r>
            <a:r>
              <a:rPr b="1" dirty="0">
                <a:latin typeface="Arial" pitchFamily="34" charset="0"/>
                <a:cs typeface="Arial" pitchFamily="34" charset="0"/>
              </a:rPr>
              <a:t>в % к </a:t>
            </a:r>
            <a:r>
              <a:rPr b="1" spc="-4" dirty="0">
                <a:latin typeface="Arial" pitchFamily="34" charset="0"/>
                <a:cs typeface="Arial" pitchFamily="34" charset="0"/>
              </a:rPr>
              <a:t>предыдущему</a:t>
            </a:r>
            <a:r>
              <a:rPr b="1" spc="-71" dirty="0">
                <a:latin typeface="Arial" pitchFamily="34" charset="0"/>
                <a:cs typeface="Arial" pitchFamily="34" charset="0"/>
              </a:rPr>
              <a:t> </a:t>
            </a:r>
            <a:r>
              <a:rPr b="1" dirty="0" err="1">
                <a:latin typeface="Arial" pitchFamily="34" charset="0"/>
                <a:cs typeface="Arial" pitchFamily="34" charset="0"/>
              </a:rPr>
              <a:t>году</a:t>
            </a:r>
            <a:r>
              <a:rPr b="1" dirty="0" smtClean="0">
                <a:latin typeface="Arial" pitchFamily="34" charset="0"/>
                <a:cs typeface="Arial" pitchFamily="34" charset="0"/>
              </a:rPr>
              <a:t>)</a:t>
            </a:r>
            <a:endParaRPr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object 11"/>
          <p:cNvSpPr txBox="1"/>
          <p:nvPr/>
        </p:nvSpPr>
        <p:spPr>
          <a:xfrm>
            <a:off x="779605" y="2379523"/>
            <a:ext cx="3281156" cy="65594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marR="3810">
              <a:spcBef>
                <a:spcPts val="75"/>
              </a:spcBef>
            </a:pPr>
            <a:r>
              <a:rPr b="1" spc="-4" dirty="0">
                <a:latin typeface="Arial" pitchFamily="34" charset="0"/>
                <a:cs typeface="Arial" pitchFamily="34" charset="0"/>
              </a:rPr>
              <a:t>Занимая 2,2% сельхозугодий страны,  республика </a:t>
            </a:r>
            <a:r>
              <a:rPr b="1" dirty="0" err="1">
                <a:latin typeface="Arial" pitchFamily="34" charset="0"/>
                <a:cs typeface="Arial" pitchFamily="34" charset="0"/>
              </a:rPr>
              <a:t>производит</a:t>
            </a:r>
            <a:r>
              <a:rPr b="1" spc="-38" dirty="0">
                <a:latin typeface="Arial" pitchFamily="34" charset="0"/>
                <a:cs typeface="Arial" pitchFamily="34" charset="0"/>
              </a:rPr>
              <a:t> </a:t>
            </a:r>
            <a:r>
              <a:rPr b="1" spc="-4" dirty="0" smtClean="0">
                <a:latin typeface="Arial" pitchFamily="34" charset="0"/>
                <a:cs typeface="Arial" pitchFamily="34" charset="0"/>
              </a:rPr>
              <a:t>4,2%</a:t>
            </a:r>
            <a:r>
              <a:rPr lang="ru-RU" b="1" spc="-4" dirty="0" smtClean="0">
                <a:latin typeface="Arial" pitchFamily="34" charset="0"/>
                <a:cs typeface="Arial" pitchFamily="34" charset="0"/>
              </a:rPr>
              <a:t> </a:t>
            </a:r>
            <a:r>
              <a:rPr b="1" spc="-4" dirty="0" err="1" smtClean="0">
                <a:latin typeface="Arial" pitchFamily="34" charset="0"/>
                <a:cs typeface="Arial" pitchFamily="34" charset="0"/>
              </a:rPr>
              <a:t>ее</a:t>
            </a:r>
            <a:r>
              <a:rPr b="1" spc="-4" dirty="0" smtClean="0">
                <a:latin typeface="Arial" pitchFamily="34" charset="0"/>
                <a:cs typeface="Arial" pitchFamily="34" charset="0"/>
              </a:rPr>
              <a:t> </a:t>
            </a:r>
            <a:r>
              <a:rPr b="1" spc="-4" dirty="0" err="1">
                <a:latin typeface="Arial" pitchFamily="34" charset="0"/>
                <a:cs typeface="Arial" pitchFamily="34" charset="0"/>
              </a:rPr>
              <a:t>сельхозпродукции</a:t>
            </a:r>
            <a:endParaRPr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object 12"/>
          <p:cNvSpPr txBox="1"/>
          <p:nvPr/>
        </p:nvSpPr>
        <p:spPr>
          <a:xfrm>
            <a:off x="7119288" y="3831159"/>
            <a:ext cx="496705" cy="19428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200" b="1" spc="-4" dirty="0">
                <a:latin typeface="Arial" pitchFamily="34" charset="0"/>
                <a:cs typeface="Arial" pitchFamily="34" charset="0"/>
              </a:rPr>
              <a:t>2018г.</a:t>
            </a:r>
            <a:endParaRPr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object 13"/>
          <p:cNvSpPr txBox="1"/>
          <p:nvPr/>
        </p:nvSpPr>
        <p:spPr>
          <a:xfrm>
            <a:off x="8125443" y="3835731"/>
            <a:ext cx="496705" cy="19428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200" b="1" spc="-4" dirty="0">
                <a:latin typeface="Arial" pitchFamily="34" charset="0"/>
                <a:cs typeface="Arial" pitchFamily="34" charset="0"/>
              </a:rPr>
              <a:t>2019г.</a:t>
            </a:r>
            <a:endParaRPr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object 14"/>
          <p:cNvSpPr txBox="1"/>
          <p:nvPr/>
        </p:nvSpPr>
        <p:spPr>
          <a:xfrm>
            <a:off x="4148464" y="3258604"/>
            <a:ext cx="607157" cy="224581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b="1" spc="-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04,1%</a:t>
            </a:r>
            <a:endParaRPr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object 15"/>
          <p:cNvSpPr txBox="1"/>
          <p:nvPr/>
        </p:nvSpPr>
        <p:spPr>
          <a:xfrm>
            <a:off x="5124620" y="3258604"/>
            <a:ext cx="607157" cy="224581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b="1" spc="-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04,9%</a:t>
            </a:r>
            <a:endParaRPr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object 16"/>
          <p:cNvSpPr txBox="1"/>
          <p:nvPr/>
        </p:nvSpPr>
        <p:spPr>
          <a:xfrm>
            <a:off x="6085733" y="3258604"/>
            <a:ext cx="607157" cy="224581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b="1" spc="-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04,9%</a:t>
            </a:r>
            <a:endParaRPr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object 17"/>
          <p:cNvSpPr txBox="1"/>
          <p:nvPr/>
        </p:nvSpPr>
        <p:spPr>
          <a:xfrm>
            <a:off x="7108248" y="3251270"/>
            <a:ext cx="512390" cy="224581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b="1" spc="-4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97</a:t>
            </a:r>
            <a:r>
              <a:rPr b="1" spc="-8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b="1" spc="-4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0%</a:t>
            </a:r>
            <a:endParaRPr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1" name="object 19"/>
          <p:cNvSpPr txBox="1"/>
          <p:nvPr/>
        </p:nvSpPr>
        <p:spPr>
          <a:xfrm>
            <a:off x="8033954" y="3251270"/>
            <a:ext cx="669786" cy="224581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b="1" spc="-4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0</a:t>
            </a:r>
            <a:r>
              <a:rPr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b="1" spc="-4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0%</a:t>
            </a:r>
            <a:endParaRPr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Скругленный прямоугольник 91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8" name="object 12"/>
          <p:cNvSpPr txBox="1"/>
          <p:nvPr/>
        </p:nvSpPr>
        <p:spPr>
          <a:xfrm>
            <a:off x="5173171" y="3831159"/>
            <a:ext cx="496705" cy="19428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200" b="1" spc="-4" dirty="0" smtClean="0">
                <a:latin typeface="Arial" pitchFamily="34" charset="0"/>
                <a:cs typeface="Arial" pitchFamily="34" charset="0"/>
              </a:rPr>
              <a:t>201</a:t>
            </a:r>
            <a:r>
              <a:rPr lang="ru-RU" sz="1200" b="1" spc="-4" dirty="0" smtClean="0">
                <a:latin typeface="Arial" pitchFamily="34" charset="0"/>
                <a:cs typeface="Arial" pitchFamily="34" charset="0"/>
              </a:rPr>
              <a:t>6</a:t>
            </a:r>
            <a:r>
              <a:rPr sz="1200" b="1" spc="-4" dirty="0" smtClean="0">
                <a:latin typeface="Arial" pitchFamily="34" charset="0"/>
                <a:cs typeface="Arial" pitchFamily="34" charset="0"/>
              </a:rPr>
              <a:t>г</a:t>
            </a:r>
            <a:r>
              <a:rPr sz="1200" b="1" spc="-4" dirty="0">
                <a:latin typeface="Arial" pitchFamily="34" charset="0"/>
                <a:cs typeface="Arial" pitchFamily="34" charset="0"/>
              </a:rPr>
              <a:t>.</a:t>
            </a:r>
            <a:endParaRPr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object 13"/>
          <p:cNvSpPr txBox="1"/>
          <p:nvPr/>
        </p:nvSpPr>
        <p:spPr>
          <a:xfrm>
            <a:off x="6179326" y="3835731"/>
            <a:ext cx="496705" cy="19428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200" b="1" spc="-4" dirty="0" smtClean="0">
                <a:latin typeface="Arial" pitchFamily="34" charset="0"/>
                <a:cs typeface="Arial" pitchFamily="34" charset="0"/>
              </a:rPr>
              <a:t>201</a:t>
            </a:r>
            <a:r>
              <a:rPr lang="ru-RU" sz="1200" b="1" spc="-4" dirty="0" smtClean="0">
                <a:latin typeface="Arial" pitchFamily="34" charset="0"/>
                <a:cs typeface="Arial" pitchFamily="34" charset="0"/>
              </a:rPr>
              <a:t>7</a:t>
            </a:r>
            <a:r>
              <a:rPr sz="1200" b="1" spc="-4" dirty="0" smtClean="0">
                <a:latin typeface="Arial" pitchFamily="34" charset="0"/>
                <a:cs typeface="Arial" pitchFamily="34" charset="0"/>
              </a:rPr>
              <a:t>г</a:t>
            </a:r>
            <a:r>
              <a:rPr sz="1200" b="1" spc="-4" dirty="0">
                <a:latin typeface="Arial" pitchFamily="34" charset="0"/>
                <a:cs typeface="Arial" pitchFamily="34" charset="0"/>
              </a:rPr>
              <a:t>.</a:t>
            </a:r>
            <a:endParaRPr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object 12"/>
          <p:cNvSpPr txBox="1"/>
          <p:nvPr/>
        </p:nvSpPr>
        <p:spPr>
          <a:xfrm>
            <a:off x="4225807" y="3831159"/>
            <a:ext cx="496705" cy="19428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200" b="1" spc="-4" dirty="0" smtClean="0">
                <a:latin typeface="Arial" pitchFamily="34" charset="0"/>
                <a:cs typeface="Arial" pitchFamily="34" charset="0"/>
              </a:rPr>
              <a:t>201</a:t>
            </a:r>
            <a:r>
              <a:rPr lang="ru-RU" sz="1200" b="1" spc="-4" dirty="0" smtClean="0">
                <a:latin typeface="Arial" pitchFamily="34" charset="0"/>
                <a:cs typeface="Arial" pitchFamily="34" charset="0"/>
              </a:rPr>
              <a:t>5</a:t>
            </a:r>
            <a:r>
              <a:rPr sz="1200" b="1" spc="-4" dirty="0" smtClean="0">
                <a:latin typeface="Arial" pitchFamily="34" charset="0"/>
                <a:cs typeface="Arial" pitchFamily="34" charset="0"/>
              </a:rPr>
              <a:t>г</a:t>
            </a:r>
            <a:r>
              <a:rPr sz="1200" b="1" spc="-4" dirty="0">
                <a:latin typeface="Arial" pitchFamily="34" charset="0"/>
                <a:cs typeface="Arial" pitchFamily="34" charset="0"/>
              </a:rPr>
              <a:t>.</a:t>
            </a:r>
            <a:endParaRPr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8524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5165351" y="941767"/>
            <a:ext cx="3806844" cy="56169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r"/>
            <a:r>
              <a:rPr lang="ru-RU" sz="16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Доля валовой сельхозпродукции </a:t>
            </a:r>
            <a: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6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ФО за 2019 год, %</a:t>
            </a:r>
          </a:p>
        </p:txBody>
      </p:sp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val="1118911226"/>
              </p:ext>
            </p:extLst>
          </p:nvPr>
        </p:nvGraphicFramePr>
        <p:xfrm>
          <a:off x="3647477" y="1307070"/>
          <a:ext cx="4746872" cy="3498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7282341" y="1963462"/>
            <a:ext cx="1384370" cy="561596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16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Республика </a:t>
            </a:r>
          </a:p>
          <a:p>
            <a:r>
              <a:rPr lang="ru-RU" sz="16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Татарстан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475284" y="2952538"/>
            <a:ext cx="1501277" cy="530915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1500" b="1" dirty="0">
                <a:latin typeface="Arial" pitchFamily="34" charset="0"/>
                <a:cs typeface="Arial" pitchFamily="34" charset="0"/>
              </a:rPr>
              <a:t>Республика </a:t>
            </a:r>
          </a:p>
          <a:p>
            <a:r>
              <a:rPr lang="ru-RU" sz="1500" b="1" dirty="0">
                <a:latin typeface="Arial" pitchFamily="34" charset="0"/>
                <a:cs typeface="Arial" pitchFamily="34" charset="0"/>
              </a:rPr>
              <a:t>Башкортостан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141044" y="4491253"/>
            <a:ext cx="1928220" cy="30008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1500" b="1" dirty="0">
                <a:latin typeface="Arial" pitchFamily="34" charset="0"/>
                <a:cs typeface="Arial" pitchFamily="34" charset="0"/>
              </a:rPr>
              <a:t>Оренбургская обл.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068290" y="4416014"/>
            <a:ext cx="1633909" cy="30008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1500" b="1" dirty="0">
                <a:latin typeface="Arial" pitchFamily="34" charset="0"/>
                <a:cs typeface="Arial" pitchFamily="34" charset="0"/>
              </a:rPr>
              <a:t>Самарская обл.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124170" y="4020659"/>
            <a:ext cx="1816652" cy="30008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1500" b="1" dirty="0">
                <a:latin typeface="Arial" pitchFamily="34" charset="0"/>
                <a:cs typeface="Arial" pitchFamily="34" charset="0"/>
              </a:rPr>
              <a:t>Саратовская обл.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780188" y="2799866"/>
            <a:ext cx="1277032" cy="530915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ctr"/>
            <a:r>
              <a:rPr lang="ru-RU" sz="1500" b="1" dirty="0">
                <a:latin typeface="Arial" pitchFamily="34" charset="0"/>
                <a:cs typeface="Arial" pitchFamily="34" charset="0"/>
              </a:rPr>
              <a:t>Остальные </a:t>
            </a:r>
          </a:p>
          <a:p>
            <a:pPr algn="ctr"/>
            <a:r>
              <a:rPr lang="ru-RU" sz="1500" b="1" dirty="0">
                <a:latin typeface="Arial" pitchFamily="34" charset="0"/>
                <a:cs typeface="Arial" pitchFamily="34" charset="0"/>
              </a:rPr>
              <a:t>регионы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78454" y="941766"/>
            <a:ext cx="4339329" cy="56169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16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аловая продукция сельского хозяйства</a:t>
            </a:r>
          </a:p>
          <a:p>
            <a:r>
              <a:rPr lang="ru-RU" sz="16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о субъектам РФ, за 2019 год, млрд </a:t>
            </a:r>
            <a:r>
              <a:rPr lang="ru-RU" sz="1600" b="1" strike="sngStrike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Р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7217348" y="1674694"/>
            <a:ext cx="1356100" cy="253847"/>
          </a:xfrm>
          <a:prstGeom prst="round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I 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место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667230" y="2918506"/>
            <a:ext cx="3831351" cy="348530"/>
          </a:xfrm>
          <a:prstGeom prst="rect">
            <a:avLst/>
          </a:prstGeom>
          <a:solidFill>
            <a:srgbClr val="FFFF9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sz="1600"/>
          </a:p>
        </p:txBody>
      </p:sp>
      <p:sp>
        <p:nvSpPr>
          <p:cNvPr id="39" name="TextBox 38"/>
          <p:cNvSpPr txBox="1"/>
          <p:nvPr/>
        </p:nvSpPr>
        <p:spPr>
          <a:xfrm>
            <a:off x="686760" y="1615620"/>
            <a:ext cx="4038109" cy="271612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>
              <a:spcAft>
                <a:spcPts val="1200"/>
              </a:spcAft>
              <a:tabLst>
                <a:tab pos="266693" algn="l"/>
                <a:tab pos="2955851" algn="l"/>
              </a:tabLst>
            </a:pPr>
            <a:r>
              <a:rPr lang="en-US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I	</a:t>
            </a:r>
            <a:r>
              <a:rPr lang="ru-RU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Краснодарский край</a:t>
            </a:r>
            <a:r>
              <a:rPr lang="en-US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	-</a:t>
            </a:r>
            <a:r>
              <a:rPr lang="ru-RU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427,3</a:t>
            </a:r>
          </a:p>
          <a:p>
            <a:pPr>
              <a:spcAft>
                <a:spcPts val="1200"/>
              </a:spcAft>
              <a:tabLst>
                <a:tab pos="266693" algn="l"/>
                <a:tab pos="2955851" algn="l"/>
              </a:tabLst>
            </a:pPr>
            <a:r>
              <a:rPr lang="en-US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II	</a:t>
            </a:r>
            <a:r>
              <a:rPr lang="ru-RU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Ростовская обл.</a:t>
            </a:r>
            <a:r>
              <a:rPr lang="en-US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	-</a:t>
            </a:r>
            <a:r>
              <a:rPr lang="ru-RU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303,1</a:t>
            </a:r>
          </a:p>
          <a:p>
            <a:pPr>
              <a:spcAft>
                <a:spcPts val="1200"/>
              </a:spcAft>
              <a:tabLst>
                <a:tab pos="266693" algn="l"/>
                <a:tab pos="2955851" algn="l"/>
              </a:tabLst>
            </a:pPr>
            <a:r>
              <a:rPr lang="en-US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III	</a:t>
            </a:r>
            <a:r>
              <a:rPr lang="ru-RU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Белгородская обл.</a:t>
            </a:r>
            <a:r>
              <a:rPr lang="en-US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	-</a:t>
            </a:r>
            <a:r>
              <a:rPr lang="ru-RU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272,8</a:t>
            </a:r>
          </a:p>
          <a:p>
            <a:pPr>
              <a:spcAft>
                <a:spcPts val="1200"/>
              </a:spcAft>
              <a:tabLst>
                <a:tab pos="266693" algn="l"/>
                <a:tab pos="2955851" algn="l"/>
              </a:tabLst>
            </a:pPr>
            <a:r>
              <a:rPr lang="en-US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IV	</a:t>
            </a:r>
            <a:r>
              <a:rPr lang="ru-RU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Республика Татарстан</a:t>
            </a:r>
            <a:r>
              <a:rPr lang="en-US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	-</a:t>
            </a:r>
            <a:r>
              <a:rPr lang="ru-RU" sz="18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250,9</a:t>
            </a:r>
          </a:p>
          <a:p>
            <a:pPr>
              <a:tabLst>
                <a:tab pos="266693" algn="l"/>
                <a:tab pos="2873303" algn="l"/>
              </a:tabLst>
            </a:pPr>
            <a:r>
              <a:rPr lang="ru-RU" sz="2000" b="1" dirty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tabLst>
                <a:tab pos="266693" algn="l"/>
                <a:tab pos="2873303" algn="l"/>
              </a:tabLst>
            </a:pPr>
            <a:r>
              <a:rPr lang="ru-RU" sz="2000" b="1" dirty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tabLst>
                <a:tab pos="266693" algn="l"/>
                <a:tab pos="2873303" algn="l"/>
              </a:tabLst>
            </a:pPr>
            <a:r>
              <a:rPr lang="ru-RU" sz="2000" b="1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071337" y="4002087"/>
            <a:ext cx="2067538" cy="300083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1500" b="1" dirty="0">
                <a:latin typeface="Arial" pitchFamily="34" charset="0"/>
                <a:cs typeface="Arial" pitchFamily="34" charset="0"/>
              </a:rPr>
              <a:t>Нижегородская обл.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7621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1455947" y="654531"/>
            <a:ext cx="7241236" cy="486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изводство продукции растениеводства, </a:t>
            </a:r>
            <a:r>
              <a:rPr lang="ru-RU" sz="2100" b="1" dirty="0" err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ыс.тн</a:t>
            </a:r>
            <a:endParaRPr lang="ru-RU" sz="21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object 3"/>
          <p:cNvSpPr/>
          <p:nvPr/>
        </p:nvSpPr>
        <p:spPr>
          <a:xfrm>
            <a:off x="724968" y="2248026"/>
            <a:ext cx="1754458" cy="1354454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4"/>
          <p:cNvSpPr txBox="1"/>
          <p:nvPr/>
        </p:nvSpPr>
        <p:spPr>
          <a:xfrm>
            <a:off x="868923" y="2346120"/>
            <a:ext cx="345062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b="1" spc="-4" dirty="0">
                <a:latin typeface="Arial Narrow"/>
                <a:cs typeface="Arial Narrow"/>
              </a:rPr>
              <a:t>4383</a:t>
            </a:r>
            <a:endParaRPr dirty="0">
              <a:latin typeface="Arial Narrow"/>
              <a:cs typeface="Arial Narrow"/>
            </a:endParaRPr>
          </a:p>
        </p:txBody>
      </p:sp>
      <p:sp>
        <p:nvSpPr>
          <p:cNvPr id="31" name="object 5"/>
          <p:cNvSpPr/>
          <p:nvPr/>
        </p:nvSpPr>
        <p:spPr>
          <a:xfrm>
            <a:off x="2615333" y="2763519"/>
            <a:ext cx="1649620" cy="836676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6"/>
          <p:cNvSpPr/>
          <p:nvPr/>
        </p:nvSpPr>
        <p:spPr>
          <a:xfrm>
            <a:off x="4372855" y="1378364"/>
            <a:ext cx="1755721" cy="136017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7"/>
          <p:cNvSpPr/>
          <p:nvPr/>
        </p:nvSpPr>
        <p:spPr>
          <a:xfrm>
            <a:off x="5737842" y="2058449"/>
            <a:ext cx="1750668" cy="1672685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8"/>
          <p:cNvSpPr/>
          <p:nvPr/>
        </p:nvSpPr>
        <p:spPr>
          <a:xfrm>
            <a:off x="844803" y="3592098"/>
            <a:ext cx="1409700" cy="0"/>
          </a:xfrm>
          <a:custGeom>
            <a:avLst/>
            <a:gdLst/>
            <a:ahLst/>
            <a:cxnLst/>
            <a:rect l="l" t="t" r="r" b="b"/>
            <a:pathLst>
              <a:path w="1879600">
                <a:moveTo>
                  <a:pt x="0" y="0"/>
                </a:moveTo>
                <a:lnTo>
                  <a:pt x="1879409" y="0"/>
                </a:lnTo>
              </a:path>
            </a:pathLst>
          </a:custGeom>
          <a:ln w="15875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9"/>
          <p:cNvSpPr txBox="1"/>
          <p:nvPr/>
        </p:nvSpPr>
        <p:spPr>
          <a:xfrm>
            <a:off x="624858" y="1347966"/>
            <a:ext cx="2031581" cy="613630"/>
          </a:xfrm>
          <a:prstGeom prst="rect">
            <a:avLst/>
          </a:prstGeom>
        </p:spPr>
        <p:txBody>
          <a:bodyPr vert="horz" wrap="square" lIns="0" tIns="86995" rIns="0" bIns="0" rtlCol="0">
            <a:spAutoFit/>
          </a:bodyPr>
          <a:lstStyle/>
          <a:p>
            <a:pPr algn="ctr">
              <a:spcBef>
                <a:spcPts val="514"/>
              </a:spcBef>
            </a:pPr>
            <a:r>
              <a:rPr sz="1600" b="1" spc="-4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Зерно</a:t>
            </a:r>
            <a:r>
              <a:rPr sz="1600" b="1" spc="-4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600" b="1" spc="-4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514"/>
              </a:spcBef>
            </a:pPr>
            <a:r>
              <a:rPr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b="1" spc="-4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ервонач.</a:t>
            </a:r>
            <a:r>
              <a:rPr b="1" spc="-64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b="1" spc="-4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есе</a:t>
            </a:r>
            <a:r>
              <a:rPr b="1" spc="-4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)</a:t>
            </a:r>
            <a:endParaRPr sz="16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object 10"/>
          <p:cNvSpPr txBox="1"/>
          <p:nvPr/>
        </p:nvSpPr>
        <p:spPr>
          <a:xfrm>
            <a:off x="1635743" y="2544341"/>
            <a:ext cx="344511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b="1" spc="-4" dirty="0">
                <a:latin typeface="Arial Narrow"/>
                <a:cs typeface="Arial Narrow"/>
              </a:rPr>
              <a:t>3917</a:t>
            </a:r>
            <a:endParaRPr dirty="0">
              <a:latin typeface="Arial Narrow"/>
              <a:cs typeface="Arial Narrow"/>
            </a:endParaRPr>
          </a:p>
        </p:txBody>
      </p:sp>
      <p:sp>
        <p:nvSpPr>
          <p:cNvPr id="37" name="object 11"/>
          <p:cNvSpPr txBox="1"/>
          <p:nvPr/>
        </p:nvSpPr>
        <p:spPr>
          <a:xfrm>
            <a:off x="848895" y="3612387"/>
            <a:ext cx="1690081" cy="17697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00" b="1" spc="-4" dirty="0">
                <a:latin typeface="Arial Narrow"/>
                <a:cs typeface="Arial Narrow"/>
              </a:rPr>
              <a:t>2016г. </a:t>
            </a:r>
            <a:r>
              <a:rPr lang="ru-RU" sz="1000" b="1" spc="-4" dirty="0" smtClean="0">
                <a:latin typeface="Arial Narrow"/>
                <a:cs typeface="Arial Narrow"/>
              </a:rPr>
              <a:t>  </a:t>
            </a:r>
            <a:r>
              <a:rPr sz="1600" b="1" spc="-5" baseline="2314" dirty="0" smtClean="0">
                <a:latin typeface="Arial Narrow"/>
                <a:cs typeface="Arial Narrow"/>
              </a:rPr>
              <a:t>2017г</a:t>
            </a:r>
            <a:r>
              <a:rPr sz="1600" b="1" spc="-5" baseline="2314" dirty="0">
                <a:latin typeface="Arial Narrow"/>
                <a:cs typeface="Arial Narrow"/>
              </a:rPr>
              <a:t>. </a:t>
            </a:r>
            <a:r>
              <a:rPr lang="ru-RU" sz="1600" b="1" spc="-5" baseline="2314" dirty="0" smtClean="0">
                <a:latin typeface="Arial Narrow"/>
                <a:cs typeface="Arial Narrow"/>
              </a:rPr>
              <a:t>  </a:t>
            </a:r>
            <a:r>
              <a:rPr sz="1000" b="1" spc="-4" dirty="0" smtClean="0">
                <a:latin typeface="Arial Narrow"/>
                <a:cs typeface="Arial Narrow"/>
              </a:rPr>
              <a:t>2018г</a:t>
            </a:r>
            <a:r>
              <a:rPr sz="1000" b="1" spc="-4" dirty="0">
                <a:latin typeface="Arial Narrow"/>
                <a:cs typeface="Arial Narrow"/>
              </a:rPr>
              <a:t>.</a:t>
            </a:r>
            <a:r>
              <a:rPr sz="1000" b="1" spc="158" dirty="0">
                <a:latin typeface="Arial Narrow"/>
                <a:cs typeface="Arial Narrow"/>
              </a:rPr>
              <a:t> </a:t>
            </a:r>
            <a:r>
              <a:rPr lang="ru-RU" sz="1000" b="1" spc="158" dirty="0">
                <a:latin typeface="Arial Narrow"/>
                <a:cs typeface="Arial Narrow"/>
              </a:rPr>
              <a:t> </a:t>
            </a:r>
            <a:r>
              <a:rPr sz="1000" b="1" spc="-4" dirty="0" smtClean="0">
                <a:latin typeface="Arial Narrow"/>
                <a:cs typeface="Arial Narrow"/>
              </a:rPr>
              <a:t>2019г</a:t>
            </a:r>
            <a:r>
              <a:rPr sz="1000" b="1" spc="-4" dirty="0">
                <a:latin typeface="Arial Narrow"/>
                <a:cs typeface="Arial Narrow"/>
              </a:rPr>
              <a:t>.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38" name="object 12"/>
          <p:cNvSpPr/>
          <p:nvPr/>
        </p:nvSpPr>
        <p:spPr>
          <a:xfrm>
            <a:off x="790821" y="4058067"/>
            <a:ext cx="8353179" cy="10859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13"/>
          <p:cNvSpPr txBox="1"/>
          <p:nvPr/>
        </p:nvSpPr>
        <p:spPr>
          <a:xfrm>
            <a:off x="2904496" y="1423004"/>
            <a:ext cx="1106836" cy="51744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algn="ctr">
              <a:spcBef>
                <a:spcPts val="71"/>
              </a:spcBef>
              <a:tabLst>
                <a:tab pos="1994535" algn="l"/>
                <a:tab pos="3612356" algn="l"/>
              </a:tabLst>
            </a:pPr>
            <a:r>
              <a:rPr sz="1600" b="1" spc="-4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sz="1600" b="1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а</a:t>
            </a:r>
            <a:r>
              <a:rPr sz="1600" b="1" spc="-8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х</a:t>
            </a:r>
            <a:r>
              <a:rPr sz="1600" b="1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а</a:t>
            </a:r>
            <a:r>
              <a:rPr sz="1600" b="1" spc="-4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рн</a:t>
            </a:r>
            <a:r>
              <a:rPr sz="1600" b="1" spc="-8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а</a:t>
            </a:r>
            <a:r>
              <a:rPr sz="1600" b="1" spc="-4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я</a:t>
            </a:r>
            <a:r>
              <a:rPr sz="1600" b="1" spc="-26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600" b="1" spc="-26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9525" algn="ctr">
              <a:spcBef>
                <a:spcPts val="71"/>
              </a:spcBef>
              <a:tabLst>
                <a:tab pos="1994535" algn="l"/>
                <a:tab pos="3612356" algn="l"/>
              </a:tabLst>
            </a:pPr>
            <a:r>
              <a:rPr sz="1600" b="1" spc="-8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в</a:t>
            </a:r>
            <a:r>
              <a:rPr sz="1600" b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е</a:t>
            </a:r>
            <a:r>
              <a:rPr sz="1600" b="1" spc="-4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кла</a:t>
            </a:r>
            <a:endParaRPr sz="2400" baseline="1736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object 14"/>
          <p:cNvSpPr/>
          <p:nvPr/>
        </p:nvSpPr>
        <p:spPr>
          <a:xfrm>
            <a:off x="2693471" y="3592098"/>
            <a:ext cx="1409700" cy="0"/>
          </a:xfrm>
          <a:custGeom>
            <a:avLst/>
            <a:gdLst/>
            <a:ahLst/>
            <a:cxnLst/>
            <a:rect l="l" t="t" r="r" b="b"/>
            <a:pathLst>
              <a:path w="1879600">
                <a:moveTo>
                  <a:pt x="0" y="0"/>
                </a:moveTo>
                <a:lnTo>
                  <a:pt x="1879346" y="0"/>
                </a:lnTo>
              </a:path>
            </a:pathLst>
          </a:custGeom>
          <a:ln w="15875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15"/>
          <p:cNvSpPr/>
          <p:nvPr/>
        </p:nvSpPr>
        <p:spPr>
          <a:xfrm>
            <a:off x="4524851" y="2742820"/>
            <a:ext cx="1409700" cy="0"/>
          </a:xfrm>
          <a:custGeom>
            <a:avLst/>
            <a:gdLst/>
            <a:ahLst/>
            <a:cxnLst/>
            <a:rect l="l" t="t" r="r" b="b"/>
            <a:pathLst>
              <a:path w="1879600">
                <a:moveTo>
                  <a:pt x="0" y="0"/>
                </a:moveTo>
                <a:lnTo>
                  <a:pt x="1879346" y="0"/>
                </a:lnTo>
              </a:path>
            </a:pathLst>
          </a:custGeom>
          <a:ln w="15875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16"/>
          <p:cNvSpPr/>
          <p:nvPr/>
        </p:nvSpPr>
        <p:spPr>
          <a:xfrm>
            <a:off x="5883670" y="3691540"/>
            <a:ext cx="1409700" cy="0"/>
          </a:xfrm>
          <a:custGeom>
            <a:avLst/>
            <a:gdLst/>
            <a:ahLst/>
            <a:cxnLst/>
            <a:rect l="l" t="t" r="r" b="b"/>
            <a:pathLst>
              <a:path w="1879600">
                <a:moveTo>
                  <a:pt x="0" y="0"/>
                </a:moveTo>
                <a:lnTo>
                  <a:pt x="1879346" y="0"/>
                </a:lnTo>
              </a:path>
            </a:pathLst>
          </a:custGeom>
          <a:ln w="15875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7"/>
          <p:cNvSpPr txBox="1"/>
          <p:nvPr/>
        </p:nvSpPr>
        <p:spPr>
          <a:xfrm>
            <a:off x="1997796" y="2287844"/>
            <a:ext cx="345062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b="1" spc="-4" dirty="0">
                <a:latin typeface="Arial Narrow"/>
                <a:cs typeface="Arial Narrow"/>
              </a:rPr>
              <a:t>4522</a:t>
            </a:r>
            <a:endParaRPr dirty="0">
              <a:latin typeface="Arial Narrow"/>
              <a:cs typeface="Arial Narrow"/>
            </a:endParaRPr>
          </a:p>
        </p:txBody>
      </p:sp>
      <p:sp>
        <p:nvSpPr>
          <p:cNvPr id="54" name="object 20"/>
          <p:cNvSpPr txBox="1"/>
          <p:nvPr/>
        </p:nvSpPr>
        <p:spPr>
          <a:xfrm>
            <a:off x="4491829" y="2756442"/>
            <a:ext cx="335203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00" b="1" spc="-4" dirty="0">
                <a:latin typeface="Arial Narrow"/>
                <a:cs typeface="Arial Narrow"/>
              </a:rPr>
              <a:t>2016г.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55" name="object 21"/>
          <p:cNvSpPr txBox="1"/>
          <p:nvPr/>
        </p:nvSpPr>
        <p:spPr>
          <a:xfrm>
            <a:off x="4888490" y="2753013"/>
            <a:ext cx="335746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00" b="1" spc="-4" dirty="0">
                <a:latin typeface="Arial Narrow"/>
                <a:cs typeface="Arial Narrow"/>
              </a:rPr>
              <a:t>2017г.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56" name="object 22"/>
          <p:cNvSpPr txBox="1"/>
          <p:nvPr/>
        </p:nvSpPr>
        <p:spPr>
          <a:xfrm>
            <a:off x="5256162" y="2755774"/>
            <a:ext cx="715968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00" b="1" dirty="0">
                <a:latin typeface="Arial Narrow"/>
                <a:cs typeface="Arial Narrow"/>
              </a:rPr>
              <a:t>2018г.</a:t>
            </a:r>
            <a:r>
              <a:rPr sz="1000" b="1" spc="4" dirty="0">
                <a:latin typeface="Arial Narrow"/>
                <a:cs typeface="Arial Narrow"/>
              </a:rPr>
              <a:t> </a:t>
            </a:r>
            <a:r>
              <a:rPr lang="ru-RU" sz="1000" b="1" spc="4" dirty="0" smtClean="0">
                <a:latin typeface="Arial Narrow"/>
                <a:cs typeface="Arial Narrow"/>
              </a:rPr>
              <a:t>  </a:t>
            </a:r>
            <a:r>
              <a:rPr sz="1000" b="1" spc="-4" dirty="0" smtClean="0">
                <a:latin typeface="Arial Narrow"/>
                <a:cs typeface="Arial Narrow"/>
              </a:rPr>
              <a:t>2019г</a:t>
            </a:r>
            <a:r>
              <a:rPr sz="1000" b="1" spc="-4" dirty="0">
                <a:latin typeface="Arial Narrow"/>
                <a:cs typeface="Arial Narrow"/>
              </a:rPr>
              <a:t>.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57" name="object 23"/>
          <p:cNvSpPr txBox="1"/>
          <p:nvPr/>
        </p:nvSpPr>
        <p:spPr>
          <a:xfrm>
            <a:off x="4496225" y="1846213"/>
            <a:ext cx="1618618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8575">
              <a:spcBef>
                <a:spcPts val="71"/>
              </a:spcBef>
              <a:tabLst>
                <a:tab pos="733425" algn="l"/>
              </a:tabLst>
            </a:pPr>
            <a:r>
              <a:rPr b="1" spc="-15" dirty="0">
                <a:latin typeface="Arial Narrow"/>
                <a:cs typeface="Arial Narrow"/>
              </a:rPr>
              <a:t>1144</a:t>
            </a:r>
            <a:r>
              <a:rPr b="1" spc="240" dirty="0">
                <a:latin typeface="Arial Narrow"/>
                <a:cs typeface="Arial Narrow"/>
              </a:rPr>
              <a:t> </a:t>
            </a:r>
            <a:r>
              <a:rPr b="1" spc="-15" dirty="0">
                <a:latin typeface="Arial Narrow"/>
                <a:cs typeface="Arial Narrow"/>
              </a:rPr>
              <a:t>1164	</a:t>
            </a:r>
            <a:r>
              <a:rPr lang="ru-RU" b="1" spc="-15" dirty="0" smtClean="0">
                <a:latin typeface="Arial Narrow"/>
                <a:cs typeface="Arial Narrow"/>
              </a:rPr>
              <a:t>  </a:t>
            </a:r>
            <a:r>
              <a:rPr b="1" spc="-15" dirty="0" smtClean="0">
                <a:latin typeface="Arial Narrow"/>
                <a:cs typeface="Arial Narrow"/>
              </a:rPr>
              <a:t>1190</a:t>
            </a:r>
            <a:r>
              <a:rPr b="1" spc="116" dirty="0" smtClean="0">
                <a:latin typeface="Arial Narrow"/>
                <a:cs typeface="Arial Narrow"/>
              </a:rPr>
              <a:t> </a:t>
            </a:r>
            <a:r>
              <a:rPr sz="2000" b="1" spc="-5" baseline="10416" dirty="0" smtClean="0">
                <a:latin typeface="Arial Narrow"/>
                <a:cs typeface="Arial Narrow"/>
              </a:rPr>
              <a:t>1200</a:t>
            </a:r>
            <a:endParaRPr sz="2000" baseline="10416" dirty="0">
              <a:latin typeface="Arial Narrow"/>
              <a:cs typeface="Arial Narrow"/>
            </a:endParaRPr>
          </a:p>
        </p:txBody>
      </p:sp>
      <p:sp>
        <p:nvSpPr>
          <p:cNvPr id="58" name="object 24"/>
          <p:cNvSpPr txBox="1"/>
          <p:nvPr/>
        </p:nvSpPr>
        <p:spPr>
          <a:xfrm>
            <a:off x="5867571" y="3705161"/>
            <a:ext cx="382313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00" b="1" spc="-4" dirty="0">
                <a:latin typeface="Arial Narrow"/>
                <a:cs typeface="Arial Narrow"/>
              </a:rPr>
              <a:t>2016г.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59" name="object 25"/>
          <p:cNvSpPr txBox="1"/>
          <p:nvPr/>
        </p:nvSpPr>
        <p:spPr>
          <a:xfrm>
            <a:off x="6244401" y="3701732"/>
            <a:ext cx="382313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00" b="1" spc="-4" dirty="0">
                <a:latin typeface="Arial Narrow"/>
                <a:cs typeface="Arial Narrow"/>
              </a:rPr>
              <a:t>2017г.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60" name="object 26"/>
          <p:cNvSpPr txBox="1"/>
          <p:nvPr/>
        </p:nvSpPr>
        <p:spPr>
          <a:xfrm>
            <a:off x="6632094" y="3704494"/>
            <a:ext cx="816592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00" b="1" spc="-4" dirty="0">
                <a:latin typeface="Arial Narrow"/>
                <a:cs typeface="Arial Narrow"/>
              </a:rPr>
              <a:t>2018г.</a:t>
            </a:r>
            <a:r>
              <a:rPr sz="1000" b="1" spc="23" dirty="0">
                <a:latin typeface="Arial Narrow"/>
                <a:cs typeface="Arial Narrow"/>
              </a:rPr>
              <a:t> </a:t>
            </a:r>
            <a:r>
              <a:rPr lang="ru-RU" sz="1000" b="1" spc="23" dirty="0" smtClean="0">
                <a:latin typeface="Arial Narrow"/>
                <a:cs typeface="Arial Narrow"/>
              </a:rPr>
              <a:t>   </a:t>
            </a:r>
            <a:r>
              <a:rPr sz="1000" b="1" spc="-4" dirty="0" smtClean="0">
                <a:latin typeface="Arial Narrow"/>
                <a:cs typeface="Arial Narrow"/>
              </a:rPr>
              <a:t>2019г</a:t>
            </a:r>
            <a:r>
              <a:rPr sz="1000" b="1" spc="-4" dirty="0">
                <a:latin typeface="Arial Narrow"/>
                <a:cs typeface="Arial Narrow"/>
              </a:rPr>
              <a:t>.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61" name="object 27"/>
          <p:cNvSpPr txBox="1"/>
          <p:nvPr/>
        </p:nvSpPr>
        <p:spPr>
          <a:xfrm>
            <a:off x="5937785" y="3166545"/>
            <a:ext cx="1530501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  <a:tabLst>
                <a:tab pos="337185" algn="l"/>
                <a:tab pos="704850" algn="l"/>
                <a:tab pos="1024414" algn="l"/>
              </a:tabLst>
            </a:pPr>
            <a:r>
              <a:rPr sz="2000" b="1" spc="-5" baseline="1851" dirty="0">
                <a:latin typeface="Arial Narrow"/>
                <a:cs typeface="Arial Narrow"/>
              </a:rPr>
              <a:t>33</a:t>
            </a:r>
            <a:r>
              <a:rPr sz="2000" b="1" baseline="1851" dirty="0">
                <a:latin typeface="Arial Narrow"/>
                <a:cs typeface="Arial Narrow"/>
              </a:rPr>
              <a:t>1	</a:t>
            </a:r>
            <a:r>
              <a:rPr lang="ru-RU" sz="2000" b="1" baseline="1851" dirty="0" smtClean="0">
                <a:latin typeface="Arial Narrow"/>
                <a:cs typeface="Arial Narrow"/>
              </a:rPr>
              <a:t> </a:t>
            </a:r>
            <a:r>
              <a:rPr b="1" spc="-4" dirty="0" smtClean="0">
                <a:latin typeface="Arial Narrow"/>
                <a:cs typeface="Arial Narrow"/>
              </a:rPr>
              <a:t>34</a:t>
            </a:r>
            <a:r>
              <a:rPr b="1" dirty="0" smtClean="0">
                <a:latin typeface="Arial Narrow"/>
                <a:cs typeface="Arial Narrow"/>
              </a:rPr>
              <a:t>2</a:t>
            </a:r>
            <a:r>
              <a:rPr b="1" dirty="0">
                <a:latin typeface="Arial Narrow"/>
                <a:cs typeface="Arial Narrow"/>
              </a:rPr>
              <a:t>	</a:t>
            </a:r>
            <a:r>
              <a:rPr lang="ru-RU" b="1" dirty="0" smtClean="0">
                <a:latin typeface="Arial Narrow"/>
                <a:cs typeface="Arial Narrow"/>
              </a:rPr>
              <a:t>  </a:t>
            </a:r>
            <a:r>
              <a:rPr b="1" spc="-4" dirty="0" smtClean="0">
                <a:latin typeface="Arial Narrow"/>
                <a:cs typeface="Arial Narrow"/>
              </a:rPr>
              <a:t>32</a:t>
            </a:r>
            <a:r>
              <a:rPr b="1" dirty="0" smtClean="0">
                <a:latin typeface="Arial Narrow"/>
                <a:cs typeface="Arial Narrow"/>
              </a:rPr>
              <a:t>8</a:t>
            </a:r>
            <a:r>
              <a:rPr lang="ru-RU" b="1" dirty="0" smtClean="0">
                <a:latin typeface="Arial Narrow"/>
                <a:cs typeface="Arial Narrow"/>
              </a:rPr>
              <a:t>   </a:t>
            </a:r>
            <a:r>
              <a:rPr b="1" spc="-4" dirty="0" smtClean="0">
                <a:latin typeface="Arial Narrow"/>
                <a:cs typeface="Arial Narrow"/>
              </a:rPr>
              <a:t>340</a:t>
            </a:r>
            <a:endParaRPr dirty="0">
              <a:latin typeface="Arial Narrow"/>
              <a:cs typeface="Arial Narrow"/>
            </a:endParaRPr>
          </a:p>
        </p:txBody>
      </p:sp>
      <p:sp>
        <p:nvSpPr>
          <p:cNvPr id="62" name="object 13"/>
          <p:cNvSpPr txBox="1"/>
          <p:nvPr/>
        </p:nvSpPr>
        <p:spPr>
          <a:xfrm>
            <a:off x="6150766" y="2843365"/>
            <a:ext cx="97715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algn="ctr">
              <a:spcBef>
                <a:spcPts val="71"/>
              </a:spcBef>
              <a:tabLst>
                <a:tab pos="1994535" algn="l"/>
                <a:tab pos="3612356" algn="l"/>
              </a:tabLst>
            </a:pPr>
            <a:r>
              <a:rPr sz="2400" b="1" spc="-11" baseline="1736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в</a:t>
            </a:r>
            <a:r>
              <a:rPr sz="2400" b="1" spc="-5" baseline="1736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щи</a:t>
            </a:r>
            <a:endParaRPr sz="2400" baseline="1736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3" name="Диаграмма 62"/>
          <p:cNvGraphicFramePr/>
          <p:nvPr>
            <p:extLst>
              <p:ext uri="{D42A27DB-BD31-4B8C-83A1-F6EECF244321}">
                <p14:modId xmlns:p14="http://schemas.microsoft.com/office/powerpoint/2010/main" val="500901149"/>
              </p:ext>
            </p:extLst>
          </p:nvPr>
        </p:nvGraphicFramePr>
        <p:xfrm>
          <a:off x="6694239" y="1387821"/>
          <a:ext cx="2269395" cy="1411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4" name="object 13"/>
          <p:cNvSpPr txBox="1"/>
          <p:nvPr/>
        </p:nvSpPr>
        <p:spPr>
          <a:xfrm>
            <a:off x="7308586" y="1398773"/>
            <a:ext cx="121492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algn="ctr">
              <a:spcBef>
                <a:spcPts val="71"/>
              </a:spcBef>
              <a:tabLst>
                <a:tab pos="1994535" algn="l"/>
                <a:tab pos="3612356" algn="l"/>
              </a:tabLst>
            </a:pPr>
            <a:r>
              <a:rPr lang="ru-RU" sz="2400" b="1" spc="-11" baseline="1736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лодовые </a:t>
            </a:r>
            <a:endParaRPr sz="2400" baseline="1736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bject 4"/>
          <p:cNvSpPr txBox="1"/>
          <p:nvPr/>
        </p:nvSpPr>
        <p:spPr>
          <a:xfrm>
            <a:off x="1257312" y="2059444"/>
            <a:ext cx="345062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lang="ru-RU" b="1" spc="-4" dirty="0" smtClean="0">
                <a:latin typeface="Arial Narrow"/>
                <a:cs typeface="Arial Narrow"/>
              </a:rPr>
              <a:t>5275</a:t>
            </a:r>
            <a:endParaRPr dirty="0">
              <a:latin typeface="Arial Narrow"/>
              <a:cs typeface="Arial Narrow"/>
            </a:endParaRPr>
          </a:p>
        </p:txBody>
      </p:sp>
      <p:sp>
        <p:nvSpPr>
          <p:cNvPr id="43" name="object 4"/>
          <p:cNvSpPr txBox="1"/>
          <p:nvPr/>
        </p:nvSpPr>
        <p:spPr>
          <a:xfrm>
            <a:off x="2733515" y="2620851"/>
            <a:ext cx="345062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lang="ru-RU" b="1" spc="-4" dirty="0" smtClean="0">
                <a:latin typeface="Arial Narrow"/>
                <a:cs typeface="Arial Narrow"/>
              </a:rPr>
              <a:t>2326</a:t>
            </a:r>
            <a:endParaRPr dirty="0">
              <a:latin typeface="Arial Narrow"/>
              <a:cs typeface="Arial Narrow"/>
            </a:endParaRPr>
          </a:p>
        </p:txBody>
      </p:sp>
      <p:sp>
        <p:nvSpPr>
          <p:cNvPr id="44" name="object 4"/>
          <p:cNvSpPr txBox="1"/>
          <p:nvPr/>
        </p:nvSpPr>
        <p:spPr>
          <a:xfrm>
            <a:off x="3078577" y="2567072"/>
            <a:ext cx="345062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lang="ru-RU" b="1" spc="-4" dirty="0" smtClean="0">
                <a:latin typeface="Arial Narrow"/>
                <a:cs typeface="Arial Narrow"/>
              </a:rPr>
              <a:t>3101</a:t>
            </a:r>
            <a:endParaRPr dirty="0">
              <a:latin typeface="Arial Narrow"/>
              <a:cs typeface="Arial Narrow"/>
            </a:endParaRPr>
          </a:p>
        </p:txBody>
      </p:sp>
      <p:sp>
        <p:nvSpPr>
          <p:cNvPr id="45" name="object 4"/>
          <p:cNvSpPr txBox="1"/>
          <p:nvPr/>
        </p:nvSpPr>
        <p:spPr>
          <a:xfrm>
            <a:off x="3459627" y="2682952"/>
            <a:ext cx="345062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lang="ru-RU" b="1" spc="-4" dirty="0" smtClean="0">
                <a:latin typeface="Arial Narrow"/>
                <a:cs typeface="Arial Narrow"/>
              </a:rPr>
              <a:t>2109</a:t>
            </a:r>
            <a:endParaRPr dirty="0">
              <a:latin typeface="Arial Narrow"/>
              <a:cs typeface="Arial Narrow"/>
            </a:endParaRPr>
          </a:p>
        </p:txBody>
      </p:sp>
      <p:sp>
        <p:nvSpPr>
          <p:cNvPr id="46" name="object 4"/>
          <p:cNvSpPr txBox="1"/>
          <p:nvPr/>
        </p:nvSpPr>
        <p:spPr>
          <a:xfrm>
            <a:off x="3811363" y="2583496"/>
            <a:ext cx="345062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lang="ru-RU" b="1" spc="-4" dirty="0" smtClean="0">
                <a:latin typeface="Arial Narrow"/>
                <a:cs typeface="Arial Narrow"/>
              </a:rPr>
              <a:t>2800</a:t>
            </a:r>
            <a:endParaRPr dirty="0">
              <a:latin typeface="Arial Narrow"/>
              <a:cs typeface="Arial Narrow"/>
            </a:endParaRPr>
          </a:p>
        </p:txBody>
      </p:sp>
      <p:sp>
        <p:nvSpPr>
          <p:cNvPr id="47" name="object 11"/>
          <p:cNvSpPr txBox="1"/>
          <p:nvPr/>
        </p:nvSpPr>
        <p:spPr>
          <a:xfrm>
            <a:off x="2713016" y="3612387"/>
            <a:ext cx="1690081" cy="17697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00" b="1" spc="-4" dirty="0">
                <a:latin typeface="Arial Narrow"/>
                <a:cs typeface="Arial Narrow"/>
              </a:rPr>
              <a:t>2016г. </a:t>
            </a:r>
            <a:r>
              <a:rPr lang="ru-RU" sz="1000" b="1" spc="-4" dirty="0" smtClean="0">
                <a:latin typeface="Arial Narrow"/>
                <a:cs typeface="Arial Narrow"/>
              </a:rPr>
              <a:t>  </a:t>
            </a:r>
            <a:r>
              <a:rPr sz="1600" b="1" spc="-5" baseline="2314" dirty="0" smtClean="0">
                <a:latin typeface="Arial Narrow"/>
                <a:cs typeface="Arial Narrow"/>
              </a:rPr>
              <a:t>2017г</a:t>
            </a:r>
            <a:r>
              <a:rPr sz="1600" b="1" spc="-5" baseline="2314" dirty="0">
                <a:latin typeface="Arial Narrow"/>
                <a:cs typeface="Arial Narrow"/>
              </a:rPr>
              <a:t>. </a:t>
            </a:r>
            <a:r>
              <a:rPr lang="ru-RU" sz="1600" b="1" spc="-5" baseline="2314" dirty="0" smtClean="0">
                <a:latin typeface="Arial Narrow"/>
                <a:cs typeface="Arial Narrow"/>
              </a:rPr>
              <a:t> </a:t>
            </a:r>
            <a:r>
              <a:rPr sz="1000" b="1" spc="-4" dirty="0" smtClean="0">
                <a:latin typeface="Arial Narrow"/>
                <a:cs typeface="Arial Narrow"/>
              </a:rPr>
              <a:t>2018г</a:t>
            </a:r>
            <a:r>
              <a:rPr sz="1000" b="1" spc="-4" dirty="0">
                <a:latin typeface="Arial Narrow"/>
                <a:cs typeface="Arial Narrow"/>
              </a:rPr>
              <a:t>.</a:t>
            </a:r>
            <a:r>
              <a:rPr sz="1000" b="1" spc="158" dirty="0">
                <a:latin typeface="Arial Narrow"/>
                <a:cs typeface="Arial Narrow"/>
              </a:rPr>
              <a:t> </a:t>
            </a:r>
            <a:r>
              <a:rPr sz="1000" b="1" spc="-4" dirty="0" smtClean="0">
                <a:latin typeface="Arial Narrow"/>
                <a:cs typeface="Arial Narrow"/>
              </a:rPr>
              <a:t>2019г</a:t>
            </a:r>
            <a:r>
              <a:rPr sz="1000" b="1" spc="-4" dirty="0">
                <a:latin typeface="Arial Narrow"/>
                <a:cs typeface="Arial Narrow"/>
              </a:rPr>
              <a:t>.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48" name="object 13"/>
          <p:cNvSpPr txBox="1"/>
          <p:nvPr/>
        </p:nvSpPr>
        <p:spPr>
          <a:xfrm>
            <a:off x="4705791" y="1425720"/>
            <a:ext cx="1212947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  <a:tabLst>
                <a:tab pos="1994535" algn="l"/>
                <a:tab pos="3612356" algn="l"/>
              </a:tabLst>
            </a:pPr>
            <a:r>
              <a:rPr sz="2400" b="1" spc="-5" baseline="1736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К</a:t>
            </a:r>
            <a:r>
              <a:rPr sz="2400" b="1" baseline="1736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а</a:t>
            </a:r>
            <a:r>
              <a:rPr sz="2400" b="1" spc="-5" baseline="1736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ртофель</a:t>
            </a:r>
            <a:endParaRPr sz="2400" baseline="1736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object 15"/>
          <p:cNvSpPr/>
          <p:nvPr/>
        </p:nvSpPr>
        <p:spPr>
          <a:xfrm>
            <a:off x="6991189" y="2642709"/>
            <a:ext cx="1705994" cy="45719"/>
          </a:xfrm>
          <a:custGeom>
            <a:avLst/>
            <a:gdLst/>
            <a:ahLst/>
            <a:cxnLst/>
            <a:rect l="l" t="t" r="r" b="b"/>
            <a:pathLst>
              <a:path w="1879600">
                <a:moveTo>
                  <a:pt x="0" y="0"/>
                </a:moveTo>
                <a:lnTo>
                  <a:pt x="1879346" y="0"/>
                </a:lnTo>
              </a:path>
            </a:pathLst>
          </a:custGeom>
          <a:ln w="15875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20"/>
          <p:cNvSpPr txBox="1"/>
          <p:nvPr/>
        </p:nvSpPr>
        <p:spPr>
          <a:xfrm>
            <a:off x="7011559" y="2656332"/>
            <a:ext cx="335203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00" b="1" spc="-4" dirty="0">
                <a:latin typeface="Arial Narrow"/>
                <a:cs typeface="Arial Narrow"/>
              </a:rPr>
              <a:t>2016г.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67" name="object 21"/>
          <p:cNvSpPr txBox="1"/>
          <p:nvPr/>
        </p:nvSpPr>
        <p:spPr>
          <a:xfrm>
            <a:off x="7468286" y="2652903"/>
            <a:ext cx="335746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00" b="1" spc="-4" dirty="0">
                <a:latin typeface="Arial Narrow"/>
                <a:cs typeface="Arial Narrow"/>
              </a:rPr>
              <a:t>2017г.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68" name="object 22"/>
          <p:cNvSpPr txBox="1"/>
          <p:nvPr/>
        </p:nvSpPr>
        <p:spPr>
          <a:xfrm>
            <a:off x="7896024" y="2655664"/>
            <a:ext cx="715968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00" b="1" dirty="0">
                <a:latin typeface="Arial Narrow"/>
                <a:cs typeface="Arial Narrow"/>
              </a:rPr>
              <a:t>2018г.</a:t>
            </a:r>
            <a:r>
              <a:rPr sz="1000" b="1" spc="4" dirty="0">
                <a:latin typeface="Arial Narrow"/>
                <a:cs typeface="Arial Narrow"/>
              </a:rPr>
              <a:t> </a:t>
            </a:r>
            <a:r>
              <a:rPr lang="ru-RU" sz="1000" b="1" spc="4" dirty="0" smtClean="0">
                <a:latin typeface="Arial Narrow"/>
                <a:cs typeface="Arial Narrow"/>
              </a:rPr>
              <a:t>  </a:t>
            </a:r>
            <a:r>
              <a:rPr sz="1000" b="1" spc="-4" dirty="0" smtClean="0">
                <a:latin typeface="Arial Narrow"/>
                <a:cs typeface="Arial Narrow"/>
              </a:rPr>
              <a:t>2019г</a:t>
            </a:r>
            <a:r>
              <a:rPr sz="1000" b="1" spc="-4" dirty="0">
                <a:latin typeface="Arial Narrow"/>
                <a:cs typeface="Arial Narrow"/>
              </a:rPr>
              <a:t>.</a:t>
            </a:r>
            <a:endParaRPr sz="1000" dirty="0"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1277838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58470" y="734627"/>
            <a:ext cx="7241236" cy="642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изводство продукции животноводства</a:t>
            </a:r>
          </a:p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 01.01.2020 г. (во всех категориях хозяйств)</a:t>
            </a:r>
          </a:p>
        </p:txBody>
      </p:sp>
      <p:sp>
        <p:nvSpPr>
          <p:cNvPr id="13" name="object 3"/>
          <p:cNvSpPr/>
          <p:nvPr/>
        </p:nvSpPr>
        <p:spPr>
          <a:xfrm>
            <a:off x="2145627" y="2553747"/>
            <a:ext cx="464849" cy="330287"/>
          </a:xfrm>
          <a:custGeom>
            <a:avLst/>
            <a:gdLst/>
            <a:ahLst/>
            <a:cxnLst/>
            <a:rect l="l" t="t" r="r" b="b"/>
            <a:pathLst>
              <a:path w="504189" h="365760">
                <a:moveTo>
                  <a:pt x="321437" y="0"/>
                </a:moveTo>
                <a:lnTo>
                  <a:pt x="321437" y="91312"/>
                </a:lnTo>
                <a:lnTo>
                  <a:pt x="0" y="91312"/>
                </a:lnTo>
                <a:lnTo>
                  <a:pt x="0" y="273938"/>
                </a:lnTo>
                <a:lnTo>
                  <a:pt x="321437" y="273938"/>
                </a:lnTo>
                <a:lnTo>
                  <a:pt x="321437" y="365251"/>
                </a:lnTo>
                <a:lnTo>
                  <a:pt x="504063" y="182625"/>
                </a:lnTo>
                <a:lnTo>
                  <a:pt x="321437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8"/>
          <p:cNvSpPr/>
          <p:nvPr/>
        </p:nvSpPr>
        <p:spPr>
          <a:xfrm>
            <a:off x="5878471" y="1547861"/>
            <a:ext cx="1650975" cy="165831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9"/>
          <p:cNvSpPr txBox="1"/>
          <p:nvPr/>
        </p:nvSpPr>
        <p:spPr>
          <a:xfrm>
            <a:off x="1733634" y="1545366"/>
            <a:ext cx="7230000" cy="2737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  <a:tabLst>
                <a:tab pos="3640455" algn="l"/>
              </a:tabLst>
            </a:pPr>
            <a:r>
              <a:rPr sz="1700" b="1" spc="-4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Молоко,</a:t>
            </a:r>
            <a:r>
              <a:rPr sz="1700" b="1" spc="8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700" b="1" spc="-8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тыс.тн	</a:t>
            </a:r>
            <a:r>
              <a:rPr sz="2500" b="1" spc="-5" baseline="1736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ыращено скота и </a:t>
            </a:r>
            <a:r>
              <a:rPr sz="2500" b="1" spc="-11" baseline="1736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тицы,</a:t>
            </a:r>
            <a:r>
              <a:rPr sz="2500" b="1" spc="23" baseline="1736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2500" b="1" spc="-11" baseline="1736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тыс.тн</a:t>
            </a:r>
            <a:endParaRPr sz="2500" baseline="1736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object 10"/>
          <p:cNvSpPr/>
          <p:nvPr/>
        </p:nvSpPr>
        <p:spPr>
          <a:xfrm>
            <a:off x="3356342" y="3685168"/>
            <a:ext cx="1452859" cy="1127105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11"/>
          <p:cNvSpPr txBox="1"/>
          <p:nvPr/>
        </p:nvSpPr>
        <p:spPr>
          <a:xfrm>
            <a:off x="6493315" y="1953265"/>
            <a:ext cx="734076" cy="2737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700" b="1" spc="-8" dirty="0">
                <a:latin typeface="Arial" pitchFamily="34" charset="0"/>
                <a:cs typeface="Arial" pitchFamily="34" charset="0"/>
              </a:rPr>
              <a:t>531,6</a:t>
            </a:r>
            <a:endParaRPr sz="1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object 12"/>
          <p:cNvSpPr txBox="1"/>
          <p:nvPr/>
        </p:nvSpPr>
        <p:spPr>
          <a:xfrm>
            <a:off x="4266139" y="3416832"/>
            <a:ext cx="1505547" cy="2737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700" b="1" spc="-4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Яйцо,</a:t>
            </a:r>
            <a:r>
              <a:rPr sz="1700" b="1" spc="-4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700" b="1" spc="-4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млн.шт.</a:t>
            </a:r>
            <a:endParaRPr sz="17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object 13"/>
          <p:cNvSpPr txBox="1"/>
          <p:nvPr/>
        </p:nvSpPr>
        <p:spPr>
          <a:xfrm>
            <a:off x="3800351" y="3702095"/>
            <a:ext cx="889326" cy="2737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700" b="1" spc="-8" dirty="0">
                <a:latin typeface="Arial" pitchFamily="34" charset="0"/>
                <a:cs typeface="Arial" pitchFamily="34" charset="0"/>
              </a:rPr>
              <a:t>1491,8</a:t>
            </a:r>
            <a:endParaRPr sz="1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object 14"/>
          <p:cNvSpPr/>
          <p:nvPr/>
        </p:nvSpPr>
        <p:spPr>
          <a:xfrm>
            <a:off x="759744" y="2025401"/>
            <a:ext cx="1586341" cy="119041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5"/>
          <p:cNvSpPr txBox="1"/>
          <p:nvPr/>
        </p:nvSpPr>
        <p:spPr>
          <a:xfrm>
            <a:off x="1278667" y="1888424"/>
            <a:ext cx="889326" cy="2737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700" b="1" spc="-8" dirty="0">
                <a:latin typeface="Arial" pitchFamily="34" charset="0"/>
                <a:cs typeface="Arial" pitchFamily="34" charset="0"/>
              </a:rPr>
              <a:t>1893,1</a:t>
            </a:r>
            <a:endParaRPr sz="1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object 16"/>
          <p:cNvSpPr/>
          <p:nvPr/>
        </p:nvSpPr>
        <p:spPr>
          <a:xfrm>
            <a:off x="2426176" y="1963473"/>
            <a:ext cx="1530138" cy="1271606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7"/>
          <p:cNvSpPr txBox="1"/>
          <p:nvPr/>
        </p:nvSpPr>
        <p:spPr>
          <a:xfrm>
            <a:off x="2945356" y="2058201"/>
            <a:ext cx="889326" cy="2737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700" b="1" spc="-8" dirty="0">
                <a:latin typeface="Arial" pitchFamily="34" charset="0"/>
                <a:cs typeface="Arial" pitchFamily="34" charset="0"/>
              </a:rPr>
              <a:t>1350,5</a:t>
            </a:r>
            <a:endParaRPr sz="1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object 18"/>
          <p:cNvSpPr/>
          <p:nvPr/>
        </p:nvSpPr>
        <p:spPr>
          <a:xfrm>
            <a:off x="7563169" y="2125864"/>
            <a:ext cx="1555430" cy="1077561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19"/>
          <p:cNvSpPr txBox="1"/>
          <p:nvPr/>
        </p:nvSpPr>
        <p:spPr>
          <a:xfrm>
            <a:off x="8120288" y="2097857"/>
            <a:ext cx="734076" cy="2737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700" b="1" spc="-8" dirty="0">
                <a:latin typeface="Arial" pitchFamily="34" charset="0"/>
                <a:cs typeface="Arial" pitchFamily="34" charset="0"/>
              </a:rPr>
              <a:t>401,8</a:t>
            </a:r>
            <a:endParaRPr sz="1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object 20"/>
          <p:cNvSpPr/>
          <p:nvPr/>
        </p:nvSpPr>
        <p:spPr>
          <a:xfrm>
            <a:off x="1034299" y="3135533"/>
            <a:ext cx="814949" cy="231085"/>
          </a:xfrm>
          <a:custGeom>
            <a:avLst/>
            <a:gdLst/>
            <a:ahLst/>
            <a:cxnLst/>
            <a:rect l="l" t="t" r="r" b="b"/>
            <a:pathLst>
              <a:path w="883919" h="255905">
                <a:moveTo>
                  <a:pt x="0" y="42545"/>
                </a:moveTo>
                <a:lnTo>
                  <a:pt x="3345" y="25985"/>
                </a:lnTo>
                <a:lnTo>
                  <a:pt x="12469" y="12461"/>
                </a:lnTo>
                <a:lnTo>
                  <a:pt x="26001" y="3343"/>
                </a:lnTo>
                <a:lnTo>
                  <a:pt x="42570" y="0"/>
                </a:lnTo>
                <a:lnTo>
                  <a:pt x="841133" y="0"/>
                </a:lnTo>
                <a:lnTo>
                  <a:pt x="857700" y="3343"/>
                </a:lnTo>
                <a:lnTo>
                  <a:pt x="871227" y="12461"/>
                </a:lnTo>
                <a:lnTo>
                  <a:pt x="880347" y="25985"/>
                </a:lnTo>
                <a:lnTo>
                  <a:pt x="883691" y="42545"/>
                </a:lnTo>
                <a:lnTo>
                  <a:pt x="883691" y="212852"/>
                </a:lnTo>
                <a:lnTo>
                  <a:pt x="880347" y="229411"/>
                </a:lnTo>
                <a:lnTo>
                  <a:pt x="871227" y="242935"/>
                </a:lnTo>
                <a:lnTo>
                  <a:pt x="857700" y="252053"/>
                </a:lnTo>
                <a:lnTo>
                  <a:pt x="841133" y="255397"/>
                </a:lnTo>
                <a:lnTo>
                  <a:pt x="42570" y="255397"/>
                </a:lnTo>
                <a:lnTo>
                  <a:pt x="26001" y="252053"/>
                </a:lnTo>
                <a:lnTo>
                  <a:pt x="12469" y="242935"/>
                </a:lnTo>
                <a:lnTo>
                  <a:pt x="3345" y="229411"/>
                </a:lnTo>
                <a:lnTo>
                  <a:pt x="0" y="212852"/>
                </a:lnTo>
                <a:lnTo>
                  <a:pt x="0" y="42545"/>
                </a:lnTo>
                <a:close/>
              </a:path>
            </a:pathLst>
          </a:custGeom>
          <a:ln w="12700">
            <a:solidFill>
              <a:srgbClr val="008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21"/>
          <p:cNvSpPr/>
          <p:nvPr/>
        </p:nvSpPr>
        <p:spPr>
          <a:xfrm>
            <a:off x="2636235" y="3134960"/>
            <a:ext cx="1062596" cy="231085"/>
          </a:xfrm>
          <a:custGeom>
            <a:avLst/>
            <a:gdLst/>
            <a:ahLst/>
            <a:cxnLst/>
            <a:rect l="l" t="t" r="r" b="b"/>
            <a:pathLst>
              <a:path w="1152525" h="255905">
                <a:moveTo>
                  <a:pt x="0" y="42544"/>
                </a:moveTo>
                <a:lnTo>
                  <a:pt x="3343" y="25985"/>
                </a:lnTo>
                <a:lnTo>
                  <a:pt x="12461" y="12461"/>
                </a:lnTo>
                <a:lnTo>
                  <a:pt x="25985" y="3343"/>
                </a:lnTo>
                <a:lnTo>
                  <a:pt x="42544" y="0"/>
                </a:lnTo>
                <a:lnTo>
                  <a:pt x="1109599" y="0"/>
                </a:lnTo>
                <a:lnTo>
                  <a:pt x="1126158" y="3343"/>
                </a:lnTo>
                <a:lnTo>
                  <a:pt x="1139682" y="12461"/>
                </a:lnTo>
                <a:lnTo>
                  <a:pt x="1148800" y="25985"/>
                </a:lnTo>
                <a:lnTo>
                  <a:pt x="1152144" y="42544"/>
                </a:lnTo>
                <a:lnTo>
                  <a:pt x="1152144" y="212851"/>
                </a:lnTo>
                <a:lnTo>
                  <a:pt x="1148800" y="229411"/>
                </a:lnTo>
                <a:lnTo>
                  <a:pt x="1139682" y="242935"/>
                </a:lnTo>
                <a:lnTo>
                  <a:pt x="1126158" y="252053"/>
                </a:lnTo>
                <a:lnTo>
                  <a:pt x="1109599" y="255396"/>
                </a:lnTo>
                <a:lnTo>
                  <a:pt x="42544" y="255396"/>
                </a:lnTo>
                <a:lnTo>
                  <a:pt x="25985" y="252053"/>
                </a:lnTo>
                <a:lnTo>
                  <a:pt x="12461" y="242935"/>
                </a:lnTo>
                <a:lnTo>
                  <a:pt x="3343" y="229411"/>
                </a:lnTo>
                <a:lnTo>
                  <a:pt x="0" y="212851"/>
                </a:lnTo>
                <a:lnTo>
                  <a:pt x="0" y="42544"/>
                </a:lnTo>
                <a:close/>
              </a:path>
            </a:pathLst>
          </a:custGeom>
          <a:ln w="12700">
            <a:solidFill>
              <a:srgbClr val="008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22"/>
          <p:cNvSpPr txBox="1"/>
          <p:nvPr/>
        </p:nvSpPr>
        <p:spPr>
          <a:xfrm>
            <a:off x="2569276" y="3131404"/>
            <a:ext cx="1063182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2383" algn="r">
              <a:spcBef>
                <a:spcPts val="832"/>
              </a:spcBef>
              <a:tabLst>
                <a:tab pos="854869" algn="l"/>
              </a:tabLst>
            </a:pPr>
            <a:r>
              <a:rPr sz="1100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 </a:t>
            </a:r>
            <a:r>
              <a:rPr sz="1100" spc="-34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300" b="1" dirty="0">
                <a:latin typeface="Arial" pitchFamily="34" charset="0"/>
                <a:cs typeface="Arial" pitchFamily="34" charset="0"/>
              </a:rPr>
              <a:t>СХО и </a:t>
            </a:r>
            <a:r>
              <a:rPr sz="1300" b="1" dirty="0" smtClean="0">
                <a:latin typeface="Arial" pitchFamily="34" charset="0"/>
                <a:cs typeface="Arial" pitchFamily="34" charset="0"/>
              </a:rPr>
              <a:t>КФХ</a:t>
            </a:r>
            <a:endParaRPr sz="13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object 23"/>
          <p:cNvSpPr/>
          <p:nvPr/>
        </p:nvSpPr>
        <p:spPr>
          <a:xfrm>
            <a:off x="6256439" y="3124295"/>
            <a:ext cx="816706" cy="231085"/>
          </a:xfrm>
          <a:custGeom>
            <a:avLst/>
            <a:gdLst/>
            <a:ahLst/>
            <a:cxnLst/>
            <a:rect l="l" t="t" r="r" b="b"/>
            <a:pathLst>
              <a:path w="885825" h="255905">
                <a:moveTo>
                  <a:pt x="0" y="42672"/>
                </a:moveTo>
                <a:lnTo>
                  <a:pt x="3343" y="26038"/>
                </a:lnTo>
                <a:lnTo>
                  <a:pt x="12461" y="12477"/>
                </a:lnTo>
                <a:lnTo>
                  <a:pt x="25985" y="3345"/>
                </a:lnTo>
                <a:lnTo>
                  <a:pt x="42545" y="0"/>
                </a:lnTo>
                <a:lnTo>
                  <a:pt x="842644" y="0"/>
                </a:lnTo>
                <a:lnTo>
                  <a:pt x="859278" y="3345"/>
                </a:lnTo>
                <a:lnTo>
                  <a:pt x="872839" y="12477"/>
                </a:lnTo>
                <a:lnTo>
                  <a:pt x="881971" y="26038"/>
                </a:lnTo>
                <a:lnTo>
                  <a:pt x="885316" y="42672"/>
                </a:lnTo>
                <a:lnTo>
                  <a:pt x="885316" y="212851"/>
                </a:lnTo>
                <a:lnTo>
                  <a:pt x="881971" y="229411"/>
                </a:lnTo>
                <a:lnTo>
                  <a:pt x="872839" y="242935"/>
                </a:lnTo>
                <a:lnTo>
                  <a:pt x="859278" y="252053"/>
                </a:lnTo>
                <a:lnTo>
                  <a:pt x="842644" y="255397"/>
                </a:lnTo>
                <a:lnTo>
                  <a:pt x="42545" y="255397"/>
                </a:lnTo>
                <a:lnTo>
                  <a:pt x="25985" y="252053"/>
                </a:lnTo>
                <a:lnTo>
                  <a:pt x="12461" y="242935"/>
                </a:lnTo>
                <a:lnTo>
                  <a:pt x="3343" y="229411"/>
                </a:lnTo>
                <a:lnTo>
                  <a:pt x="0" y="212851"/>
                </a:lnTo>
                <a:lnTo>
                  <a:pt x="0" y="42672"/>
                </a:lnTo>
                <a:close/>
              </a:path>
            </a:pathLst>
          </a:custGeom>
          <a:ln w="12700">
            <a:solidFill>
              <a:srgbClr val="C793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24"/>
          <p:cNvSpPr/>
          <p:nvPr/>
        </p:nvSpPr>
        <p:spPr>
          <a:xfrm>
            <a:off x="5136587" y="3760858"/>
            <a:ext cx="1310944" cy="1051414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26"/>
          <p:cNvSpPr txBox="1"/>
          <p:nvPr/>
        </p:nvSpPr>
        <p:spPr>
          <a:xfrm>
            <a:off x="5548277" y="3836320"/>
            <a:ext cx="874071" cy="27379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71"/>
              </a:spcBef>
            </a:pPr>
            <a:r>
              <a:rPr sz="1700" b="1" spc="-19" dirty="0">
                <a:latin typeface="Arial" pitchFamily="34" charset="0"/>
                <a:cs typeface="Arial" pitchFamily="34" charset="0"/>
              </a:rPr>
              <a:t>1184,3</a:t>
            </a:r>
            <a:endParaRPr sz="17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object 29"/>
          <p:cNvSpPr/>
          <p:nvPr/>
        </p:nvSpPr>
        <p:spPr>
          <a:xfrm>
            <a:off x="7304985" y="2581156"/>
            <a:ext cx="464849" cy="330287"/>
          </a:xfrm>
          <a:custGeom>
            <a:avLst/>
            <a:gdLst/>
            <a:ahLst/>
            <a:cxnLst/>
            <a:rect l="l" t="t" r="r" b="b"/>
            <a:pathLst>
              <a:path w="504190" h="365760">
                <a:moveTo>
                  <a:pt x="321437" y="0"/>
                </a:moveTo>
                <a:lnTo>
                  <a:pt x="321437" y="91312"/>
                </a:lnTo>
                <a:lnTo>
                  <a:pt x="0" y="91312"/>
                </a:lnTo>
                <a:lnTo>
                  <a:pt x="0" y="273938"/>
                </a:lnTo>
                <a:lnTo>
                  <a:pt x="321437" y="273938"/>
                </a:lnTo>
                <a:lnTo>
                  <a:pt x="321437" y="365251"/>
                </a:lnTo>
                <a:lnTo>
                  <a:pt x="504063" y="182625"/>
                </a:lnTo>
                <a:lnTo>
                  <a:pt x="321437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30"/>
          <p:cNvSpPr/>
          <p:nvPr/>
        </p:nvSpPr>
        <p:spPr>
          <a:xfrm>
            <a:off x="7252645" y="2599276"/>
            <a:ext cx="320360" cy="313773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31"/>
          <p:cNvSpPr/>
          <p:nvPr/>
        </p:nvSpPr>
        <p:spPr>
          <a:xfrm>
            <a:off x="7379104" y="2599276"/>
            <a:ext cx="369537" cy="313773"/>
          </a:xfrm>
          <a:prstGeom prst="rect">
            <a:avLst/>
          </a:prstGeo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32"/>
          <p:cNvSpPr/>
          <p:nvPr/>
        </p:nvSpPr>
        <p:spPr>
          <a:xfrm>
            <a:off x="7554739" y="2599276"/>
            <a:ext cx="233243" cy="313773"/>
          </a:xfrm>
          <a:prstGeom prst="rect">
            <a:avLst/>
          </a:prstGeom>
          <a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33"/>
          <p:cNvSpPr txBox="1"/>
          <p:nvPr/>
        </p:nvSpPr>
        <p:spPr>
          <a:xfrm>
            <a:off x="7332268" y="2632419"/>
            <a:ext cx="365322" cy="16780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00" b="1" dirty="0">
                <a:solidFill>
                  <a:srgbClr val="FFFFFF"/>
                </a:solidFill>
                <a:latin typeface="Arial"/>
                <a:cs typeface="Arial"/>
              </a:rPr>
              <a:t>в</a:t>
            </a:r>
            <a:r>
              <a:rPr sz="900" b="1" spc="-53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900" b="1" spc="-23" dirty="0">
                <a:solidFill>
                  <a:srgbClr val="FFFFFF"/>
                </a:solidFill>
                <a:latin typeface="Arial"/>
                <a:cs typeface="Arial"/>
              </a:rPr>
              <a:t>т.ч.</a:t>
            </a:r>
            <a:endParaRPr sz="900">
              <a:latin typeface="Arial"/>
              <a:cs typeface="Arial"/>
            </a:endParaRPr>
          </a:p>
        </p:txBody>
      </p:sp>
      <p:sp>
        <p:nvSpPr>
          <p:cNvPr id="51" name="object 34"/>
          <p:cNvSpPr/>
          <p:nvPr/>
        </p:nvSpPr>
        <p:spPr>
          <a:xfrm>
            <a:off x="4695974" y="4246472"/>
            <a:ext cx="508173" cy="330287"/>
          </a:xfrm>
          <a:custGeom>
            <a:avLst/>
            <a:gdLst/>
            <a:ahLst/>
            <a:cxnLst/>
            <a:rect l="l" t="t" r="r" b="b"/>
            <a:pathLst>
              <a:path w="551179" h="365760">
                <a:moveTo>
                  <a:pt x="368553" y="0"/>
                </a:moveTo>
                <a:lnTo>
                  <a:pt x="368553" y="91325"/>
                </a:lnTo>
                <a:lnTo>
                  <a:pt x="0" y="91325"/>
                </a:lnTo>
                <a:lnTo>
                  <a:pt x="0" y="273977"/>
                </a:lnTo>
                <a:lnTo>
                  <a:pt x="368553" y="273977"/>
                </a:lnTo>
                <a:lnTo>
                  <a:pt x="368553" y="365302"/>
                </a:lnTo>
                <a:lnTo>
                  <a:pt x="551179" y="182651"/>
                </a:lnTo>
                <a:lnTo>
                  <a:pt x="368553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38"/>
          <p:cNvSpPr txBox="1"/>
          <p:nvPr/>
        </p:nvSpPr>
        <p:spPr>
          <a:xfrm>
            <a:off x="4766580" y="4311566"/>
            <a:ext cx="364737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в</a:t>
            </a:r>
            <a:r>
              <a:rPr sz="900" b="1" spc="-56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 </a:t>
            </a:r>
            <a:r>
              <a:rPr sz="900" b="1" spc="-23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т.ч.</a:t>
            </a:r>
            <a:endParaRPr sz="9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</p:txBody>
      </p:sp>
      <p:sp>
        <p:nvSpPr>
          <p:cNvPr id="57" name="object 40"/>
          <p:cNvSpPr txBox="1"/>
          <p:nvPr/>
        </p:nvSpPr>
        <p:spPr>
          <a:xfrm>
            <a:off x="1029196" y="2769993"/>
            <a:ext cx="672798" cy="2135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3810" algn="r">
              <a:spcBef>
                <a:spcPts val="79"/>
              </a:spcBef>
            </a:pPr>
            <a:r>
              <a:rPr sz="1300" b="1" spc="-4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0</a:t>
            </a:r>
            <a:r>
              <a:rPr sz="13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,4</a:t>
            </a:r>
            <a:r>
              <a:rPr sz="13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%</a:t>
            </a:r>
            <a:endParaRPr sz="13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object 42"/>
          <p:cNvSpPr txBox="1"/>
          <p:nvPr/>
        </p:nvSpPr>
        <p:spPr>
          <a:xfrm>
            <a:off x="6173893" y="2762585"/>
            <a:ext cx="672118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810" algn="r">
              <a:spcBef>
                <a:spcPts val="75"/>
              </a:spcBef>
            </a:pPr>
            <a:r>
              <a:rPr sz="1300" b="1" spc="-4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</a:t>
            </a:r>
            <a:r>
              <a:rPr sz="13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0</a:t>
            </a:r>
            <a:r>
              <a:rPr sz="1300" b="1" spc="-4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,0%</a:t>
            </a:r>
            <a:endParaRPr sz="13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object 44"/>
          <p:cNvSpPr txBox="1"/>
          <p:nvPr/>
        </p:nvSpPr>
        <p:spPr>
          <a:xfrm>
            <a:off x="3695554" y="4393586"/>
            <a:ext cx="672798" cy="2135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525">
              <a:spcBef>
                <a:spcPts val="79"/>
              </a:spcBef>
            </a:pPr>
            <a:r>
              <a:rPr sz="1300" b="1" spc="-4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0</a:t>
            </a:r>
            <a:r>
              <a:rPr sz="13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7,5%</a:t>
            </a:r>
            <a:endParaRPr sz="13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object 46"/>
          <p:cNvSpPr txBox="1"/>
          <p:nvPr/>
        </p:nvSpPr>
        <p:spPr>
          <a:xfrm>
            <a:off x="2804964" y="2777677"/>
            <a:ext cx="672798" cy="2135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9525">
              <a:spcBef>
                <a:spcPts val="79"/>
              </a:spcBef>
            </a:pPr>
            <a:r>
              <a:rPr sz="1300" b="1" spc="-4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0</a:t>
            </a:r>
            <a:r>
              <a:rPr sz="13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4,3%</a:t>
            </a:r>
            <a:endParaRPr sz="13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object 48"/>
          <p:cNvSpPr txBox="1"/>
          <p:nvPr/>
        </p:nvSpPr>
        <p:spPr>
          <a:xfrm>
            <a:off x="7949451" y="2765911"/>
            <a:ext cx="672118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300" b="1" spc="-4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02,9%</a:t>
            </a:r>
            <a:endParaRPr sz="13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object 50"/>
          <p:cNvSpPr txBox="1"/>
          <p:nvPr/>
        </p:nvSpPr>
        <p:spPr>
          <a:xfrm>
            <a:off x="5398752" y="4388220"/>
            <a:ext cx="672118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300" b="1" spc="-4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09,7%</a:t>
            </a:r>
            <a:endParaRPr sz="13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object 51"/>
          <p:cNvSpPr/>
          <p:nvPr/>
        </p:nvSpPr>
        <p:spPr>
          <a:xfrm>
            <a:off x="1246254" y="3762906"/>
            <a:ext cx="1828357" cy="1220617"/>
          </a:xfrm>
          <a:prstGeom prst="rect">
            <a:avLst/>
          </a:prstGeom>
          <a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52"/>
          <p:cNvSpPr/>
          <p:nvPr/>
        </p:nvSpPr>
        <p:spPr>
          <a:xfrm>
            <a:off x="6707003" y="3762906"/>
            <a:ext cx="1833450" cy="1220617"/>
          </a:xfrm>
          <a:prstGeom prst="rect">
            <a:avLst/>
          </a:prstGeom>
          <a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55"/>
          <p:cNvSpPr/>
          <p:nvPr/>
        </p:nvSpPr>
        <p:spPr>
          <a:xfrm>
            <a:off x="4033489" y="2048599"/>
            <a:ext cx="1824960" cy="1220617"/>
          </a:xfrm>
          <a:prstGeom prst="rect">
            <a:avLst/>
          </a:prstGeom>
          <a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22"/>
          <p:cNvSpPr txBox="1"/>
          <p:nvPr/>
        </p:nvSpPr>
        <p:spPr>
          <a:xfrm>
            <a:off x="1050336" y="3131404"/>
            <a:ext cx="745338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2383" algn="ctr">
              <a:spcBef>
                <a:spcPts val="832"/>
              </a:spcBef>
              <a:tabLst>
                <a:tab pos="854869" algn="l"/>
              </a:tabLst>
            </a:pPr>
            <a:r>
              <a:rPr sz="1100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 </a:t>
            </a:r>
            <a:r>
              <a:rPr sz="1100" spc="-34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lang="ru-RU" sz="1300" b="1" dirty="0" smtClean="0">
                <a:latin typeface="Arial" pitchFamily="34" charset="0"/>
                <a:cs typeface="Arial" pitchFamily="34" charset="0"/>
              </a:rPr>
              <a:t>всего</a:t>
            </a:r>
            <a:endParaRPr lang="ru-RU" sz="1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object 22"/>
          <p:cNvSpPr txBox="1"/>
          <p:nvPr/>
        </p:nvSpPr>
        <p:spPr>
          <a:xfrm>
            <a:off x="7764153" y="3131404"/>
            <a:ext cx="1063182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2383" algn="r">
              <a:spcBef>
                <a:spcPts val="832"/>
              </a:spcBef>
              <a:tabLst>
                <a:tab pos="854869" algn="l"/>
              </a:tabLst>
            </a:pPr>
            <a:r>
              <a:rPr sz="1100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 </a:t>
            </a:r>
            <a:r>
              <a:rPr sz="1100" spc="-34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300" b="1" dirty="0">
                <a:latin typeface="Arial" pitchFamily="34" charset="0"/>
                <a:cs typeface="Arial" pitchFamily="34" charset="0"/>
              </a:rPr>
              <a:t>СХО и </a:t>
            </a:r>
            <a:r>
              <a:rPr sz="1300" b="1" dirty="0" smtClean="0">
                <a:latin typeface="Arial" pitchFamily="34" charset="0"/>
                <a:cs typeface="Arial" pitchFamily="34" charset="0"/>
              </a:rPr>
              <a:t>КФХ</a:t>
            </a:r>
            <a:endParaRPr sz="13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object 22"/>
          <p:cNvSpPr txBox="1"/>
          <p:nvPr/>
        </p:nvSpPr>
        <p:spPr>
          <a:xfrm>
            <a:off x="6245213" y="3131404"/>
            <a:ext cx="745338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2383" algn="ctr">
              <a:spcBef>
                <a:spcPts val="832"/>
              </a:spcBef>
              <a:tabLst>
                <a:tab pos="854869" algn="l"/>
              </a:tabLst>
            </a:pPr>
            <a:r>
              <a:rPr sz="1100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 </a:t>
            </a:r>
            <a:r>
              <a:rPr sz="1100" spc="-34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lang="ru-RU" sz="1300" b="1" dirty="0" smtClean="0">
                <a:latin typeface="Arial" pitchFamily="34" charset="0"/>
                <a:cs typeface="Arial" pitchFamily="34" charset="0"/>
              </a:rPr>
              <a:t>всего</a:t>
            </a:r>
            <a:endParaRPr lang="ru-RU" sz="1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object 23"/>
          <p:cNvSpPr/>
          <p:nvPr/>
        </p:nvSpPr>
        <p:spPr>
          <a:xfrm>
            <a:off x="7816436" y="3124295"/>
            <a:ext cx="1060586" cy="231085"/>
          </a:xfrm>
          <a:custGeom>
            <a:avLst/>
            <a:gdLst/>
            <a:ahLst/>
            <a:cxnLst/>
            <a:rect l="l" t="t" r="r" b="b"/>
            <a:pathLst>
              <a:path w="885825" h="255905">
                <a:moveTo>
                  <a:pt x="0" y="42672"/>
                </a:moveTo>
                <a:lnTo>
                  <a:pt x="3343" y="26038"/>
                </a:lnTo>
                <a:lnTo>
                  <a:pt x="12461" y="12477"/>
                </a:lnTo>
                <a:lnTo>
                  <a:pt x="25985" y="3345"/>
                </a:lnTo>
                <a:lnTo>
                  <a:pt x="42545" y="0"/>
                </a:lnTo>
                <a:lnTo>
                  <a:pt x="842644" y="0"/>
                </a:lnTo>
                <a:lnTo>
                  <a:pt x="859278" y="3345"/>
                </a:lnTo>
                <a:lnTo>
                  <a:pt x="872839" y="12477"/>
                </a:lnTo>
                <a:lnTo>
                  <a:pt x="881971" y="26038"/>
                </a:lnTo>
                <a:lnTo>
                  <a:pt x="885316" y="42672"/>
                </a:lnTo>
                <a:lnTo>
                  <a:pt x="885316" y="212851"/>
                </a:lnTo>
                <a:lnTo>
                  <a:pt x="881971" y="229411"/>
                </a:lnTo>
                <a:lnTo>
                  <a:pt x="872839" y="242935"/>
                </a:lnTo>
                <a:lnTo>
                  <a:pt x="859278" y="252053"/>
                </a:lnTo>
                <a:lnTo>
                  <a:pt x="842644" y="255397"/>
                </a:lnTo>
                <a:lnTo>
                  <a:pt x="42545" y="255397"/>
                </a:lnTo>
                <a:lnTo>
                  <a:pt x="25985" y="252053"/>
                </a:lnTo>
                <a:lnTo>
                  <a:pt x="12461" y="242935"/>
                </a:lnTo>
                <a:lnTo>
                  <a:pt x="3343" y="229411"/>
                </a:lnTo>
                <a:lnTo>
                  <a:pt x="0" y="212851"/>
                </a:lnTo>
                <a:lnTo>
                  <a:pt x="0" y="42672"/>
                </a:lnTo>
                <a:close/>
              </a:path>
            </a:pathLst>
          </a:custGeom>
          <a:ln w="12700">
            <a:solidFill>
              <a:srgbClr val="C793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20"/>
          <p:cNvSpPr/>
          <p:nvPr/>
        </p:nvSpPr>
        <p:spPr>
          <a:xfrm>
            <a:off x="3616421" y="4728055"/>
            <a:ext cx="814949" cy="231085"/>
          </a:xfrm>
          <a:custGeom>
            <a:avLst/>
            <a:gdLst/>
            <a:ahLst/>
            <a:cxnLst/>
            <a:rect l="l" t="t" r="r" b="b"/>
            <a:pathLst>
              <a:path w="883919" h="255905">
                <a:moveTo>
                  <a:pt x="0" y="42545"/>
                </a:moveTo>
                <a:lnTo>
                  <a:pt x="3345" y="25985"/>
                </a:lnTo>
                <a:lnTo>
                  <a:pt x="12469" y="12461"/>
                </a:lnTo>
                <a:lnTo>
                  <a:pt x="26001" y="3343"/>
                </a:lnTo>
                <a:lnTo>
                  <a:pt x="42570" y="0"/>
                </a:lnTo>
                <a:lnTo>
                  <a:pt x="841133" y="0"/>
                </a:lnTo>
                <a:lnTo>
                  <a:pt x="857700" y="3343"/>
                </a:lnTo>
                <a:lnTo>
                  <a:pt x="871227" y="12461"/>
                </a:lnTo>
                <a:lnTo>
                  <a:pt x="880347" y="25985"/>
                </a:lnTo>
                <a:lnTo>
                  <a:pt x="883691" y="42545"/>
                </a:lnTo>
                <a:lnTo>
                  <a:pt x="883691" y="212852"/>
                </a:lnTo>
                <a:lnTo>
                  <a:pt x="880347" y="229411"/>
                </a:lnTo>
                <a:lnTo>
                  <a:pt x="871227" y="242935"/>
                </a:lnTo>
                <a:lnTo>
                  <a:pt x="857700" y="252053"/>
                </a:lnTo>
                <a:lnTo>
                  <a:pt x="841133" y="255397"/>
                </a:lnTo>
                <a:lnTo>
                  <a:pt x="42570" y="255397"/>
                </a:lnTo>
                <a:lnTo>
                  <a:pt x="26001" y="252053"/>
                </a:lnTo>
                <a:lnTo>
                  <a:pt x="12469" y="242935"/>
                </a:lnTo>
                <a:lnTo>
                  <a:pt x="3345" y="229411"/>
                </a:lnTo>
                <a:lnTo>
                  <a:pt x="0" y="212852"/>
                </a:lnTo>
                <a:lnTo>
                  <a:pt x="0" y="42545"/>
                </a:lnTo>
                <a:close/>
              </a:path>
            </a:pathLst>
          </a:custGeom>
          <a:ln w="12700">
            <a:solidFill>
              <a:srgbClr val="00B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21"/>
          <p:cNvSpPr/>
          <p:nvPr/>
        </p:nvSpPr>
        <p:spPr>
          <a:xfrm>
            <a:off x="5218357" y="4727482"/>
            <a:ext cx="1062596" cy="231085"/>
          </a:xfrm>
          <a:custGeom>
            <a:avLst/>
            <a:gdLst/>
            <a:ahLst/>
            <a:cxnLst/>
            <a:rect l="l" t="t" r="r" b="b"/>
            <a:pathLst>
              <a:path w="1152525" h="255905">
                <a:moveTo>
                  <a:pt x="0" y="42544"/>
                </a:moveTo>
                <a:lnTo>
                  <a:pt x="3343" y="25985"/>
                </a:lnTo>
                <a:lnTo>
                  <a:pt x="12461" y="12461"/>
                </a:lnTo>
                <a:lnTo>
                  <a:pt x="25985" y="3343"/>
                </a:lnTo>
                <a:lnTo>
                  <a:pt x="42544" y="0"/>
                </a:lnTo>
                <a:lnTo>
                  <a:pt x="1109599" y="0"/>
                </a:lnTo>
                <a:lnTo>
                  <a:pt x="1126158" y="3343"/>
                </a:lnTo>
                <a:lnTo>
                  <a:pt x="1139682" y="12461"/>
                </a:lnTo>
                <a:lnTo>
                  <a:pt x="1148800" y="25985"/>
                </a:lnTo>
                <a:lnTo>
                  <a:pt x="1152144" y="42544"/>
                </a:lnTo>
                <a:lnTo>
                  <a:pt x="1152144" y="212851"/>
                </a:lnTo>
                <a:lnTo>
                  <a:pt x="1148800" y="229411"/>
                </a:lnTo>
                <a:lnTo>
                  <a:pt x="1139682" y="242935"/>
                </a:lnTo>
                <a:lnTo>
                  <a:pt x="1126158" y="252053"/>
                </a:lnTo>
                <a:lnTo>
                  <a:pt x="1109599" y="255396"/>
                </a:lnTo>
                <a:lnTo>
                  <a:pt x="42544" y="255396"/>
                </a:lnTo>
                <a:lnTo>
                  <a:pt x="25985" y="252053"/>
                </a:lnTo>
                <a:lnTo>
                  <a:pt x="12461" y="242935"/>
                </a:lnTo>
                <a:lnTo>
                  <a:pt x="3343" y="229411"/>
                </a:lnTo>
                <a:lnTo>
                  <a:pt x="0" y="212851"/>
                </a:lnTo>
                <a:lnTo>
                  <a:pt x="0" y="42544"/>
                </a:lnTo>
                <a:close/>
              </a:path>
            </a:pathLst>
          </a:custGeom>
          <a:ln w="12700">
            <a:solidFill>
              <a:srgbClr val="00B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22"/>
          <p:cNvSpPr txBox="1"/>
          <p:nvPr/>
        </p:nvSpPr>
        <p:spPr>
          <a:xfrm>
            <a:off x="5151398" y="4723926"/>
            <a:ext cx="1063182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2383" algn="r">
              <a:spcBef>
                <a:spcPts val="832"/>
              </a:spcBef>
              <a:tabLst>
                <a:tab pos="854869" algn="l"/>
              </a:tabLst>
            </a:pPr>
            <a:r>
              <a:rPr sz="1100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 </a:t>
            </a:r>
            <a:r>
              <a:rPr sz="1100" spc="-34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300" b="1" dirty="0">
                <a:latin typeface="Arial" pitchFamily="34" charset="0"/>
                <a:cs typeface="Arial" pitchFamily="34" charset="0"/>
              </a:rPr>
              <a:t>СХО и </a:t>
            </a:r>
            <a:r>
              <a:rPr sz="1300" b="1" dirty="0" smtClean="0">
                <a:latin typeface="Arial" pitchFamily="34" charset="0"/>
                <a:cs typeface="Arial" pitchFamily="34" charset="0"/>
              </a:rPr>
              <a:t>КФХ</a:t>
            </a:r>
            <a:endParaRPr sz="13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object 22"/>
          <p:cNvSpPr txBox="1"/>
          <p:nvPr/>
        </p:nvSpPr>
        <p:spPr>
          <a:xfrm>
            <a:off x="3632458" y="4723926"/>
            <a:ext cx="745338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12383" algn="ctr">
              <a:spcBef>
                <a:spcPts val="832"/>
              </a:spcBef>
              <a:tabLst>
                <a:tab pos="854869" algn="l"/>
              </a:tabLst>
            </a:pPr>
            <a:r>
              <a:rPr sz="1100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 </a:t>
            </a:r>
            <a:r>
              <a:rPr sz="1100" spc="-34" dirty="0">
                <a:uFill>
                  <a:solidFill>
                    <a:srgbClr val="008000"/>
                  </a:solidFill>
                </a:uFill>
                <a:latin typeface="Times New Roman"/>
                <a:cs typeface="Times New Roman"/>
              </a:rPr>
              <a:t> </a:t>
            </a:r>
            <a:r>
              <a:rPr lang="ru-RU" sz="1300" b="1" dirty="0" smtClean="0">
                <a:latin typeface="Arial" pitchFamily="34" charset="0"/>
                <a:cs typeface="Arial" pitchFamily="34" charset="0"/>
              </a:rPr>
              <a:t>всего</a:t>
            </a:r>
            <a:endParaRPr lang="ru-RU" sz="1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object 38"/>
          <p:cNvSpPr txBox="1"/>
          <p:nvPr/>
        </p:nvSpPr>
        <p:spPr>
          <a:xfrm>
            <a:off x="2192345" y="2616532"/>
            <a:ext cx="364737" cy="1513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в</a:t>
            </a:r>
            <a:r>
              <a:rPr sz="900" b="1" spc="-56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 </a:t>
            </a:r>
            <a:r>
              <a:rPr sz="900" b="1" spc="-23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т.ч.</a:t>
            </a:r>
            <a:endParaRPr sz="9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35293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63748" y="661210"/>
            <a:ext cx="7680251" cy="506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нвестиционные вложения в АПК РТ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934424" y="1742034"/>
            <a:ext cx="7769062" cy="3162636"/>
            <a:chOff x="324611" y="1322832"/>
            <a:chExt cx="8281036" cy="3225757"/>
          </a:xfrm>
        </p:grpSpPr>
        <p:sp>
          <p:nvSpPr>
            <p:cNvPr id="13" name="object 3"/>
            <p:cNvSpPr/>
            <p:nvPr/>
          </p:nvSpPr>
          <p:spPr>
            <a:xfrm>
              <a:off x="324611" y="1322832"/>
              <a:ext cx="5736336" cy="2976372"/>
            </a:xfrm>
            <a:prstGeom prst="rect">
              <a:avLst/>
            </a:pr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4"/>
            <p:cNvSpPr txBox="1"/>
            <p:nvPr/>
          </p:nvSpPr>
          <p:spPr>
            <a:xfrm>
              <a:off x="853520" y="2357958"/>
              <a:ext cx="627230" cy="3270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9525">
                <a:spcBef>
                  <a:spcPts val="75"/>
                </a:spcBef>
              </a:pPr>
              <a:r>
                <a:rPr sz="2000" b="1" spc="-4" dirty="0">
                  <a:latin typeface="Arial" pitchFamily="34" charset="0"/>
                  <a:cs typeface="Arial" pitchFamily="34" charset="0"/>
                </a:rPr>
                <a:t>25,4</a:t>
              </a:r>
              <a:endParaRPr sz="2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object 5"/>
            <p:cNvSpPr txBox="1"/>
            <p:nvPr/>
          </p:nvSpPr>
          <p:spPr>
            <a:xfrm>
              <a:off x="1909931" y="1440459"/>
              <a:ext cx="627230" cy="327653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9525">
                <a:spcBef>
                  <a:spcPts val="79"/>
                </a:spcBef>
              </a:pPr>
              <a:r>
                <a:rPr sz="2000" b="1" spc="-4" dirty="0">
                  <a:latin typeface="Arial" pitchFamily="34" charset="0"/>
                  <a:cs typeface="Arial" pitchFamily="34" charset="0"/>
                </a:rPr>
                <a:t>42</a:t>
              </a:r>
              <a:r>
                <a:rPr sz="2000" b="1" spc="-8" dirty="0">
                  <a:latin typeface="Arial" pitchFamily="34" charset="0"/>
                  <a:cs typeface="Arial" pitchFamily="34" charset="0"/>
                </a:rPr>
                <a:t>,</a:t>
              </a:r>
              <a:r>
                <a:rPr sz="2000" b="1" dirty="0">
                  <a:latin typeface="Arial" pitchFamily="34" charset="0"/>
                  <a:cs typeface="Arial" pitchFamily="34" charset="0"/>
                </a:rPr>
                <a:t>8</a:t>
              </a:r>
              <a:endParaRPr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object 6"/>
            <p:cNvSpPr txBox="1"/>
            <p:nvPr/>
          </p:nvSpPr>
          <p:spPr>
            <a:xfrm>
              <a:off x="2943838" y="2611780"/>
              <a:ext cx="627230" cy="327653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9525">
                <a:spcBef>
                  <a:spcPts val="79"/>
                </a:spcBef>
              </a:pPr>
              <a:r>
                <a:rPr sz="2000" b="1" spc="-4" dirty="0">
                  <a:latin typeface="Arial" pitchFamily="34" charset="0"/>
                  <a:cs typeface="Arial" pitchFamily="34" charset="0"/>
                </a:rPr>
                <a:t>20</a:t>
              </a:r>
              <a:r>
                <a:rPr sz="2000" b="1" spc="-8" dirty="0">
                  <a:latin typeface="Arial" pitchFamily="34" charset="0"/>
                  <a:cs typeface="Arial" pitchFamily="34" charset="0"/>
                </a:rPr>
                <a:t>,</a:t>
              </a:r>
              <a:r>
                <a:rPr sz="2000" b="1" dirty="0">
                  <a:latin typeface="Arial" pitchFamily="34" charset="0"/>
                  <a:cs typeface="Arial" pitchFamily="34" charset="0"/>
                </a:rPr>
                <a:t>5</a:t>
              </a:r>
              <a:endParaRPr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bject 7"/>
            <p:cNvSpPr txBox="1"/>
            <p:nvPr/>
          </p:nvSpPr>
          <p:spPr>
            <a:xfrm>
              <a:off x="4001493" y="2332050"/>
              <a:ext cx="627230" cy="3270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9525">
                <a:spcBef>
                  <a:spcPts val="75"/>
                </a:spcBef>
              </a:pPr>
              <a:r>
                <a:rPr sz="2000" b="1" spc="-4" dirty="0">
                  <a:latin typeface="Arial" pitchFamily="34" charset="0"/>
                  <a:cs typeface="Arial" pitchFamily="34" charset="0"/>
                </a:rPr>
                <a:t>25,4</a:t>
              </a:r>
              <a:endParaRPr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object 8"/>
            <p:cNvSpPr txBox="1"/>
            <p:nvPr/>
          </p:nvSpPr>
          <p:spPr>
            <a:xfrm>
              <a:off x="5051530" y="2315540"/>
              <a:ext cx="627230" cy="3270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9525">
                <a:spcBef>
                  <a:spcPts val="75"/>
                </a:spcBef>
              </a:pPr>
              <a:r>
                <a:rPr sz="2000" b="1" spc="-4" dirty="0">
                  <a:latin typeface="Arial" pitchFamily="34" charset="0"/>
                  <a:cs typeface="Arial" pitchFamily="34" charset="0"/>
                </a:rPr>
                <a:t>25,9</a:t>
              </a:r>
              <a:endParaRPr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object 9"/>
            <p:cNvSpPr txBox="1"/>
            <p:nvPr/>
          </p:nvSpPr>
          <p:spPr>
            <a:xfrm>
              <a:off x="778783" y="4315765"/>
              <a:ext cx="709080" cy="23282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9525">
                <a:spcBef>
                  <a:spcPts val="75"/>
                </a:spcBef>
              </a:pPr>
              <a:r>
                <a:rPr b="1" spc="-4" dirty="0">
                  <a:latin typeface="Arial" pitchFamily="34" charset="0"/>
                  <a:cs typeface="Arial" pitchFamily="34" charset="0"/>
                </a:rPr>
                <a:t>2015г.</a:t>
              </a:r>
              <a:endParaRPr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object 10"/>
            <p:cNvSpPr txBox="1"/>
            <p:nvPr/>
          </p:nvSpPr>
          <p:spPr>
            <a:xfrm>
              <a:off x="2923990" y="4315765"/>
              <a:ext cx="709080" cy="23282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9525">
                <a:spcBef>
                  <a:spcPts val="75"/>
                </a:spcBef>
              </a:pPr>
              <a:r>
                <a:rPr b="1" spc="-4" dirty="0">
                  <a:latin typeface="Arial" pitchFamily="34" charset="0"/>
                  <a:cs typeface="Arial" pitchFamily="34" charset="0"/>
                </a:rPr>
                <a:t>2017г.</a:t>
              </a:r>
              <a:endParaRPr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object 11"/>
            <p:cNvSpPr txBox="1"/>
            <p:nvPr/>
          </p:nvSpPr>
          <p:spPr>
            <a:xfrm>
              <a:off x="1851348" y="4315765"/>
              <a:ext cx="709080" cy="23282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9525">
                <a:spcBef>
                  <a:spcPts val="75"/>
                </a:spcBef>
              </a:pPr>
              <a:r>
                <a:rPr b="1" spc="-4" dirty="0">
                  <a:latin typeface="Arial" pitchFamily="34" charset="0"/>
                  <a:cs typeface="Arial" pitchFamily="34" charset="0"/>
                </a:rPr>
                <a:t>2016г.</a:t>
              </a:r>
              <a:endParaRPr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object 12"/>
            <p:cNvSpPr txBox="1"/>
            <p:nvPr/>
          </p:nvSpPr>
          <p:spPr>
            <a:xfrm>
              <a:off x="3879826" y="4315765"/>
              <a:ext cx="709080" cy="23282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9525">
                <a:spcBef>
                  <a:spcPts val="75"/>
                </a:spcBef>
              </a:pPr>
              <a:r>
                <a:rPr b="1" spc="-4" dirty="0">
                  <a:latin typeface="Arial" pitchFamily="34" charset="0"/>
                  <a:cs typeface="Arial" pitchFamily="34" charset="0"/>
                </a:rPr>
                <a:t>2018г.</a:t>
              </a:r>
              <a:endParaRPr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object 14"/>
            <p:cNvSpPr txBox="1"/>
            <p:nvPr/>
          </p:nvSpPr>
          <p:spPr>
            <a:xfrm>
              <a:off x="4956659" y="4315765"/>
              <a:ext cx="709080" cy="23282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9525">
                <a:spcBef>
                  <a:spcPts val="75"/>
                </a:spcBef>
              </a:pPr>
              <a:r>
                <a:rPr b="1" spc="-4" dirty="0">
                  <a:latin typeface="Arial" pitchFamily="34" charset="0"/>
                  <a:cs typeface="Arial" pitchFamily="34" charset="0"/>
                </a:rPr>
                <a:t>2019г.</a:t>
              </a:r>
              <a:endParaRPr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object 15"/>
            <p:cNvSpPr txBox="1"/>
            <p:nvPr/>
          </p:nvSpPr>
          <p:spPr>
            <a:xfrm>
              <a:off x="6173215" y="1951177"/>
              <a:ext cx="2422525" cy="536933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algn="ctr">
                <a:lnSpc>
                  <a:spcPts val="1800"/>
                </a:lnSpc>
                <a:spcBef>
                  <a:spcPts val="79"/>
                </a:spcBef>
              </a:pPr>
              <a:r>
                <a:rPr sz="1500" b="1" dirty="0">
                  <a:latin typeface="Arial" pitchFamily="34" charset="0"/>
                  <a:cs typeface="Arial" pitchFamily="34" charset="0"/>
                </a:rPr>
                <a:t>- в </a:t>
              </a:r>
              <a:r>
                <a:rPr sz="1500" b="1" spc="-4" dirty="0">
                  <a:latin typeface="Arial" pitchFamily="34" charset="0"/>
                  <a:cs typeface="Arial" pitchFamily="34" charset="0"/>
                </a:rPr>
                <a:t>сельское</a:t>
              </a:r>
              <a:r>
                <a:rPr sz="1500" b="1" spc="-41" dirty="0">
                  <a:latin typeface="Arial" pitchFamily="34" charset="0"/>
                  <a:cs typeface="Arial" pitchFamily="34" charset="0"/>
                </a:rPr>
                <a:t> </a:t>
              </a:r>
              <a:r>
                <a:rPr sz="1500" b="1" spc="-4" dirty="0">
                  <a:latin typeface="Arial" pitchFamily="34" charset="0"/>
                  <a:cs typeface="Arial" pitchFamily="34" charset="0"/>
                </a:rPr>
                <a:t>хозяйство</a:t>
              </a:r>
              <a:endParaRPr sz="1500" dirty="0">
                <a:latin typeface="Arial" pitchFamily="34" charset="0"/>
                <a:cs typeface="Arial" pitchFamily="34" charset="0"/>
              </a:endParaRPr>
            </a:p>
            <a:p>
              <a:pPr algn="ctr">
                <a:lnSpc>
                  <a:spcPts val="2160"/>
                </a:lnSpc>
              </a:pPr>
              <a:r>
                <a:rPr sz="1800" b="1" spc="-4" dirty="0">
                  <a:solidFill>
                    <a:srgbClr val="006600"/>
                  </a:solidFill>
                  <a:latin typeface="Arial" pitchFamily="34" charset="0"/>
                  <a:cs typeface="Arial" pitchFamily="34" charset="0"/>
                </a:rPr>
                <a:t>96 </a:t>
              </a:r>
              <a:r>
                <a:rPr sz="1500" b="1" dirty="0" err="1" smtClean="0">
                  <a:latin typeface="Arial" pitchFamily="34" charset="0"/>
                  <a:cs typeface="Arial" pitchFamily="34" charset="0"/>
                </a:rPr>
                <a:t>млрд</a:t>
              </a:r>
              <a:r>
                <a:rPr lang="ru-RU" sz="1500" b="1" dirty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500" b="1" strike="sngStrike" dirty="0" smtClean="0">
                  <a:latin typeface="Times New Roman" pitchFamily="18" charset="0"/>
                  <a:cs typeface="Times New Roman" pitchFamily="18" charset="0"/>
                </a:rPr>
                <a:t>Р</a:t>
              </a:r>
              <a:endParaRPr sz="1500" strike="sngStrike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2" name="object 16"/>
            <p:cNvSpPr txBox="1"/>
            <p:nvPr/>
          </p:nvSpPr>
          <p:spPr>
            <a:xfrm>
              <a:off x="6110732" y="2926791"/>
              <a:ext cx="2494915" cy="772373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algn="ctr">
                <a:spcBef>
                  <a:spcPts val="79"/>
                </a:spcBef>
              </a:pPr>
              <a:r>
                <a:rPr sz="1500" b="1" dirty="0">
                  <a:latin typeface="Arial" pitchFamily="34" charset="0"/>
                  <a:cs typeface="Arial" pitchFamily="34" charset="0"/>
                </a:rPr>
                <a:t>- в</a:t>
              </a:r>
              <a:r>
                <a:rPr sz="1500" b="1" spc="-38" dirty="0">
                  <a:latin typeface="Arial" pitchFamily="34" charset="0"/>
                  <a:cs typeface="Arial" pitchFamily="34" charset="0"/>
                </a:rPr>
                <a:t> </a:t>
              </a:r>
              <a:r>
                <a:rPr sz="1500" b="1" spc="-4" dirty="0">
                  <a:latin typeface="Arial" pitchFamily="34" charset="0"/>
                  <a:cs typeface="Arial" pitchFamily="34" charset="0"/>
                </a:rPr>
                <a:t>перерабатывающую</a:t>
              </a:r>
              <a:endParaRPr sz="1500" dirty="0">
                <a:latin typeface="Arial" pitchFamily="34" charset="0"/>
                <a:cs typeface="Arial" pitchFamily="34" charset="0"/>
              </a:endParaRPr>
            </a:p>
            <a:p>
              <a:pPr marL="38576" algn="ctr">
                <a:lnSpc>
                  <a:spcPts val="1800"/>
                </a:lnSpc>
              </a:pPr>
              <a:r>
                <a:rPr sz="1500" b="1" dirty="0">
                  <a:latin typeface="Arial" pitchFamily="34" charset="0"/>
                  <a:cs typeface="Arial" pitchFamily="34" charset="0"/>
                </a:rPr>
                <a:t>промышленность</a:t>
              </a:r>
              <a:endParaRPr sz="1500" dirty="0">
                <a:latin typeface="Arial" pitchFamily="34" charset="0"/>
                <a:cs typeface="Arial" pitchFamily="34" charset="0"/>
              </a:endParaRPr>
            </a:p>
            <a:p>
              <a:pPr marL="40005" algn="ctr">
                <a:lnSpc>
                  <a:spcPts val="2160"/>
                </a:lnSpc>
              </a:pPr>
              <a:r>
                <a:rPr sz="1800" b="1" spc="-4" dirty="0">
                  <a:solidFill>
                    <a:srgbClr val="006600"/>
                  </a:solidFill>
                  <a:latin typeface="Arial" pitchFamily="34" charset="0"/>
                  <a:cs typeface="Arial" pitchFamily="34" charset="0"/>
                </a:rPr>
                <a:t>44 </a:t>
              </a:r>
              <a:r>
                <a:rPr sz="1500" b="1" dirty="0" err="1">
                  <a:latin typeface="Arial" pitchFamily="34" charset="0"/>
                  <a:cs typeface="Arial" pitchFamily="34" charset="0"/>
                </a:rPr>
                <a:t>млрд</a:t>
              </a:r>
              <a:r>
                <a:rPr sz="1500" b="1" spc="-23" dirty="0"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500" b="1" strike="sngStrike" spc="-23" dirty="0" smtClean="0">
                  <a:latin typeface="Times New Roman" pitchFamily="18" charset="0"/>
                  <a:cs typeface="Times New Roman" pitchFamily="18" charset="0"/>
                </a:rPr>
                <a:t>Р</a:t>
              </a:r>
              <a:endParaRPr sz="1500" strike="sngStrike" dirty="0">
                <a:latin typeface="Times New Roman" pitchFamily="18" charset="0"/>
                <a:cs typeface="Times New Roman" pitchFamily="18" charset="0"/>
              </a:endParaRPr>
            </a:p>
          </p:txBody>
        </p:sp>
      </p:grp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17779" y="1134142"/>
            <a:ext cx="6594124" cy="6078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000683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184" y="95702"/>
            <a:ext cx="464967" cy="464967"/>
          </a:xfrm>
          <a:prstGeom prst="rect">
            <a:avLst/>
          </a:prstGeom>
        </p:spPr>
      </p:pic>
      <p:sp>
        <p:nvSpPr>
          <p:cNvPr id="12" name="TextBox 15"/>
          <p:cNvSpPr txBox="1">
            <a:spLocks noChangeArrowheads="1"/>
          </p:cNvSpPr>
          <p:nvPr/>
        </p:nvSpPr>
        <p:spPr bwMode="auto">
          <a:xfrm>
            <a:off x="1155803" y="717196"/>
            <a:ext cx="7988198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sz="1800" b="1" i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ализация подпрограммы «Устойчивое развитие сельских </a:t>
            </a:r>
            <a:endParaRPr lang="ru-RU" sz="1800" b="1" i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800" b="1" i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ерриторий </a:t>
            </a:r>
            <a:r>
              <a:rPr lang="ru-RU" sz="1800" b="1" i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спублики Татарстан» выполнялась в рамках </a:t>
            </a:r>
            <a:endParaRPr lang="ru-RU" sz="1800" b="1" i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800" b="1" i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сударственной </a:t>
            </a:r>
            <a:r>
              <a:rPr lang="ru-RU" sz="1800" b="1" i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граммы «Развитие сельского хозяйства </a:t>
            </a:r>
            <a:endParaRPr lang="ru-RU" sz="1800" b="1" i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800" b="1" i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1800" b="1" i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гулирование рынков сельскохозяйственной продукции, сырья </a:t>
            </a:r>
            <a:r>
              <a:rPr lang="ru-RU" sz="1800" b="1" i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1800" b="1" i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довольствия </a:t>
            </a:r>
            <a:r>
              <a:rPr lang="ru-RU" sz="1800" b="1" i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800" b="1" i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спублике Татарстан </a:t>
            </a:r>
            <a:endParaRPr lang="ru-RU" sz="1800" b="1" i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800" b="1" i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 </a:t>
            </a:r>
            <a:r>
              <a:rPr lang="ru-RU" sz="1800" b="1" i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013-2020 годы» </a:t>
            </a:r>
          </a:p>
          <a:p>
            <a:pPr algn="ctr"/>
            <a:r>
              <a:rPr lang="ru-RU" sz="1600" b="1" i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(постановление КМ РТ от 8 апреля 2013 года № 235 )</a:t>
            </a:r>
          </a:p>
        </p:txBody>
      </p:sp>
      <p:sp>
        <p:nvSpPr>
          <p:cNvPr id="13" name="Rectangle 1"/>
          <p:cNvSpPr>
            <a:spLocks noChangeArrowheads="1"/>
          </p:cNvSpPr>
          <p:nvPr/>
        </p:nvSpPr>
        <p:spPr bwMode="auto">
          <a:xfrm>
            <a:off x="1476176" y="2880660"/>
            <a:ext cx="6845198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0070C0"/>
                </a:solidFill>
                <a:latin typeface="Arial" panose="020B0604020202020204" pitchFamily="34" charset="0"/>
                <a:ea typeface="Times New Roman" pitchFamily="18" charset="0"/>
                <a:cs typeface="Arial" pitchFamily="34" charset="0"/>
              </a:rPr>
              <a:t>Объем финансирования за 2003-2019 годы 29,1 млрд </a:t>
            </a:r>
            <a:r>
              <a:rPr lang="ru-RU" sz="1800" b="1" strike="sngStrike" dirty="0">
                <a:solidFill>
                  <a:srgbClr val="0070C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</a:t>
            </a:r>
            <a:r>
              <a:rPr lang="ru-RU" sz="1800" b="1" dirty="0">
                <a:solidFill>
                  <a:srgbClr val="0070C0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lang="ru-RU" sz="18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962257" y="3353683"/>
            <a:ext cx="7846413" cy="1418555"/>
            <a:chOff x="962257" y="3427098"/>
            <a:chExt cx="6763803" cy="1296144"/>
          </a:xfrm>
        </p:grpSpPr>
        <p:sp>
          <p:nvSpPr>
            <p:cNvPr id="18" name="Прямоугольник 5"/>
            <p:cNvSpPr>
              <a:spLocks noChangeArrowheads="1"/>
            </p:cNvSpPr>
            <p:nvPr/>
          </p:nvSpPr>
          <p:spPr bwMode="auto">
            <a:xfrm>
              <a:off x="962257" y="3427098"/>
              <a:ext cx="6763803" cy="1296144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endParaRPr lang="ru-RU" sz="1050"/>
            </a:p>
          </p:txBody>
        </p:sp>
        <p:sp>
          <p:nvSpPr>
            <p:cNvPr id="22" name="Прямоугольник 2"/>
            <p:cNvSpPr>
              <a:spLocks noChangeArrowheads="1"/>
            </p:cNvSpPr>
            <p:nvPr/>
          </p:nvSpPr>
          <p:spPr bwMode="auto">
            <a:xfrm>
              <a:off x="1046141" y="3532867"/>
              <a:ext cx="1384509" cy="1080120"/>
            </a:xfrm>
            <a:prstGeom prst="rect">
              <a:avLst/>
            </a:prstGeom>
            <a:solidFill>
              <a:srgbClr val="A8DD85"/>
            </a:solidFill>
            <a:ln>
              <a:headEnd/>
              <a:tailEnd/>
            </a:ln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ts val="750"/>
                </a:spcAft>
              </a:pPr>
              <a:r>
                <a:rPr lang="ru-RU" sz="17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Бюджет РФ</a:t>
              </a:r>
            </a:p>
            <a:p>
              <a:pPr algn="ctr" fontAlgn="base">
                <a:spcBef>
                  <a:spcPct val="0"/>
                </a:spcBef>
                <a:spcAft>
                  <a:spcPts val="750"/>
                </a:spcAft>
              </a:pPr>
              <a:r>
                <a:rPr lang="ru-RU" sz="17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8,9 млрд </a:t>
              </a:r>
              <a:r>
                <a:rPr lang="ru-RU" sz="1700" b="1" strike="sngStrike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Р</a:t>
              </a:r>
            </a:p>
          </p:txBody>
        </p:sp>
        <p:sp>
          <p:nvSpPr>
            <p:cNvPr id="23" name="Прямоугольник 3"/>
            <p:cNvSpPr>
              <a:spLocks noChangeArrowheads="1"/>
            </p:cNvSpPr>
            <p:nvPr/>
          </p:nvSpPr>
          <p:spPr bwMode="auto">
            <a:xfrm>
              <a:off x="2674525" y="3532867"/>
              <a:ext cx="1447441" cy="108012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headEnd/>
              <a:tailEnd/>
            </a:ln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ts val="750"/>
                </a:spcAft>
              </a:pPr>
              <a:r>
                <a:rPr lang="ru-RU" sz="17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Бюджет РТ</a:t>
              </a:r>
            </a:p>
            <a:p>
              <a:pPr algn="ctr" fontAlgn="base">
                <a:spcBef>
                  <a:spcPct val="0"/>
                </a:spcBef>
                <a:spcAft>
                  <a:spcPts val="750"/>
                </a:spcAft>
              </a:pPr>
              <a:r>
                <a:rPr lang="ru-RU" sz="17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12,3 млрд </a:t>
              </a:r>
              <a:r>
                <a:rPr lang="ru-RU" sz="1700" b="1" strike="sngStrike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Р</a:t>
              </a:r>
              <a:endParaRPr lang="ru-RU" sz="17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Прямоугольник 3"/>
            <p:cNvSpPr>
              <a:spLocks noChangeArrowheads="1"/>
            </p:cNvSpPr>
            <p:nvPr/>
          </p:nvSpPr>
          <p:spPr bwMode="auto">
            <a:xfrm>
              <a:off x="4362137" y="3532867"/>
              <a:ext cx="1573306" cy="108012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headEnd/>
              <a:tailEnd/>
            </a:ln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ts val="750"/>
                </a:spcAft>
              </a:pPr>
              <a:r>
                <a:rPr lang="ru-RU" sz="17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Внебюджетные средства</a:t>
              </a:r>
            </a:p>
            <a:p>
              <a:pPr algn="ctr" fontAlgn="base">
                <a:spcBef>
                  <a:spcPct val="0"/>
                </a:spcBef>
                <a:spcAft>
                  <a:spcPts val="750"/>
                </a:spcAft>
              </a:pPr>
              <a:r>
                <a:rPr lang="ru-RU" sz="17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7,9 </a:t>
              </a:r>
              <a:r>
                <a:rPr lang="ru-RU" sz="1700" b="1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млрд</a:t>
              </a:r>
              <a:r>
                <a:rPr lang="ru-RU" sz="17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700" b="1" strike="sngStrike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Р</a:t>
              </a:r>
              <a:endParaRPr lang="ru-RU" sz="17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Прямоугольник 3"/>
            <p:cNvSpPr>
              <a:spLocks noChangeArrowheads="1"/>
            </p:cNvSpPr>
            <p:nvPr/>
          </p:nvSpPr>
          <p:spPr bwMode="auto">
            <a:xfrm>
              <a:off x="6268349" y="3532867"/>
              <a:ext cx="1366263" cy="108012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headEnd/>
              <a:tailEnd/>
            </a:ln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ts val="750"/>
                </a:spcAft>
              </a:pPr>
              <a:r>
                <a:rPr lang="ru-RU" sz="17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ВСЕГО</a:t>
              </a:r>
            </a:p>
            <a:p>
              <a:pPr algn="ctr" fontAlgn="base">
                <a:spcBef>
                  <a:spcPct val="0"/>
                </a:spcBef>
                <a:spcAft>
                  <a:spcPts val="750"/>
                </a:spcAft>
              </a:pPr>
              <a:r>
                <a:rPr lang="ru-RU" sz="1700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9,1 млрд </a:t>
              </a:r>
              <a:r>
                <a:rPr lang="ru-RU" sz="1700" b="1" strike="sngStrike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Р</a:t>
              </a:r>
              <a:endParaRPr lang="ru-RU" sz="17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Text Box 2"/>
            <p:cNvSpPr txBox="1">
              <a:spLocks noChangeArrowheads="1"/>
            </p:cNvSpPr>
            <p:nvPr/>
          </p:nvSpPr>
          <p:spPr bwMode="auto">
            <a:xfrm flipV="1">
              <a:off x="2374367" y="3937041"/>
              <a:ext cx="314661" cy="3163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ts val="750"/>
                </a:spcAft>
              </a:pPr>
              <a:r>
                <a:rPr lang="ru-RU" sz="1800" b="1" dirty="0">
                  <a:latin typeface="Arial" pitchFamily="34" charset="0"/>
                  <a:cs typeface="Arial" pitchFamily="34" charset="0"/>
                </a:rPr>
                <a:t>+</a:t>
              </a:r>
              <a:endParaRPr lang="ru-RU" sz="2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Text Box 2"/>
            <p:cNvSpPr txBox="1">
              <a:spLocks noChangeArrowheads="1"/>
            </p:cNvSpPr>
            <p:nvPr/>
          </p:nvSpPr>
          <p:spPr bwMode="auto">
            <a:xfrm>
              <a:off x="4123369" y="3937040"/>
              <a:ext cx="251729" cy="3163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ts val="750"/>
                </a:spcAft>
              </a:pPr>
              <a:r>
                <a:rPr lang="ru-RU" sz="1800" b="1" dirty="0">
                  <a:latin typeface="Arial" pitchFamily="34" charset="0"/>
                  <a:cs typeface="Arial" pitchFamily="34" charset="0"/>
                </a:rPr>
                <a:t>+</a:t>
              </a:r>
              <a:endParaRPr lang="ru-RU" sz="2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Надпись 2"/>
            <p:cNvSpPr txBox="1">
              <a:spLocks noChangeArrowheads="1"/>
            </p:cNvSpPr>
            <p:nvPr/>
          </p:nvSpPr>
          <p:spPr bwMode="auto">
            <a:xfrm flipV="1">
              <a:off x="5952701" y="3937039"/>
              <a:ext cx="251729" cy="3163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750"/>
                </a:spcAft>
              </a:pPr>
              <a:r>
                <a:rPr lang="ru-RU" sz="1800" b="1" dirty="0">
                  <a:latin typeface="Arial" pitchFamily="34" charset="0"/>
                  <a:cs typeface="Arial" pitchFamily="34" charset="0"/>
                </a:rPr>
                <a:t>=</a:t>
              </a:r>
              <a:endParaRPr lang="ru-RU" sz="24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1" name="Скругленный прямоугольник 30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78130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0"/>
          <p:cNvSpPr txBox="1">
            <a:spLocks noChangeArrowheads="1"/>
          </p:cNvSpPr>
          <p:nvPr/>
        </p:nvSpPr>
        <p:spPr bwMode="auto">
          <a:xfrm>
            <a:off x="1504061" y="3041196"/>
            <a:ext cx="318307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7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altLang="ru-RU" sz="1200" i="1" dirty="0"/>
              <a:t>школа на </a:t>
            </a:r>
            <a:r>
              <a:rPr lang="ru-RU" altLang="ru-RU" sz="1200" i="1" dirty="0">
                <a:solidFill>
                  <a:srgbClr val="0070C0"/>
                </a:solidFill>
              </a:rPr>
              <a:t>100 </a:t>
            </a:r>
            <a:r>
              <a:rPr lang="ru-RU" altLang="ru-RU" sz="1200" i="1" dirty="0" err="1"/>
              <a:t>уч.мест</a:t>
            </a:r>
            <a:r>
              <a:rPr lang="ru-RU" altLang="ru-RU" sz="1200" i="1" dirty="0"/>
              <a:t> в н.п. Слобода </a:t>
            </a:r>
            <a:r>
              <a:rPr lang="ru-RU" altLang="ru-RU" sz="1200" i="1" dirty="0" err="1"/>
              <a:t>Черемуховская</a:t>
            </a:r>
            <a:r>
              <a:rPr lang="ru-RU" altLang="ru-RU" sz="1200" i="1" dirty="0"/>
              <a:t> </a:t>
            </a:r>
            <a:r>
              <a:rPr lang="ru-RU" altLang="ru-RU" sz="1200" i="1" dirty="0" err="1"/>
              <a:t>Н.Шешминского</a:t>
            </a:r>
            <a:r>
              <a:rPr lang="ru-RU" altLang="ru-RU" sz="1200" i="1" dirty="0"/>
              <a:t> </a:t>
            </a:r>
            <a:r>
              <a:rPr lang="ru-RU" altLang="ru-RU" sz="1200" i="1" dirty="0" smtClean="0"/>
              <a:t>р-на </a:t>
            </a:r>
            <a:endParaRPr lang="ru-RU" altLang="ru-RU" sz="1200" i="1" dirty="0"/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01" t="7573" b="8346"/>
          <a:stretch/>
        </p:blipFill>
        <p:spPr bwMode="auto">
          <a:xfrm>
            <a:off x="875792" y="1935584"/>
            <a:ext cx="2210759" cy="1134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1199693" y="969850"/>
            <a:ext cx="680130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Arial" pitchFamily="34" charset="0"/>
                <a:cs typeface="Arial" pitchFamily="34" charset="0"/>
              </a:rPr>
              <a:t>         В рамках ФЦП «Устойчивое развитие сельских территорий» построено </a:t>
            </a:r>
            <a:r>
              <a:rPr lang="ru-RU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13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 общеобразовательных школ на </a:t>
            </a:r>
            <a:r>
              <a:rPr lang="ru-RU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2,3 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тыс. ученических места. </a:t>
            </a:r>
          </a:p>
          <a:p>
            <a:pPr algn="ctr"/>
            <a:r>
              <a:rPr lang="ru-RU" b="1" dirty="0">
                <a:latin typeface="Arial" pitchFamily="34" charset="0"/>
                <a:cs typeface="Arial" pitchFamily="34" charset="0"/>
              </a:rPr>
              <a:t>За 2003-2019 годы выделено </a:t>
            </a:r>
            <a:r>
              <a:rPr lang="ru-RU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320,2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млн </a:t>
            </a:r>
            <a:r>
              <a:rPr lang="ru-RU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,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b="1" dirty="0" smtClean="0">
                <a:latin typeface="Arial" pitchFamily="34" charset="0"/>
                <a:cs typeface="Arial" pitchFamily="34" charset="0"/>
              </a:rPr>
            </a:br>
            <a:r>
              <a:rPr lang="ru-RU" b="1" dirty="0" smtClean="0">
                <a:latin typeface="Arial" pitchFamily="34" charset="0"/>
                <a:cs typeface="Arial" pitchFamily="34" charset="0"/>
              </a:rPr>
              <a:t>в </a:t>
            </a:r>
            <a:r>
              <a:rPr lang="ru-RU" b="1" dirty="0" err="1" smtClean="0">
                <a:latin typeface="Arial" pitchFamily="34" charset="0"/>
                <a:cs typeface="Arial" pitchFamily="34" charset="0"/>
              </a:rPr>
              <a:t>т.ч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.: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бюджет РФ - </a:t>
            </a:r>
            <a:r>
              <a:rPr lang="ru-RU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112,1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 млн </a:t>
            </a:r>
            <a:r>
              <a:rPr lang="ru-RU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,  бюджет РТ - </a:t>
            </a:r>
            <a:r>
              <a:rPr lang="ru-RU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208,1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 млн </a:t>
            </a:r>
            <a:r>
              <a:rPr lang="ru-RU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778988" y="3041196"/>
            <a:ext cx="304462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200" b="1" i="1" dirty="0">
                <a:latin typeface="Arial" pitchFamily="34" charset="0"/>
                <a:cs typeface="Arial" pitchFamily="34" charset="0"/>
              </a:rPr>
              <a:t>школа на </a:t>
            </a:r>
            <a:r>
              <a:rPr lang="ru-RU" altLang="ru-RU" sz="1200" b="1" i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15</a:t>
            </a:r>
            <a:r>
              <a:rPr lang="ru-RU" altLang="ru-RU" sz="1200" b="1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i="1" dirty="0" err="1">
                <a:latin typeface="Arial" pitchFamily="34" charset="0"/>
                <a:cs typeface="Arial" pitchFamily="34" charset="0"/>
              </a:rPr>
              <a:t>уч.мест</a:t>
            </a:r>
            <a:r>
              <a:rPr lang="ru-RU" altLang="ru-RU" sz="1200" b="1" i="1" dirty="0">
                <a:latin typeface="Arial" pitchFamily="34" charset="0"/>
                <a:cs typeface="Arial" pitchFamily="34" charset="0"/>
              </a:rPr>
              <a:t> в н.п.Большое </a:t>
            </a:r>
            <a:r>
              <a:rPr lang="ru-RU" altLang="ru-RU" sz="1200" b="1" i="1" dirty="0" err="1">
                <a:latin typeface="Arial" pitchFamily="34" charset="0"/>
                <a:cs typeface="Arial" pitchFamily="34" charset="0"/>
              </a:rPr>
              <a:t>Тюлязи</a:t>
            </a:r>
            <a:r>
              <a:rPr lang="ru-RU" altLang="ru-RU" sz="1200" b="1" i="1" dirty="0">
                <a:latin typeface="Arial" pitchFamily="34" charset="0"/>
                <a:cs typeface="Arial" pitchFamily="34" charset="0"/>
              </a:rPr>
              <a:t> Тюлячинского р-на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931956" y="3461560"/>
            <a:ext cx="78316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Кроме ФЦП в республике ежегодно на капитальный ремонт </a:t>
            </a:r>
            <a:r>
              <a:rPr lang="ru-RU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бъектов образования (</a:t>
            </a:r>
            <a:r>
              <a:rPr lang="ru-RU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школы и дет.сады) выделяются средства из бюджета РТ: </a:t>
            </a: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2548807"/>
              </p:ext>
            </p:extLst>
          </p:nvPr>
        </p:nvGraphicFramePr>
        <p:xfrm>
          <a:off x="1636344" y="3974182"/>
          <a:ext cx="6364656" cy="9849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63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982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3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Годы реализации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12-2019 гг. 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0532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Финансирование, млрд </a:t>
                      </a:r>
                      <a:r>
                        <a:rPr lang="ru-RU" sz="1400" b="1" strike="sng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,8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0532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Количество школ, шт.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17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0532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Количество детсадов, шт.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7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7" name="Picture 7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0" b="8940"/>
          <a:stretch/>
        </p:blipFill>
        <p:spPr bwMode="auto">
          <a:xfrm>
            <a:off x="3228373" y="1935584"/>
            <a:ext cx="2290328" cy="1134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5" descr="C:\Users\Хусаинов\Desktop\ЗАЯВКА в МСХ_2016_УРСТ\фото школ 2016\фото тюлячи\24.11.16_открытие школы\print_1959387_1852201.jpg"/>
          <p:cNvPicPr>
            <a:picLocks noChangeAspect="1" noChangeArrowheads="1"/>
          </p:cNvPicPr>
          <p:nvPr/>
        </p:nvPicPr>
        <p:blipFill rotWithShape="1">
          <a:blip r:embed="rId5" cstate="print"/>
          <a:srcRect t="16631" b="12148"/>
          <a:stretch/>
        </p:blipFill>
        <p:spPr bwMode="auto">
          <a:xfrm>
            <a:off x="6102862" y="1935584"/>
            <a:ext cx="2355172" cy="1125634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1460722" y="629988"/>
            <a:ext cx="7683278" cy="4179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0" rtlCol="0" anchor="ctr"/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витие сети общеобразовательных учреждений 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8808670" y="4934473"/>
            <a:ext cx="309929" cy="202832"/>
          </a:xfrm>
          <a:prstGeom prst="roundRect">
            <a:avLst>
              <a:gd name="adj" fmla="val 0"/>
            </a:avLst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90" rIns="0" bIns="34290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2326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027</TotalTime>
  <Words>1315</Words>
  <Application>Microsoft Office PowerPoint</Application>
  <PresentationFormat>Экран (16:9)</PresentationFormat>
  <Paragraphs>463</Paragraphs>
  <Slides>2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34" baseType="lpstr">
      <vt:lpstr>Arial</vt:lpstr>
      <vt:lpstr>Arial Narrow</vt:lpstr>
      <vt:lpstr>Calibri</vt:lpstr>
      <vt:lpstr>Calibri Light</vt:lpstr>
      <vt:lpstr>Times New Roman</vt:lpstr>
      <vt:lpstr>1_Тема Office</vt:lpstr>
      <vt:lpstr>16_Firm Format - Russia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olopov</dc:creator>
  <cp:lastModifiedBy>AgronomMCX</cp:lastModifiedBy>
  <cp:revision>5919</cp:revision>
  <cp:lastPrinted>2020-02-26T13:17:00Z</cp:lastPrinted>
  <dcterms:created xsi:type="dcterms:W3CDTF">2017-01-20T06:03:46Z</dcterms:created>
  <dcterms:modified xsi:type="dcterms:W3CDTF">2020-02-27T05:51:50Z</dcterms:modified>
</cp:coreProperties>
</file>